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882" r:id="rId4"/>
    <p:sldMasterId id="2147483949" r:id="rId5"/>
  </p:sldMasterIdLst>
  <p:notesMasterIdLst>
    <p:notesMasterId r:id="rId18"/>
  </p:notesMasterIdLst>
  <p:handoutMasterIdLst>
    <p:handoutMasterId r:id="rId19"/>
  </p:handoutMasterIdLst>
  <p:sldIdLst>
    <p:sldId id="2147483206" r:id="rId6"/>
    <p:sldId id="2147483258" r:id="rId7"/>
    <p:sldId id="2147483279" r:id="rId8"/>
    <p:sldId id="2147483280" r:id="rId9"/>
    <p:sldId id="2147483266" r:id="rId10"/>
    <p:sldId id="2147483255" r:id="rId11"/>
    <p:sldId id="259" r:id="rId12"/>
    <p:sldId id="2147483281" r:id="rId13"/>
    <p:sldId id="2147483275" r:id="rId14"/>
    <p:sldId id="998" r:id="rId15"/>
    <p:sldId id="999" r:id="rId16"/>
    <p:sldId id="1003" r:id="rId17"/>
  </p:sldIdLst>
  <p:sldSz cx="12192000" cy="6858000"/>
  <p:notesSz cx="6858000" cy="9144000"/>
  <p:embeddedFontLst>
    <p:embeddedFont>
      <p:font typeface="Aptos ExtraBold" panose="020B0004020202020204" pitchFamily="34" charset="0"/>
      <p:bold r:id="rId20"/>
      <p:boldItalic r:id="rId21"/>
    </p:embeddedFont>
    <p:embeddedFont>
      <p:font typeface="Arial Black" panose="020B0A04020102020204" pitchFamily="34" charset="0"/>
      <p:bold r:id="rId22"/>
    </p:embeddedFont>
    <p:embeddedFont>
      <p:font typeface="Arial Narrow" panose="020B0606020202030204" pitchFamily="34" charset="0"/>
      <p:regular r:id="rId23"/>
      <p:bold r:id="rId24"/>
      <p:italic r:id="rId25"/>
      <p:boldItalic r:id="rId26"/>
    </p:embeddedFont>
    <p:embeddedFont>
      <p:font typeface="Arial Nova Light" panose="020B0304020202020204" pitchFamily="34" charset="0"/>
      <p:regular r:id="rId27"/>
      <p:italic r:id="rId28"/>
    </p:embeddedFont>
    <p:embeddedFont>
      <p:font typeface="Figtree" panose="020B0604020202020204" charset="0"/>
      <p:regular r:id="rId29"/>
      <p:bold r:id="rId29"/>
      <p:italic r:id="rId29"/>
      <p:boldItalic r:id="rId29"/>
    </p:embeddedFont>
    <p:embeddedFont>
      <p:font typeface="Figtree Black" panose="020B0604020202020204" charset="0"/>
      <p:bold r:id="rId30"/>
      <p:italic r:id="rId31"/>
      <p:boldItalic r:id="rId32"/>
    </p:embeddedFont>
    <p:embeddedFont>
      <p:font typeface="Figtree Medium" panose="020B0604020202020204" charset="0"/>
      <p:regular r:id="rId29"/>
      <p:bold r:id="rId29"/>
      <p:italic r:id="rId29"/>
      <p:boldItalic r:id="rId29"/>
    </p:embeddedFont>
    <p:embeddedFont>
      <p:font typeface="Wingdings 3" panose="05040102010807070707" pitchFamily="18" charset="2"/>
      <p:regular r:id="rId33"/>
    </p:embeddedFont>
  </p:embeddedFontLst>
  <p:custDataLst>
    <p:tags r:id="rId3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pos="7680" userDrawn="1">
          <p15:clr>
            <a:srgbClr val="747775"/>
          </p15:clr>
        </p15:guide>
        <p15:guide id="2" orient="horz" pos="4320" userDrawn="1">
          <p15:clr>
            <a:srgbClr val="747775"/>
          </p15:clr>
        </p15:guide>
        <p15:guide id="3" pos="245" userDrawn="1">
          <p15:clr>
            <a:srgbClr val="747775"/>
          </p15:clr>
        </p15:guide>
        <p15:guide id="4" pos="7435" userDrawn="1">
          <p15:clr>
            <a:srgbClr val="747775"/>
          </p15:clr>
        </p15:guide>
        <p15:guide id="5" orient="horz" pos="832" userDrawn="1">
          <p15:clr>
            <a:srgbClr val="747775"/>
          </p15:clr>
        </p15:guide>
        <p15:guide id="6" orient="horz" pos="4109" userDrawn="1">
          <p15:clr>
            <a:srgbClr val="747775"/>
          </p15:clr>
        </p15:guide>
        <p15:guide id="7" orient="horz" pos="3967" userDrawn="1">
          <p15:clr>
            <a:srgbClr val="747775"/>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F2525E1-1D3A-121B-BE77-1F3CD351A1CE}" name="SICARD Philippe (Credit Agricole S.A.)" initials="PS" userId="S::philippe.sicard@credit-agricole-sa.fr::d738ea64-8bf7-4909-8873-47367777a8a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1AF"/>
    <a:srgbClr val="50878E"/>
    <a:srgbClr val="47B7A2"/>
    <a:srgbClr val="006A4E"/>
    <a:srgbClr val="009597"/>
    <a:srgbClr val="026A4E"/>
    <a:srgbClr val="FFFFFF"/>
    <a:srgbClr val="D8E9E3"/>
    <a:srgbClr val="50A178"/>
    <a:srgbClr val="01A0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A4035C4-11D0-4251-9AB6-BF503C0E5788}">
  <a:tblStyle styleId="{9A4035C4-11D0-4251-9AB6-BF503C0E578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285" autoAdjust="0"/>
  </p:normalViewPr>
  <p:slideViewPr>
    <p:cSldViewPr snapToGrid="0">
      <p:cViewPr varScale="1">
        <p:scale>
          <a:sx n="58" d="100"/>
          <a:sy n="58" d="100"/>
        </p:scale>
        <p:origin x="80" y="160"/>
      </p:cViewPr>
      <p:guideLst>
        <p:guide pos="7680"/>
        <p:guide orient="horz" pos="4320"/>
        <p:guide pos="245"/>
        <p:guide pos="7435"/>
        <p:guide orient="horz" pos="832"/>
        <p:guide orient="horz" pos="4109"/>
        <p:guide orient="horz" pos="3967"/>
      </p:guideLst>
    </p:cSldViewPr>
  </p:slideViewPr>
  <p:notesTextViewPr>
    <p:cViewPr>
      <p:scale>
        <a:sx n="1" d="1"/>
        <a:sy n="1" d="1"/>
      </p:scale>
      <p:origin x="0" y="0"/>
    </p:cViewPr>
  </p:notesTextViewPr>
  <p:notesViewPr>
    <p:cSldViewPr snapToGrid="0">
      <p:cViewPr>
        <p:scale>
          <a:sx n="1" d="2"/>
          <a:sy n="1" d="2"/>
        </p:scale>
        <p:origin x="2708" y="-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notesMaster" Target="notesMasters/notesMaster1.xml"/><Relationship Id="rId26" Type="http://schemas.openxmlformats.org/officeDocument/2006/relationships/font" Target="fonts/font7.fntdata"/><Relationship Id="rId39" Type="http://schemas.microsoft.com/office/2018/10/relationships/authors" Target="authors.xml"/><Relationship Id="rId21" Type="http://schemas.openxmlformats.org/officeDocument/2006/relationships/font" Target="fonts/font2.fntdata"/><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1.fntdata"/><Relationship Id="rId29"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handoutMaster" Target="handoutMasters/handoutMaster1.xml"/><Relationship Id="rId3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5C6A43A-99C6-4491-8255-312A0D8BA19D}" type="doc">
      <dgm:prSet loTypeId="urn:microsoft.com/office/officeart/2005/8/layout/hList2" loCatId="list" qsTypeId="urn:microsoft.com/office/officeart/2005/8/quickstyle/simple1" qsCatId="simple" csTypeId="urn:microsoft.com/office/officeart/2005/8/colors/accent0_2" csCatId="mainScheme" phldr="1"/>
      <dgm:spPr/>
      <dgm:t>
        <a:bodyPr/>
        <a:lstStyle/>
        <a:p>
          <a:endParaRPr lang="fr-FR"/>
        </a:p>
      </dgm:t>
    </dgm:pt>
    <dgm:pt modelId="{17419E3B-5B57-4AF9-A44C-3DB7DC756F65}">
      <dgm:prSet phldrT="[Texte]" phldr="0" custT="1"/>
      <dgm:spPr>
        <a:xfrm rot="16200000">
          <a:off x="-1582334" y="2643303"/>
          <a:ext cx="4056554" cy="370916"/>
        </a:xfrm>
        <a:prstGeom prst="rect">
          <a:avLst/>
        </a:prstGeom>
        <a:noFill/>
        <a:ln>
          <a:noFill/>
        </a:ln>
        <a:effectLst/>
      </dgm:spPr>
      <dgm:t>
        <a:bodyPr anchor="ctr"/>
        <a:lstStyle/>
        <a:p>
          <a:pPr>
            <a:buNone/>
          </a:pPr>
          <a:endParaRPr lang="fr-FR" sz="1400" dirty="0">
            <a:solidFill>
              <a:srgbClr val="0C1C49">
                <a:hueOff val="0"/>
                <a:satOff val="0"/>
                <a:lumOff val="0"/>
                <a:alphaOff val="0"/>
              </a:srgbClr>
            </a:solidFill>
            <a:latin typeface="Arial" panose="020B0604020202020204"/>
            <a:ea typeface="+mn-ea"/>
            <a:cs typeface="+mn-cs"/>
          </a:endParaRPr>
        </a:p>
      </dgm:t>
    </dgm:pt>
    <dgm:pt modelId="{0796281E-75FA-4A19-87AB-8D33C0B8CA78}" type="parTrans" cxnId="{17B1E830-F564-406D-BF6D-C922A3C953DA}">
      <dgm:prSet/>
      <dgm:spPr/>
      <dgm:t>
        <a:bodyPr/>
        <a:lstStyle/>
        <a:p>
          <a:endParaRPr lang="fr-FR"/>
        </a:p>
      </dgm:t>
    </dgm:pt>
    <dgm:pt modelId="{87D014DF-9913-45F6-90FF-03709AEA18AD}" type="sibTrans" cxnId="{17B1E830-F564-406D-BF6D-C922A3C953DA}">
      <dgm:prSet/>
      <dgm:spPr/>
      <dgm:t>
        <a:bodyPr/>
        <a:lstStyle/>
        <a:p>
          <a:endParaRPr lang="fr-FR"/>
        </a:p>
      </dgm:t>
    </dgm:pt>
    <dgm:pt modelId="{F95A0909-3B23-4D2A-AAA7-4DF38E5B9359}">
      <dgm:prSet phldrT="[Texte]" phldr="0" custT="1"/>
      <dgm:spPr>
        <a:xfrm rot="16200000">
          <a:off x="1346621" y="2643303"/>
          <a:ext cx="4056554" cy="370916"/>
        </a:xfrm>
        <a:prstGeom prst="rect">
          <a:avLst/>
        </a:prstGeom>
        <a:noFill/>
        <a:ln>
          <a:noFill/>
        </a:ln>
        <a:effectLst/>
      </dgm:spPr>
      <dgm:t>
        <a:bodyPr anchor="ctr"/>
        <a:lstStyle/>
        <a:p>
          <a:pPr>
            <a:buNone/>
          </a:pPr>
          <a:endParaRPr lang="fr-FR" sz="1400" dirty="0">
            <a:solidFill>
              <a:srgbClr val="0C1C49">
                <a:hueOff val="0"/>
                <a:satOff val="0"/>
                <a:lumOff val="0"/>
                <a:alphaOff val="0"/>
              </a:srgbClr>
            </a:solidFill>
            <a:latin typeface="Arial" panose="020B0604020202020204"/>
            <a:ea typeface="+mn-ea"/>
            <a:cs typeface="+mn-cs"/>
          </a:endParaRPr>
        </a:p>
      </dgm:t>
    </dgm:pt>
    <dgm:pt modelId="{A3033FCC-3A68-45E1-BE00-D7D6D7839474}" type="sibTrans" cxnId="{ADD76DD1-A839-4733-BDB1-9541B2324311}">
      <dgm:prSet/>
      <dgm:spPr/>
      <dgm:t>
        <a:bodyPr/>
        <a:lstStyle/>
        <a:p>
          <a:endParaRPr lang="fr-FR"/>
        </a:p>
      </dgm:t>
    </dgm:pt>
    <dgm:pt modelId="{D66425B0-C3EF-4DE3-B11E-CE70AAECC99E}" type="parTrans" cxnId="{ADD76DD1-A839-4733-BDB1-9541B2324311}">
      <dgm:prSet/>
      <dgm:spPr/>
      <dgm:t>
        <a:bodyPr/>
        <a:lstStyle/>
        <a:p>
          <a:endParaRPr lang="fr-FR"/>
        </a:p>
      </dgm:t>
    </dgm:pt>
    <dgm:pt modelId="{ADFDEA3B-29F2-4E68-A78E-5640E59D8331}">
      <dgm:prSet phldrT="[Texte]" phldr="0" custT="1"/>
      <dgm:spPr>
        <a:xfrm>
          <a:off x="3575239" y="767687"/>
          <a:ext cx="2294351" cy="4122149"/>
        </a:xfrm>
        <a:prstGeom prst="rect">
          <a:avLst/>
        </a:prstGeom>
        <a:solidFill>
          <a:srgbClr val="FFFFFF"/>
        </a:solidFill>
        <a:ln w="12700" cap="flat" cmpd="sng" algn="ctr">
          <a:solidFill>
            <a:srgbClr val="006A4E"/>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l" defTabSz="444500">
            <a:lnSpc>
              <a:spcPct val="90000"/>
            </a:lnSpc>
            <a:spcBef>
              <a:spcPct val="0"/>
            </a:spcBef>
            <a:spcAft>
              <a:spcPct val="15000"/>
            </a:spcAft>
            <a:buFont typeface="Police système Courant"/>
            <a:buChar char="―"/>
          </a:pPr>
          <a:endParaRPr lang="fr-FR" sz="900" kern="1200" dirty="0">
            <a:solidFill>
              <a:srgbClr val="0C1C49"/>
            </a:solidFill>
            <a:effectLst/>
            <a:latin typeface="Arial" panose="020B0604020202020204"/>
            <a:ea typeface="+mn-ea"/>
            <a:cs typeface="+mn-cs"/>
          </a:endParaRPr>
        </a:p>
      </dgm:t>
    </dgm:pt>
    <dgm:pt modelId="{F0B0269E-9D26-4F9A-A1EC-2C4211071D7E}" type="sibTrans" cxnId="{74734F4D-3039-42F7-9423-1FCC2224D6E8}">
      <dgm:prSet/>
      <dgm:spPr/>
      <dgm:t>
        <a:bodyPr/>
        <a:lstStyle/>
        <a:p>
          <a:endParaRPr lang="fr-FR"/>
        </a:p>
      </dgm:t>
    </dgm:pt>
    <dgm:pt modelId="{3CFCAAC1-734C-4912-B07E-E3D43B9864C9}" type="parTrans" cxnId="{74734F4D-3039-42F7-9423-1FCC2224D6E8}">
      <dgm:prSet/>
      <dgm:spPr/>
      <dgm:t>
        <a:bodyPr/>
        <a:lstStyle/>
        <a:p>
          <a:endParaRPr lang="fr-FR"/>
        </a:p>
      </dgm:t>
    </dgm:pt>
    <dgm:pt modelId="{3C2941F5-B260-4044-9A2A-FCD8DDB7A93F}">
      <dgm:prSet phldrT="[Texte]" phldr="0" custT="1"/>
      <dgm:spPr>
        <a:xfrm rot="16200000">
          <a:off x="4275577" y="2643303"/>
          <a:ext cx="4056554" cy="370916"/>
        </a:xfrm>
        <a:prstGeom prst="rect">
          <a:avLst/>
        </a:prstGeom>
        <a:noFill/>
        <a:ln>
          <a:noFill/>
        </a:ln>
        <a:effectLst/>
      </dgm:spPr>
      <dgm:t>
        <a:bodyPr anchor="ctr"/>
        <a:lstStyle/>
        <a:p>
          <a:pPr>
            <a:buNone/>
          </a:pPr>
          <a:endParaRPr lang="fr-FR" sz="1400" dirty="0">
            <a:solidFill>
              <a:srgbClr val="0C1C49">
                <a:hueOff val="0"/>
                <a:satOff val="0"/>
                <a:lumOff val="0"/>
                <a:alphaOff val="0"/>
              </a:srgbClr>
            </a:solidFill>
            <a:latin typeface="Arial" panose="020B0604020202020204"/>
            <a:ea typeface="+mn-ea"/>
            <a:cs typeface="+mn-cs"/>
          </a:endParaRPr>
        </a:p>
      </dgm:t>
    </dgm:pt>
    <dgm:pt modelId="{C8C5E557-284F-44AF-8C4F-F9A20464AA8B}" type="sibTrans" cxnId="{5D1DDCA5-5078-48C8-ACAC-19DD0FFA6BCF}">
      <dgm:prSet/>
      <dgm:spPr/>
      <dgm:t>
        <a:bodyPr/>
        <a:lstStyle/>
        <a:p>
          <a:endParaRPr lang="fr-FR"/>
        </a:p>
      </dgm:t>
    </dgm:pt>
    <dgm:pt modelId="{A23B3C52-C704-4744-9BFC-0E2F5084EEAC}" type="parTrans" cxnId="{5D1DDCA5-5078-48C8-ACAC-19DD0FFA6BCF}">
      <dgm:prSet/>
      <dgm:spPr/>
      <dgm:t>
        <a:bodyPr/>
        <a:lstStyle/>
        <a:p>
          <a:endParaRPr lang="fr-FR"/>
        </a:p>
      </dgm:t>
    </dgm:pt>
    <dgm:pt modelId="{27166E23-9EBD-4B63-BC42-FE80A4E93D76}">
      <dgm:prSet phldrT="[Texte]" phldr="0" custT="1"/>
      <dgm:spPr>
        <a:xfrm rot="16200000">
          <a:off x="7257532" y="2643303"/>
          <a:ext cx="3950556" cy="370916"/>
        </a:xfrm>
        <a:prstGeom prst="rect">
          <a:avLst/>
        </a:prstGeom>
        <a:noFill/>
        <a:ln>
          <a:noFill/>
        </a:ln>
        <a:effectLst/>
      </dgm:spPr>
      <dgm:t>
        <a:bodyPr anchor="ctr"/>
        <a:lstStyle/>
        <a:p>
          <a:pPr>
            <a:buNone/>
          </a:pPr>
          <a:endParaRPr lang="fr-FR" sz="1400" dirty="0">
            <a:solidFill>
              <a:srgbClr val="0C1C49">
                <a:hueOff val="0"/>
                <a:satOff val="0"/>
                <a:lumOff val="0"/>
                <a:alphaOff val="0"/>
              </a:srgbClr>
            </a:solidFill>
            <a:latin typeface="Arial" panose="020B0604020202020204"/>
            <a:ea typeface="+mn-ea"/>
            <a:cs typeface="+mn-cs"/>
          </a:endParaRPr>
        </a:p>
      </dgm:t>
    </dgm:pt>
    <dgm:pt modelId="{E702B7D5-3193-438C-AE31-8D5139E27672}" type="sibTrans" cxnId="{FF3A7015-DC51-4DCF-8E93-D2E22983FC16}">
      <dgm:prSet/>
      <dgm:spPr/>
      <dgm:t>
        <a:bodyPr/>
        <a:lstStyle/>
        <a:p>
          <a:endParaRPr lang="fr-FR"/>
        </a:p>
      </dgm:t>
    </dgm:pt>
    <dgm:pt modelId="{BFEA4B4F-BCF1-4DFD-9CB3-1E0B8982D423}" type="parTrans" cxnId="{FF3A7015-DC51-4DCF-8E93-D2E22983FC16}">
      <dgm:prSet/>
      <dgm:spPr/>
      <dgm:t>
        <a:bodyPr/>
        <a:lstStyle/>
        <a:p>
          <a:endParaRPr lang="fr-FR"/>
        </a:p>
      </dgm:t>
    </dgm:pt>
    <dgm:pt modelId="{1C829FF8-2699-4C98-9723-67899AB954EB}">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r>
            <a:rPr lang="en-US" sz="1400" b="1" kern="1200" dirty="0">
              <a:solidFill>
                <a:srgbClr val="50878E"/>
              </a:solidFill>
              <a:latin typeface="Arial" panose="020B0604020202020204"/>
              <a:ea typeface="+mn-ea"/>
              <a:cs typeface="+mn-cs"/>
            </a:rPr>
            <a:t>Developing the
GNP of RCs</a:t>
          </a:r>
          <a:endParaRPr lang="fr-FR" sz="1400" b="1" kern="1200" dirty="0">
            <a:solidFill>
              <a:srgbClr val="50878E"/>
            </a:solidFill>
            <a:latin typeface="Arial" panose="020B0604020202020204"/>
            <a:ea typeface="+mn-ea"/>
            <a:cs typeface="+mn-cs"/>
          </a:endParaRPr>
        </a:p>
      </dgm:t>
    </dgm:pt>
    <dgm:pt modelId="{B8887C6F-5DDD-4C8E-942D-9E33DC59221A}" type="parTrans" cxnId="{CB870A67-9F06-4B1D-9ADD-D7E924AF0B3E}">
      <dgm:prSet/>
      <dgm:spPr/>
      <dgm:t>
        <a:bodyPr/>
        <a:lstStyle/>
        <a:p>
          <a:endParaRPr lang="fr-FR"/>
        </a:p>
      </dgm:t>
    </dgm:pt>
    <dgm:pt modelId="{D186F347-970D-465B-9B74-53839C5D685D}" type="sibTrans" cxnId="{CB870A67-9F06-4B1D-9ADD-D7E924AF0B3E}">
      <dgm:prSet/>
      <dgm:spPr/>
      <dgm:t>
        <a:bodyPr/>
        <a:lstStyle/>
        <a:p>
          <a:endParaRPr lang="fr-FR"/>
        </a:p>
      </dgm:t>
    </dgm:pt>
    <dgm:pt modelId="{37520557-4D11-40C6-BAFE-DBDD496D5B85}">
      <dgm:prSet phldrT="[Texte]" phldr="0" custT="1"/>
      <dgm:spPr>
        <a:xfrm>
          <a:off x="3575239" y="767687"/>
          <a:ext cx="2294351" cy="4122149"/>
        </a:xfrm>
        <a:solidFill>
          <a:srgbClr val="FFFFFF"/>
        </a:solidFill>
        <a:ln w="12700" cap="flat" cmpd="sng" algn="ctr">
          <a:solidFill>
            <a:srgbClr val="006A4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r>
            <a:rPr lang="fr-FR" sz="1400" b="1" kern="1200" baseline="0" dirty="0">
              <a:ln>
                <a:noFill/>
              </a:ln>
              <a:solidFill>
                <a:srgbClr val="026A4E"/>
              </a:solidFill>
              <a:effectLst/>
              <a:latin typeface="Arial" panose="020B0604020202020204"/>
              <a:ea typeface="+mn-ea"/>
              <a:cs typeface="+mn-cs"/>
            </a:rPr>
            <a:t> </a:t>
          </a:r>
        </a:p>
      </dgm:t>
    </dgm:pt>
    <dgm:pt modelId="{31AECA89-49E5-4157-BE38-E7E97D6B4FBC}" type="parTrans" cxnId="{5F9F529C-C503-4562-943B-1A6D9967584D}">
      <dgm:prSet/>
      <dgm:spPr/>
      <dgm:t>
        <a:bodyPr/>
        <a:lstStyle/>
        <a:p>
          <a:endParaRPr lang="fr-FR"/>
        </a:p>
      </dgm:t>
    </dgm:pt>
    <dgm:pt modelId="{353169F2-075A-4B45-88E0-61DAC73A8C07}" type="sibTrans" cxnId="{5F9F529C-C503-4562-943B-1A6D9967584D}">
      <dgm:prSet/>
      <dgm:spPr/>
      <dgm:t>
        <a:bodyPr/>
        <a:lstStyle/>
        <a:p>
          <a:endParaRPr lang="fr-FR"/>
        </a:p>
      </dgm:t>
    </dgm:pt>
    <dgm:pt modelId="{716A35E8-111A-4F1D-BF38-AF35CDB44A9C}">
      <dgm:prSet custT="1"/>
      <dgm:spPr>
        <a:ln>
          <a:solidFill>
            <a:srgbClr val="006A4E"/>
          </a:solidFill>
        </a:ln>
      </dgm:spPr>
      <dgm:t>
        <a:bodyPr/>
        <a:lstStyle/>
        <a:p>
          <a:pPr marL="114300" lvl="1" indent="-114300" algn="ctr" defTabSz="622300">
            <a:lnSpc>
              <a:spcPct val="90000"/>
            </a:lnSpc>
            <a:spcBef>
              <a:spcPct val="0"/>
            </a:spcBef>
            <a:spcAft>
              <a:spcPct val="15000"/>
            </a:spcAft>
            <a:buNone/>
          </a:pPr>
          <a:r>
            <a:rPr lang="en-US" sz="1200" b="1" baseline="0" dirty="0">
              <a:ln>
                <a:noFill/>
              </a:ln>
              <a:solidFill>
                <a:srgbClr val="006A4E"/>
              </a:solidFill>
              <a:effectLst/>
              <a:latin typeface="Arial" panose="020B0604020202020204"/>
              <a:ea typeface="+mn-ea"/>
              <a:cs typeface="+mn-cs"/>
            </a:rPr>
            <a:t>Equipping and retaining our customers in specialized markets</a:t>
          </a:r>
          <a:endParaRPr lang="fr-FR" sz="1200" b="1" baseline="0" dirty="0">
            <a:ln>
              <a:noFill/>
            </a:ln>
            <a:solidFill>
              <a:srgbClr val="006A4E"/>
            </a:solidFill>
            <a:effectLst/>
            <a:latin typeface="Arial" panose="020B0604020202020204"/>
            <a:ea typeface="+mn-ea"/>
            <a:cs typeface="+mn-cs"/>
          </a:endParaRPr>
        </a:p>
      </dgm:t>
    </dgm:pt>
    <dgm:pt modelId="{32EB76FD-5EF3-4C72-A363-BD4C184299F2}" type="parTrans" cxnId="{996ADBA9-66BF-4350-9D06-690F2EBAA879}">
      <dgm:prSet/>
      <dgm:spPr/>
      <dgm:t>
        <a:bodyPr/>
        <a:lstStyle/>
        <a:p>
          <a:endParaRPr lang="fr-FR"/>
        </a:p>
      </dgm:t>
    </dgm:pt>
    <dgm:pt modelId="{9D50A3CB-E2EE-44BA-967A-B976A033C008}" type="sibTrans" cxnId="{996ADBA9-66BF-4350-9D06-690F2EBAA879}">
      <dgm:prSet/>
      <dgm:spPr/>
      <dgm:t>
        <a:bodyPr/>
        <a:lstStyle/>
        <a:p>
          <a:endParaRPr lang="fr-FR"/>
        </a:p>
      </dgm:t>
    </dgm:pt>
    <dgm:pt modelId="{2B3AEAD3-0F68-44F7-A86E-8F3157D6CE50}">
      <dgm:prSet phldrT="[Texte]" phldr="0" custT="1"/>
      <dgm:spPr>
        <a:xfrm>
          <a:off x="646283" y="768376"/>
          <a:ext cx="2294351" cy="4120769"/>
        </a:xfrm>
        <a:solidFill>
          <a:srgbClr val="FFFFFF"/>
        </a:solidFill>
        <a:ln w="12700" cap="flat" cmpd="sng" algn="ctr">
          <a:solidFill>
            <a:srgbClr val="90C1AF"/>
          </a:solidFill>
          <a:prstDash val="solid"/>
          <a:miter lim="800000"/>
        </a:ln>
        <a:effectLst>
          <a:outerShdw blurRad="50800" dist="38100" dir="2700000" algn="tl" rotWithShape="0">
            <a:prstClr val="black">
              <a:alpha val="40000"/>
            </a:prstClr>
          </a:outerShdw>
        </a:effectLst>
      </dgm:spPr>
      <dgm:t>
        <a:bodyPr lIns="36000" rIns="36000"/>
        <a:lstStyle/>
        <a:p>
          <a:pPr marL="114300" lvl="1" indent="0" algn="ctr" defTabSz="622300">
            <a:lnSpc>
              <a:spcPct val="90000"/>
            </a:lnSpc>
            <a:spcBef>
              <a:spcPct val="0"/>
            </a:spcBef>
            <a:spcAft>
              <a:spcPct val="15000"/>
            </a:spcAft>
            <a:buNone/>
          </a:pPr>
          <a:r>
            <a:rPr lang="fr-FR" sz="1400" b="1" kern="1200" baseline="0" dirty="0" err="1">
              <a:ln>
                <a:noFill/>
              </a:ln>
              <a:solidFill>
                <a:srgbClr val="90C1AF"/>
              </a:solidFill>
              <a:effectLst/>
              <a:latin typeface="Arial" panose="020B0604020202020204"/>
              <a:ea typeface="+mn-ea"/>
              <a:cs typeface="+mn-cs"/>
            </a:rPr>
            <a:t>Regulatory</a:t>
          </a:r>
          <a:r>
            <a:rPr lang="fr-FR" sz="1400" b="1" kern="1200" baseline="0" dirty="0">
              <a:ln>
                <a:noFill/>
              </a:ln>
              <a:solidFill>
                <a:srgbClr val="90C1AF"/>
              </a:solidFill>
              <a:effectLst/>
              <a:latin typeface="Arial" panose="020B0604020202020204"/>
              <a:ea typeface="+mn-ea"/>
              <a:cs typeface="+mn-cs"/>
            </a:rPr>
            <a:t> </a:t>
          </a:r>
          <a:r>
            <a:rPr lang="fr-FR" sz="1400" b="1" kern="1200" baseline="0" dirty="0" err="1">
              <a:ln>
                <a:noFill/>
              </a:ln>
              <a:solidFill>
                <a:srgbClr val="90C1AF"/>
              </a:solidFill>
              <a:effectLst/>
              <a:latin typeface="Arial" panose="020B0604020202020204"/>
              <a:ea typeface="+mn-ea"/>
              <a:cs typeface="+mn-cs"/>
            </a:rPr>
            <a:t>context</a:t>
          </a:r>
          <a:r>
            <a:rPr lang="fr-FR" sz="1400" b="1" kern="1200" baseline="0" dirty="0">
              <a:ln>
                <a:noFill/>
              </a:ln>
              <a:solidFill>
                <a:srgbClr val="90C1AF"/>
              </a:solidFill>
              <a:effectLst/>
              <a:latin typeface="Arial" panose="020B0604020202020204"/>
              <a:ea typeface="+mn-ea"/>
              <a:cs typeface="+mn-cs"/>
            </a:rPr>
            <a:t>
Favorable</a:t>
          </a:r>
        </a:p>
      </dgm:t>
    </dgm:pt>
    <dgm:pt modelId="{E5453B15-0BCF-4E08-9644-6009C56B60D2}" type="parTrans" cxnId="{EDF7AC6F-6951-4FE4-B91C-E5DACF5F0970}">
      <dgm:prSet/>
      <dgm:spPr/>
      <dgm:t>
        <a:bodyPr/>
        <a:lstStyle/>
        <a:p>
          <a:endParaRPr lang="fr-FR"/>
        </a:p>
      </dgm:t>
    </dgm:pt>
    <dgm:pt modelId="{E791B99A-EF5D-428C-853F-2E5373C05632}" type="sibTrans" cxnId="{EDF7AC6F-6951-4FE4-B91C-E5DACF5F0970}">
      <dgm:prSet/>
      <dgm:spPr/>
      <dgm:t>
        <a:bodyPr/>
        <a:lstStyle/>
        <a:p>
          <a:endParaRPr lang="fr-FR"/>
        </a:p>
      </dgm:t>
    </dgm:pt>
    <dgm:pt modelId="{D9418462-1231-4D40-98F8-E061155EEFCC}">
      <dgm:prSet phldrT="[Texte]" phldr="0" custT="1"/>
      <dgm:spPr>
        <a:xfrm>
          <a:off x="646283" y="768376"/>
          <a:ext cx="2294351" cy="4120769"/>
        </a:xfrm>
        <a:solidFill>
          <a:srgbClr val="FFFFFF"/>
        </a:solidFill>
        <a:ln w="12700" cap="flat" cmpd="sng" algn="ctr">
          <a:solidFill>
            <a:srgbClr val="90C1AF"/>
          </a:solidFill>
          <a:prstDash val="solid"/>
          <a:miter lim="800000"/>
        </a:ln>
        <a:effectLst>
          <a:outerShdw blurRad="50800" dist="38100" dir="2700000" algn="tl" rotWithShape="0">
            <a:prstClr val="black">
              <a:alpha val="40000"/>
            </a:prstClr>
          </a:outerShdw>
        </a:effectLst>
      </dgm:spPr>
      <dgm:t>
        <a:bodyPr lIns="36000" rIns="36000"/>
        <a:lstStyle/>
        <a:p>
          <a:pPr marL="114300" lvl="1" indent="0" algn="ctr" defTabSz="622300">
            <a:lnSpc>
              <a:spcPct val="90000"/>
            </a:lnSpc>
            <a:spcBef>
              <a:spcPct val="0"/>
            </a:spcBef>
            <a:spcAft>
              <a:spcPct val="15000"/>
            </a:spcAft>
            <a:buNone/>
          </a:pPr>
          <a:r>
            <a:rPr lang="en-US" sz="1200" b="1" kern="1200" baseline="0" dirty="0">
              <a:ln>
                <a:noFill/>
              </a:ln>
              <a:solidFill>
                <a:srgbClr val="90C1AF"/>
              </a:solidFill>
              <a:effectLst/>
              <a:latin typeface="Arial" panose="020B0604020202020204"/>
              <a:ea typeface="+mn-ea"/>
              <a:cs typeface="+mn-cs"/>
            </a:rPr>
            <a:t>Innovative approach
which brings together the expertise of the Group's businesses</a:t>
          </a:r>
          <a:endParaRPr lang="fr-FR" sz="900" b="1" kern="1200" baseline="0" dirty="0">
            <a:ln>
              <a:noFill/>
            </a:ln>
            <a:solidFill>
              <a:srgbClr val="90C1AF"/>
            </a:solidFill>
            <a:effectLst/>
            <a:latin typeface="Arial" panose="020B0604020202020204"/>
            <a:ea typeface="+mn-ea"/>
            <a:cs typeface="+mn-cs"/>
          </a:endParaRPr>
        </a:p>
      </dgm:t>
    </dgm:pt>
    <dgm:pt modelId="{3ABFB0B3-1DBE-4C14-AB5E-9F72ABA67BA8}" type="parTrans" cxnId="{C3D9835C-C29A-4440-B83D-4B4101EE3656}">
      <dgm:prSet/>
      <dgm:spPr/>
      <dgm:t>
        <a:bodyPr/>
        <a:lstStyle/>
        <a:p>
          <a:endParaRPr lang="fr-FR"/>
        </a:p>
      </dgm:t>
    </dgm:pt>
    <dgm:pt modelId="{ACAE3807-3A62-4521-BEC6-C81F08CA3747}" type="sibTrans" cxnId="{C3D9835C-C29A-4440-B83D-4B4101EE3656}">
      <dgm:prSet/>
      <dgm:spPr/>
      <dgm:t>
        <a:bodyPr/>
        <a:lstStyle/>
        <a:p>
          <a:endParaRPr lang="fr-FR"/>
        </a:p>
      </dgm:t>
    </dgm:pt>
    <dgm:pt modelId="{EAE71790-B07D-46AA-A3FF-FDBC34F87CE7}">
      <dgm:prSet phldrT="[Texte]" phldr="0" custT="1"/>
      <dgm:spPr>
        <a:xfrm>
          <a:off x="646283" y="768376"/>
          <a:ext cx="2294351" cy="4120769"/>
        </a:xfrm>
        <a:solidFill>
          <a:srgbClr val="FFFFFF"/>
        </a:solidFill>
        <a:ln w="12700" cap="flat" cmpd="sng" algn="ctr">
          <a:solidFill>
            <a:srgbClr val="90C1AF"/>
          </a:solidFill>
          <a:prstDash val="solid"/>
          <a:miter lim="800000"/>
        </a:ln>
        <a:effectLst>
          <a:outerShdw blurRad="50800" dist="38100" dir="2700000" algn="tl" rotWithShape="0">
            <a:prstClr val="black">
              <a:alpha val="40000"/>
            </a:prstClr>
          </a:outerShdw>
        </a:effectLst>
      </dgm:spPr>
      <dgm:t>
        <a:bodyPr lIns="36000" rIns="36000"/>
        <a:lstStyle/>
        <a:p>
          <a:pPr marL="114300" lvl="1" indent="0" algn="ctr" defTabSz="622300">
            <a:lnSpc>
              <a:spcPct val="90000"/>
            </a:lnSpc>
            <a:spcBef>
              <a:spcPct val="0"/>
            </a:spcBef>
            <a:spcAft>
              <a:spcPct val="15000"/>
            </a:spcAft>
            <a:buNone/>
          </a:pPr>
          <a:r>
            <a:rPr lang="en-US" sz="1200" b="1" kern="1200" baseline="0" dirty="0">
              <a:ln>
                <a:noFill/>
              </a:ln>
              <a:solidFill>
                <a:srgbClr val="90C1AF"/>
              </a:solidFill>
              <a:effectLst/>
              <a:latin typeface="Arial" panose="020B0604020202020204"/>
              <a:ea typeface="+mn-ea"/>
              <a:cs typeface="+mn-cs"/>
            </a:rPr>
            <a:t>Law of Value Sharing
-&gt; Pro from 11 to 49 employees</a:t>
          </a:r>
          <a:endParaRPr lang="fr-FR" sz="1200" b="1" kern="1200" baseline="0" dirty="0">
            <a:ln>
              <a:noFill/>
            </a:ln>
            <a:solidFill>
              <a:srgbClr val="90C1AF"/>
            </a:solidFill>
            <a:effectLst/>
            <a:latin typeface="Arial" panose="020B0604020202020204"/>
            <a:ea typeface="+mn-ea"/>
            <a:cs typeface="+mn-cs"/>
          </a:endParaRPr>
        </a:p>
      </dgm:t>
    </dgm:pt>
    <dgm:pt modelId="{BDF812DC-E8AA-4690-B081-EA37C2D4DCE8}" type="parTrans" cxnId="{A151B725-E358-49D8-AA7E-F6CC84183323}">
      <dgm:prSet/>
      <dgm:spPr/>
      <dgm:t>
        <a:bodyPr/>
        <a:lstStyle/>
        <a:p>
          <a:endParaRPr lang="fr-FR"/>
        </a:p>
      </dgm:t>
    </dgm:pt>
    <dgm:pt modelId="{B8EEE5EA-C8FA-4FA6-9505-84373A6D0CB0}" type="sibTrans" cxnId="{A151B725-E358-49D8-AA7E-F6CC84183323}">
      <dgm:prSet/>
      <dgm:spPr/>
      <dgm:t>
        <a:bodyPr/>
        <a:lstStyle/>
        <a:p>
          <a:endParaRPr lang="fr-FR"/>
        </a:p>
      </dgm:t>
    </dgm:pt>
    <dgm:pt modelId="{DD62B6E9-DB5B-4978-AF94-7D3556E3BE6B}">
      <dgm:prSet phldrT="[Texte]" phldr="0" custT="1"/>
      <dgm:spPr>
        <a:xfrm>
          <a:off x="646283" y="768376"/>
          <a:ext cx="2294351" cy="4120769"/>
        </a:xfrm>
        <a:solidFill>
          <a:srgbClr val="FFFFFF"/>
        </a:solidFill>
        <a:ln w="12700" cap="flat" cmpd="sng" algn="ctr">
          <a:solidFill>
            <a:srgbClr val="90C1AF"/>
          </a:solidFill>
          <a:prstDash val="solid"/>
          <a:miter lim="800000"/>
        </a:ln>
        <a:effectLst>
          <a:outerShdw blurRad="50800" dist="38100" dir="2700000" algn="tl" rotWithShape="0">
            <a:prstClr val="black">
              <a:alpha val="40000"/>
            </a:prstClr>
          </a:outerShdw>
        </a:effectLst>
      </dgm:spPr>
      <dgm:t>
        <a:bodyPr lIns="36000" rIns="36000"/>
        <a:lstStyle/>
        <a:p>
          <a:pPr marL="114300" lvl="1" indent="0" algn="ctr" defTabSz="622300">
            <a:lnSpc>
              <a:spcPct val="90000"/>
            </a:lnSpc>
            <a:spcBef>
              <a:spcPct val="0"/>
            </a:spcBef>
            <a:spcAft>
              <a:spcPct val="15000"/>
            </a:spcAft>
            <a:buNone/>
          </a:pPr>
          <a:endParaRPr lang="fr-FR" sz="1400" b="1" kern="1200" baseline="0" dirty="0">
            <a:ln>
              <a:noFill/>
            </a:ln>
            <a:solidFill>
              <a:srgbClr val="0C1C49"/>
            </a:solidFill>
            <a:effectLst/>
            <a:latin typeface="Arial" panose="020B0604020202020204"/>
            <a:ea typeface="+mn-ea"/>
            <a:cs typeface="+mn-cs"/>
          </a:endParaRPr>
        </a:p>
      </dgm:t>
    </dgm:pt>
    <dgm:pt modelId="{9B30B609-CF92-4466-A70D-E68ECCD6A74D}" type="parTrans" cxnId="{6BC65E23-A31C-4159-A85C-B8F2DE1836B7}">
      <dgm:prSet/>
      <dgm:spPr/>
      <dgm:t>
        <a:bodyPr/>
        <a:lstStyle/>
        <a:p>
          <a:endParaRPr lang="fr-FR"/>
        </a:p>
      </dgm:t>
    </dgm:pt>
    <dgm:pt modelId="{D2A85D4C-246C-47A7-9ACF-69CCF1BCDFFF}" type="sibTrans" cxnId="{6BC65E23-A31C-4159-A85C-B8F2DE1836B7}">
      <dgm:prSet/>
      <dgm:spPr/>
      <dgm:t>
        <a:bodyPr/>
        <a:lstStyle/>
        <a:p>
          <a:endParaRPr lang="fr-FR"/>
        </a:p>
      </dgm:t>
    </dgm:pt>
    <dgm:pt modelId="{1308B217-9642-4BB2-9E1A-4857CF23AD6A}">
      <dgm:prSet phldrT="[Texte]" phldr="0" custT="1"/>
      <dgm:spPr>
        <a:xfrm>
          <a:off x="3575239" y="767687"/>
          <a:ext cx="2294351" cy="4122149"/>
        </a:xfrm>
        <a:solidFill>
          <a:srgbClr val="FFFFFF"/>
        </a:solidFill>
        <a:ln w="12700" cap="flat" cmpd="sng" algn="ctr">
          <a:solidFill>
            <a:srgbClr val="006A4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r>
            <a:rPr lang="fr-FR" sz="1400" b="1" baseline="0" dirty="0">
              <a:ln>
                <a:noFill/>
              </a:ln>
              <a:solidFill>
                <a:srgbClr val="006A4E"/>
              </a:solidFill>
              <a:effectLst/>
              <a:latin typeface="Arial" panose="020B0604020202020204"/>
              <a:ea typeface="+mn-ea"/>
              <a:cs typeface="+mn-cs"/>
            </a:rPr>
            <a:t>Lever of </a:t>
          </a:r>
          <a:r>
            <a:rPr lang="fr-FR" sz="1400" b="1" baseline="0" dirty="0" err="1">
              <a:ln>
                <a:noFill/>
              </a:ln>
              <a:solidFill>
                <a:srgbClr val="006A4E"/>
              </a:solidFill>
              <a:effectLst/>
              <a:latin typeface="Arial" panose="020B0604020202020204"/>
              <a:ea typeface="+mn-ea"/>
              <a:cs typeface="+mn-cs"/>
            </a:rPr>
            <a:t>conquest</a:t>
          </a:r>
          <a:endParaRPr lang="fr-FR" sz="900" b="1" kern="1200" dirty="0">
            <a:solidFill>
              <a:srgbClr val="006A4E"/>
            </a:solidFill>
            <a:effectLst/>
            <a:latin typeface="Arial" panose="020B0604020202020204"/>
            <a:ea typeface="+mn-ea"/>
            <a:cs typeface="+mn-cs"/>
          </a:endParaRPr>
        </a:p>
      </dgm:t>
    </dgm:pt>
    <dgm:pt modelId="{D7095D35-A76C-4829-AD70-1111901D62BE}" type="parTrans" cxnId="{5E513211-1BD7-4424-993B-934C2F449A85}">
      <dgm:prSet/>
      <dgm:spPr/>
      <dgm:t>
        <a:bodyPr/>
        <a:lstStyle/>
        <a:p>
          <a:endParaRPr lang="fr-FR"/>
        </a:p>
      </dgm:t>
    </dgm:pt>
    <dgm:pt modelId="{F705A77B-4E82-4C65-9D79-3871ED93B5B4}" type="sibTrans" cxnId="{5E513211-1BD7-4424-993B-934C2F449A85}">
      <dgm:prSet/>
      <dgm:spPr/>
      <dgm:t>
        <a:bodyPr/>
        <a:lstStyle/>
        <a:p>
          <a:endParaRPr lang="fr-FR"/>
        </a:p>
      </dgm:t>
    </dgm:pt>
    <dgm:pt modelId="{13FF95F6-A98D-4076-B665-C19211E99183}">
      <dgm:prSet custT="1"/>
      <dgm:spPr>
        <a:ln>
          <a:solidFill>
            <a:srgbClr val="006A4E"/>
          </a:solidFill>
        </a:ln>
      </dgm:spPr>
      <dgm:t>
        <a:bodyPr/>
        <a:lstStyle/>
        <a:p>
          <a:pPr marL="114300" lvl="1" indent="-114300" algn="ctr" defTabSz="622300">
            <a:lnSpc>
              <a:spcPct val="90000"/>
            </a:lnSpc>
            <a:spcBef>
              <a:spcPct val="0"/>
            </a:spcBef>
            <a:spcAft>
              <a:spcPct val="15000"/>
            </a:spcAft>
            <a:buNone/>
          </a:pPr>
          <a:endParaRPr lang="fr-FR" sz="1400" b="1" baseline="0" dirty="0">
            <a:ln>
              <a:noFill/>
            </a:ln>
            <a:solidFill>
              <a:srgbClr val="0C1C49"/>
            </a:solidFill>
            <a:effectLst/>
            <a:latin typeface="Arial" panose="020B0604020202020204"/>
            <a:ea typeface="+mn-ea"/>
            <a:cs typeface="+mn-cs"/>
          </a:endParaRPr>
        </a:p>
      </dgm:t>
    </dgm:pt>
    <dgm:pt modelId="{45CB7BD8-7B50-45F6-B693-119DAB11BB19}" type="parTrans" cxnId="{8D655109-D6C7-4D71-ACD4-BED62B2D727F}">
      <dgm:prSet/>
      <dgm:spPr/>
      <dgm:t>
        <a:bodyPr/>
        <a:lstStyle/>
        <a:p>
          <a:endParaRPr lang="fr-FR"/>
        </a:p>
      </dgm:t>
    </dgm:pt>
    <dgm:pt modelId="{F3C2754D-3093-4933-A67C-E15EB26FEDD5}" type="sibTrans" cxnId="{8D655109-D6C7-4D71-ACD4-BED62B2D727F}">
      <dgm:prSet/>
      <dgm:spPr/>
      <dgm:t>
        <a:bodyPr/>
        <a:lstStyle/>
        <a:p>
          <a:endParaRPr lang="fr-FR"/>
        </a:p>
      </dgm:t>
    </dgm:pt>
    <dgm:pt modelId="{7B6011F9-8ABB-42CA-B619-A0D011B11899}">
      <dgm:prSet custT="1"/>
      <dgm:spPr>
        <a:ln>
          <a:solidFill>
            <a:srgbClr val="006A4E"/>
          </a:solidFill>
        </a:ln>
      </dgm:spPr>
      <dgm:t>
        <a:bodyPr/>
        <a:lstStyle/>
        <a:p>
          <a:pPr marL="114300" lvl="1" indent="-114300" algn="ctr" defTabSz="622300">
            <a:lnSpc>
              <a:spcPct val="90000"/>
            </a:lnSpc>
            <a:spcBef>
              <a:spcPct val="0"/>
            </a:spcBef>
            <a:spcAft>
              <a:spcPct val="15000"/>
            </a:spcAft>
            <a:buNone/>
          </a:pPr>
          <a:endParaRPr lang="fr-FR" sz="1400" b="1" baseline="0" dirty="0">
            <a:ln>
              <a:noFill/>
            </a:ln>
            <a:solidFill>
              <a:srgbClr val="0C1C49"/>
            </a:solidFill>
            <a:effectLst/>
            <a:latin typeface="Arial" panose="020B0604020202020204"/>
            <a:ea typeface="+mn-ea"/>
            <a:cs typeface="+mn-cs"/>
          </a:endParaRPr>
        </a:p>
      </dgm:t>
    </dgm:pt>
    <dgm:pt modelId="{81488BFC-C1AE-467F-9C83-02DB7CCDE6E6}" type="parTrans" cxnId="{52239EF0-ED3C-4845-8383-3B00AD8CD8F6}">
      <dgm:prSet/>
      <dgm:spPr/>
      <dgm:t>
        <a:bodyPr/>
        <a:lstStyle/>
        <a:p>
          <a:endParaRPr lang="fr-FR"/>
        </a:p>
      </dgm:t>
    </dgm:pt>
    <dgm:pt modelId="{07B66290-2CD4-4B01-8CCE-2BDC53B59B97}" type="sibTrans" cxnId="{52239EF0-ED3C-4845-8383-3B00AD8CD8F6}">
      <dgm:prSet/>
      <dgm:spPr/>
      <dgm:t>
        <a:bodyPr/>
        <a:lstStyle/>
        <a:p>
          <a:endParaRPr lang="fr-FR"/>
        </a:p>
      </dgm:t>
    </dgm:pt>
    <dgm:pt modelId="{1DDB1554-EF66-44A4-B2B9-A467292CC635}">
      <dgm:prSet custT="1"/>
      <dgm:spPr>
        <a:ln>
          <a:solidFill>
            <a:srgbClr val="006A4E"/>
          </a:solidFill>
        </a:ln>
      </dgm:spPr>
      <dgm:t>
        <a:bodyPr/>
        <a:lstStyle/>
        <a:p>
          <a:pPr marL="114300" lvl="1" indent="-114300" algn="ctr" defTabSz="622300">
            <a:lnSpc>
              <a:spcPct val="90000"/>
            </a:lnSpc>
            <a:spcBef>
              <a:spcPct val="0"/>
            </a:spcBef>
            <a:spcAft>
              <a:spcPct val="15000"/>
            </a:spcAft>
            <a:buNone/>
          </a:pPr>
          <a:r>
            <a:rPr lang="en-US" sz="1200" b="1" baseline="0" dirty="0">
              <a:ln>
                <a:noFill/>
              </a:ln>
              <a:solidFill>
                <a:srgbClr val="006A4E"/>
              </a:solidFill>
              <a:effectLst/>
              <a:latin typeface="Arial" panose="020B0604020202020204"/>
              <a:ea typeface="+mn-ea"/>
              <a:cs typeface="+mn-cs"/>
            </a:rPr>
            <a:t>Winning over the employees of our Entrepreneur customers</a:t>
          </a:r>
          <a:endParaRPr lang="fr-FR" sz="1200" b="1" baseline="0" dirty="0">
            <a:ln>
              <a:noFill/>
            </a:ln>
            <a:solidFill>
              <a:srgbClr val="006A4E"/>
            </a:solidFill>
            <a:effectLst/>
            <a:latin typeface="Arial" panose="020B0604020202020204"/>
            <a:ea typeface="+mn-ea"/>
            <a:cs typeface="+mn-cs"/>
          </a:endParaRPr>
        </a:p>
      </dgm:t>
    </dgm:pt>
    <dgm:pt modelId="{A0E2DAC9-2EB4-43EB-9DBF-4EC76CC8ADE7}" type="parTrans" cxnId="{C0C032EB-C903-4E4E-8BE6-E16AD37DB6DF}">
      <dgm:prSet/>
      <dgm:spPr/>
      <dgm:t>
        <a:bodyPr/>
        <a:lstStyle/>
        <a:p>
          <a:endParaRPr lang="fr-FR"/>
        </a:p>
      </dgm:t>
    </dgm:pt>
    <dgm:pt modelId="{0C676DC8-B448-4C16-9A94-43D6A3AE3D0F}" type="sibTrans" cxnId="{C0C032EB-C903-4E4E-8BE6-E16AD37DB6DF}">
      <dgm:prSet/>
      <dgm:spPr/>
      <dgm:t>
        <a:bodyPr/>
        <a:lstStyle/>
        <a:p>
          <a:endParaRPr lang="fr-FR"/>
        </a:p>
      </dgm:t>
    </dgm:pt>
    <dgm:pt modelId="{6A5AA3EE-5FC4-415F-A279-D704BC23E2A8}">
      <dgm:prSet custT="1"/>
      <dgm:spPr>
        <a:ln>
          <a:solidFill>
            <a:srgbClr val="006A4E"/>
          </a:solidFill>
        </a:ln>
      </dgm:spPr>
      <dgm:t>
        <a:bodyPr/>
        <a:lstStyle/>
        <a:p>
          <a:pPr marL="114300" lvl="1" indent="-114300" algn="ctr" defTabSz="622300">
            <a:lnSpc>
              <a:spcPct val="90000"/>
            </a:lnSpc>
            <a:spcBef>
              <a:spcPct val="0"/>
            </a:spcBef>
            <a:spcAft>
              <a:spcPct val="15000"/>
            </a:spcAft>
            <a:buNone/>
          </a:pPr>
          <a:endParaRPr lang="fr-FR" sz="1200" b="1" baseline="0" dirty="0">
            <a:ln>
              <a:noFill/>
            </a:ln>
            <a:solidFill>
              <a:srgbClr val="006A4E"/>
            </a:solidFill>
            <a:effectLst/>
            <a:latin typeface="Arial" panose="020B0604020202020204"/>
            <a:ea typeface="+mn-ea"/>
            <a:cs typeface="+mn-cs"/>
          </a:endParaRPr>
        </a:p>
      </dgm:t>
    </dgm:pt>
    <dgm:pt modelId="{DA5423D1-56D9-4957-887F-C21F4992770A}" type="parTrans" cxnId="{45916AE4-6140-4340-A00D-8F4190D854FC}">
      <dgm:prSet/>
      <dgm:spPr/>
      <dgm:t>
        <a:bodyPr/>
        <a:lstStyle/>
        <a:p>
          <a:endParaRPr lang="fr-FR"/>
        </a:p>
      </dgm:t>
    </dgm:pt>
    <dgm:pt modelId="{989161C1-6148-41DC-8306-C63D393273B1}" type="sibTrans" cxnId="{45916AE4-6140-4340-A00D-8F4190D854FC}">
      <dgm:prSet/>
      <dgm:spPr/>
      <dgm:t>
        <a:bodyPr/>
        <a:lstStyle/>
        <a:p>
          <a:endParaRPr lang="fr-FR"/>
        </a:p>
      </dgm:t>
    </dgm:pt>
    <dgm:pt modelId="{F47948E4-63EF-45AE-84A9-89D53766E711}">
      <dgm:prSet custT="1"/>
      <dgm:spPr>
        <a:ln>
          <a:solidFill>
            <a:srgbClr val="006A4E"/>
          </a:solidFill>
        </a:ln>
      </dgm:spPr>
      <dgm:t>
        <a:bodyPr/>
        <a:lstStyle/>
        <a:p>
          <a:pPr marL="114300" lvl="1" indent="-114300" algn="ctr" defTabSz="622300">
            <a:lnSpc>
              <a:spcPct val="90000"/>
            </a:lnSpc>
            <a:spcBef>
              <a:spcPct val="0"/>
            </a:spcBef>
            <a:spcAft>
              <a:spcPct val="15000"/>
            </a:spcAft>
            <a:buNone/>
          </a:pPr>
          <a:endParaRPr lang="fr-FR" sz="1200" b="1" baseline="0" dirty="0">
            <a:ln>
              <a:noFill/>
            </a:ln>
            <a:solidFill>
              <a:srgbClr val="006A4E"/>
            </a:solidFill>
            <a:effectLst/>
            <a:latin typeface="Arial" panose="020B0604020202020204"/>
            <a:ea typeface="+mn-ea"/>
            <a:cs typeface="+mn-cs"/>
          </a:endParaRPr>
        </a:p>
      </dgm:t>
    </dgm:pt>
    <dgm:pt modelId="{D5D552E3-1A38-4B20-B1DC-C49BF8014E0A}" type="parTrans" cxnId="{ED137457-96F0-481B-B232-9365E09E6326}">
      <dgm:prSet/>
      <dgm:spPr/>
      <dgm:t>
        <a:bodyPr/>
        <a:lstStyle/>
        <a:p>
          <a:endParaRPr lang="fr-FR"/>
        </a:p>
      </dgm:t>
    </dgm:pt>
    <dgm:pt modelId="{F7BC4DDB-1C47-405E-81F2-057CF4091E12}" type="sibTrans" cxnId="{ED137457-96F0-481B-B232-9365E09E6326}">
      <dgm:prSet/>
      <dgm:spPr/>
      <dgm:t>
        <a:bodyPr/>
        <a:lstStyle/>
        <a:p>
          <a:endParaRPr lang="fr-FR"/>
        </a:p>
      </dgm:t>
    </dgm:pt>
    <dgm:pt modelId="{027C7BC8-73AB-4A3F-8189-C5E53C06485E}">
      <dgm:prSet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dgm:t>
    </dgm:pt>
    <dgm:pt modelId="{99849216-D6D0-4282-B420-0CC6D99DB314}" type="parTrans" cxnId="{2A137946-A13D-4C38-8BD3-849CDEF13FAC}">
      <dgm:prSet/>
      <dgm:spPr/>
      <dgm:t>
        <a:bodyPr/>
        <a:lstStyle/>
        <a:p>
          <a:endParaRPr lang="fr-FR"/>
        </a:p>
      </dgm:t>
    </dgm:pt>
    <dgm:pt modelId="{AB1AF3D8-961E-4024-B95D-5D99626A4E28}" type="sibTrans" cxnId="{2A137946-A13D-4C38-8BD3-849CDEF13FAC}">
      <dgm:prSet/>
      <dgm:spPr/>
      <dgm:t>
        <a:bodyPr/>
        <a:lstStyle/>
        <a:p>
          <a:endParaRPr lang="fr-FR"/>
        </a:p>
      </dgm:t>
    </dgm:pt>
    <dgm:pt modelId="{BB1784D6-4993-413C-B29D-20F4EF2E20B8}">
      <dgm:prSet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ctr" defTabSz="444500">
            <a:lnSpc>
              <a:spcPct val="90000"/>
            </a:lnSpc>
            <a:spcBef>
              <a:spcPct val="0"/>
            </a:spcBef>
            <a:spcAft>
              <a:spcPct val="15000"/>
            </a:spcAft>
            <a:buFontTx/>
            <a:buNone/>
          </a:pPr>
          <a:r>
            <a:rPr lang="en-US" sz="1200" b="1" kern="1200" baseline="0" dirty="0">
              <a:ln>
                <a:noFill/>
              </a:ln>
              <a:solidFill>
                <a:srgbClr val="47B7A2"/>
              </a:solidFill>
              <a:effectLst/>
              <a:latin typeface="Arial" panose="020B0604020202020204"/>
              <a:ea typeface="+mn-ea"/>
              <a:cs typeface="+mn-cs"/>
            </a:rPr>
            <a:t>Strengthening the CSR policy of our Entrepreneurs</a:t>
          </a:r>
          <a:endParaRPr lang="fr-FR" sz="1200" b="1" kern="1200" baseline="0" dirty="0">
            <a:ln>
              <a:noFill/>
            </a:ln>
            <a:solidFill>
              <a:srgbClr val="47B7A2"/>
            </a:solidFill>
            <a:effectLst/>
            <a:latin typeface="Arial" panose="020B0604020202020204"/>
            <a:ea typeface="+mn-ea"/>
            <a:cs typeface="+mn-cs"/>
          </a:endParaRPr>
        </a:p>
      </dgm:t>
    </dgm:pt>
    <dgm:pt modelId="{5C357372-2474-4D44-B0CE-E3843E064BF1}" type="parTrans" cxnId="{38CB1774-C2B5-421B-890B-923F65806330}">
      <dgm:prSet/>
      <dgm:spPr/>
      <dgm:t>
        <a:bodyPr/>
        <a:lstStyle/>
        <a:p>
          <a:endParaRPr lang="fr-FR"/>
        </a:p>
      </dgm:t>
    </dgm:pt>
    <dgm:pt modelId="{250CB3C2-E35C-411A-86F8-C97BAF1AAD38}" type="sibTrans" cxnId="{38CB1774-C2B5-421B-890B-923F65806330}">
      <dgm:prSet/>
      <dgm:spPr/>
      <dgm:t>
        <a:bodyPr/>
        <a:lstStyle/>
        <a:p>
          <a:endParaRPr lang="fr-FR"/>
        </a:p>
      </dgm:t>
    </dgm:pt>
    <dgm:pt modelId="{5DD53794-A1C9-494D-B835-7154233941B3}">
      <dgm:prSet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dgm:t>
    </dgm:pt>
    <dgm:pt modelId="{96BF5BB9-0C06-46A6-871B-11A5B83B38B2}" type="parTrans" cxnId="{D11BB9C0-5C84-4747-8BAC-401B054678EA}">
      <dgm:prSet/>
      <dgm:spPr/>
      <dgm:t>
        <a:bodyPr/>
        <a:lstStyle/>
        <a:p>
          <a:endParaRPr lang="fr-FR"/>
        </a:p>
      </dgm:t>
    </dgm:pt>
    <dgm:pt modelId="{30CB8947-5A95-4ED0-B90D-8FBE42DC938E}" type="sibTrans" cxnId="{D11BB9C0-5C84-4747-8BAC-401B054678EA}">
      <dgm:prSet/>
      <dgm:spPr/>
      <dgm:t>
        <a:bodyPr/>
        <a:lstStyle/>
        <a:p>
          <a:endParaRPr lang="fr-FR"/>
        </a:p>
      </dgm:t>
    </dgm:pt>
    <dgm:pt modelId="{93E8485F-7CEE-4F50-AAE7-13E3BB98340B}">
      <dgm:prSet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dgm:t>
    </dgm:pt>
    <dgm:pt modelId="{27CC89F6-5A4C-4159-91D1-A9182E33D800}" type="parTrans" cxnId="{38F87B74-B8D2-4F9A-8978-BC36E73A8BB5}">
      <dgm:prSet/>
      <dgm:spPr/>
      <dgm:t>
        <a:bodyPr/>
        <a:lstStyle/>
        <a:p>
          <a:endParaRPr lang="fr-FR"/>
        </a:p>
      </dgm:t>
    </dgm:pt>
    <dgm:pt modelId="{2EC8DA03-A81E-4B99-B24E-222ACAFAADC1}" type="sibTrans" cxnId="{38F87B74-B8D2-4F9A-8978-BC36E73A8BB5}">
      <dgm:prSet/>
      <dgm:spPr/>
      <dgm:t>
        <a:bodyPr/>
        <a:lstStyle/>
        <a:p>
          <a:endParaRPr lang="fr-FR"/>
        </a:p>
      </dgm:t>
    </dgm:pt>
    <dgm:pt modelId="{8FAB8883-7159-4FE8-85EB-CB4A1FBC97EF}">
      <dgm:prSet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ctr" defTabSz="444500">
            <a:lnSpc>
              <a:spcPct val="90000"/>
            </a:lnSpc>
            <a:spcBef>
              <a:spcPct val="0"/>
            </a:spcBef>
            <a:spcAft>
              <a:spcPct val="15000"/>
            </a:spcAft>
            <a:buFontTx/>
            <a:buNone/>
          </a:pPr>
          <a:r>
            <a:rPr lang="fr-FR" sz="1200" b="1" kern="1200" dirty="0" err="1">
              <a:solidFill>
                <a:srgbClr val="47B7A2"/>
              </a:solidFill>
              <a:latin typeface="Arial" panose="020B0604020202020204"/>
              <a:ea typeface="+mn-ea"/>
              <a:cs typeface="+mn-cs"/>
            </a:rPr>
            <a:t>Attracting</a:t>
          </a:r>
          <a:r>
            <a:rPr lang="fr-FR" sz="1200" b="1" kern="1200" dirty="0">
              <a:solidFill>
                <a:srgbClr val="47B7A2"/>
              </a:solidFill>
              <a:latin typeface="Arial" panose="020B0604020202020204"/>
              <a:ea typeface="+mn-ea"/>
              <a:cs typeface="+mn-cs"/>
            </a:rPr>
            <a:t> and </a:t>
          </a:r>
          <a:r>
            <a:rPr lang="fr-FR" sz="1200" b="1" kern="1200" dirty="0" err="1">
              <a:solidFill>
                <a:srgbClr val="47B7A2"/>
              </a:solidFill>
              <a:latin typeface="Arial" panose="020B0604020202020204"/>
              <a:ea typeface="+mn-ea"/>
              <a:cs typeface="+mn-cs"/>
            </a:rPr>
            <a:t>retaining</a:t>
          </a:r>
          <a:r>
            <a:rPr lang="fr-FR" sz="1200" b="1" kern="1200" dirty="0">
              <a:solidFill>
                <a:srgbClr val="47B7A2"/>
              </a:solidFill>
              <a:latin typeface="Arial" panose="020B0604020202020204"/>
              <a:ea typeface="+mn-ea"/>
              <a:cs typeface="+mn-cs"/>
            </a:rPr>
            <a:t> </a:t>
          </a:r>
          <a:r>
            <a:rPr lang="fr-FR" sz="1200" b="1" kern="1200" dirty="0" err="1">
              <a:solidFill>
                <a:srgbClr val="47B7A2"/>
              </a:solidFill>
              <a:latin typeface="Arial" panose="020B0604020202020204"/>
              <a:ea typeface="+mn-ea"/>
              <a:cs typeface="+mn-cs"/>
            </a:rPr>
            <a:t>employees</a:t>
          </a:r>
          <a:endParaRPr lang="fr-FR" sz="1000" kern="1200" dirty="0">
            <a:solidFill>
              <a:srgbClr val="009FE3">
                <a:hueOff val="0"/>
                <a:satOff val="0"/>
                <a:lumOff val="0"/>
                <a:alphaOff val="0"/>
              </a:srgbClr>
            </a:solidFill>
            <a:latin typeface="Arial" panose="020B0604020202020204"/>
            <a:ea typeface="+mn-ea"/>
            <a:cs typeface="+mn-cs"/>
          </a:endParaRPr>
        </a:p>
      </dgm:t>
    </dgm:pt>
    <dgm:pt modelId="{C91807AF-07EC-4DEA-A266-928336DF972F}" type="parTrans" cxnId="{D463CC2F-8305-43EA-A19F-3B590D7C9AE1}">
      <dgm:prSet/>
      <dgm:spPr/>
      <dgm:t>
        <a:bodyPr/>
        <a:lstStyle/>
        <a:p>
          <a:endParaRPr lang="fr-FR"/>
        </a:p>
      </dgm:t>
    </dgm:pt>
    <dgm:pt modelId="{36541A4D-2F03-418C-B51F-8E54B96ED780}" type="sibTrans" cxnId="{D463CC2F-8305-43EA-A19F-3B590D7C9AE1}">
      <dgm:prSet/>
      <dgm:spPr/>
      <dgm:t>
        <a:bodyPr/>
        <a:lstStyle/>
        <a:p>
          <a:endParaRPr lang="fr-FR"/>
        </a:p>
      </dgm:t>
    </dgm:pt>
    <dgm:pt modelId="{E28EA320-7676-447F-B71C-2D5D4508BBE8}">
      <dgm:prSet phldrT="[Texte]" phldr="0"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r>
            <a:rPr lang="fr-FR" sz="1400" b="1" kern="1200" baseline="0" dirty="0" err="1">
              <a:ln>
                <a:noFill/>
              </a:ln>
              <a:solidFill>
                <a:srgbClr val="47B7A2"/>
              </a:solidFill>
              <a:effectLst/>
              <a:latin typeface="Arial" panose="020B0604020202020204"/>
              <a:ea typeface="+mn-ea"/>
              <a:cs typeface="+mn-cs"/>
            </a:rPr>
            <a:t>Attractiveness</a:t>
          </a:r>
          <a:r>
            <a:rPr lang="fr-FR" sz="1400" b="1" kern="1200" baseline="0" dirty="0">
              <a:ln>
                <a:noFill/>
              </a:ln>
              <a:solidFill>
                <a:srgbClr val="47B7A2"/>
              </a:solidFill>
              <a:effectLst/>
              <a:latin typeface="Arial" panose="020B0604020202020204"/>
              <a:ea typeface="+mn-ea"/>
              <a:cs typeface="+mn-cs"/>
            </a:rPr>
            <a:t> of </a:t>
          </a:r>
          <a:r>
            <a:rPr lang="fr-FR" sz="1400" b="1" kern="1200" baseline="0" dirty="0" err="1">
              <a:ln>
                <a:noFill/>
              </a:ln>
              <a:solidFill>
                <a:srgbClr val="47B7A2"/>
              </a:solidFill>
              <a:effectLst/>
              <a:latin typeface="Arial" panose="020B0604020202020204"/>
              <a:ea typeface="+mn-ea"/>
              <a:cs typeface="+mn-cs"/>
            </a:rPr>
            <a:t>employers</a:t>
          </a:r>
          <a:endParaRPr lang="fr-FR" sz="900" b="1" kern="1200" dirty="0">
            <a:solidFill>
              <a:srgbClr val="47B7A2"/>
            </a:solidFill>
            <a:latin typeface="Arial" panose="020B0604020202020204"/>
            <a:ea typeface="+mn-ea"/>
            <a:cs typeface="+mn-cs"/>
          </a:endParaRPr>
        </a:p>
      </dgm:t>
    </dgm:pt>
    <dgm:pt modelId="{54772099-0ABD-4FFF-BD5F-F1043670C522}" type="parTrans" cxnId="{F4665DA1-C338-4055-8184-3404FBBECF88}">
      <dgm:prSet/>
      <dgm:spPr/>
      <dgm:t>
        <a:bodyPr/>
        <a:lstStyle/>
        <a:p>
          <a:endParaRPr lang="fr-FR"/>
        </a:p>
      </dgm:t>
    </dgm:pt>
    <dgm:pt modelId="{9C70873A-A271-4A44-8A17-29598D321BDC}" type="sibTrans" cxnId="{F4665DA1-C338-4055-8184-3404FBBECF88}">
      <dgm:prSet/>
      <dgm:spPr/>
      <dgm:t>
        <a:bodyPr/>
        <a:lstStyle/>
        <a:p>
          <a:endParaRPr lang="fr-FR"/>
        </a:p>
      </dgm:t>
    </dgm:pt>
    <dgm:pt modelId="{91BA7D0B-1263-4132-A886-DBFFB442BDE3}">
      <dgm:prSet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dgm:t>
    </dgm:pt>
    <dgm:pt modelId="{FFC2ED34-472B-418F-8C82-AC6CDAA68D65}" type="parTrans" cxnId="{FAD1EA87-5025-42D2-9D7D-8D20C08FE631}">
      <dgm:prSet/>
      <dgm:spPr/>
      <dgm:t>
        <a:bodyPr/>
        <a:lstStyle/>
        <a:p>
          <a:endParaRPr lang="fr-FR"/>
        </a:p>
      </dgm:t>
    </dgm:pt>
    <dgm:pt modelId="{448B8E18-7DFC-44F6-9663-635CB025F558}" type="sibTrans" cxnId="{FAD1EA87-5025-42D2-9D7D-8D20C08FE631}">
      <dgm:prSet/>
      <dgm:spPr/>
      <dgm:t>
        <a:bodyPr/>
        <a:lstStyle/>
        <a:p>
          <a:endParaRPr lang="fr-FR"/>
        </a:p>
      </dgm:t>
    </dgm:pt>
    <dgm:pt modelId="{339A9DE9-3131-4D26-9B4C-10E5B3BA4F44}">
      <dgm:prSet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dgm:t>
    </dgm:pt>
    <dgm:pt modelId="{6730C037-E713-45FF-BEB1-7066D73AC024}" type="parTrans" cxnId="{92A55BCF-0F77-4932-A9CA-E1CEA36889F2}">
      <dgm:prSet/>
      <dgm:spPr/>
      <dgm:t>
        <a:bodyPr/>
        <a:lstStyle/>
        <a:p>
          <a:endParaRPr lang="fr-FR"/>
        </a:p>
      </dgm:t>
    </dgm:pt>
    <dgm:pt modelId="{8B1C9092-B7F9-4655-8C96-2A06EE2C3F4E}" type="sibTrans" cxnId="{92A55BCF-0F77-4932-A9CA-E1CEA36889F2}">
      <dgm:prSet/>
      <dgm:spPr/>
      <dgm:t>
        <a:bodyPr/>
        <a:lstStyle/>
        <a:p>
          <a:endParaRPr lang="fr-FR"/>
        </a:p>
      </dgm:t>
    </dgm:pt>
    <dgm:pt modelId="{5DD861A6-AA96-470D-952C-19AAB75A90B2}">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r>
            <a:rPr lang="fr-FR" sz="1400" b="1" kern="1200" dirty="0">
              <a:solidFill>
                <a:srgbClr val="50878E"/>
              </a:solidFill>
              <a:latin typeface="Arial" panose="020B0604020202020204"/>
              <a:ea typeface="+mn-ea"/>
              <a:cs typeface="+mn-cs"/>
            </a:rPr>
            <a:t>High</a:t>
          </a:r>
        </a:p>
      </dgm:t>
    </dgm:pt>
    <dgm:pt modelId="{963C8FA0-7864-434A-9CA5-C2A81033DBF5}" type="parTrans" cxnId="{9927CFC5-9E95-455A-9151-F02ACB064A3F}">
      <dgm:prSet/>
      <dgm:spPr/>
      <dgm:t>
        <a:bodyPr/>
        <a:lstStyle/>
        <a:p>
          <a:endParaRPr lang="fr-FR"/>
        </a:p>
      </dgm:t>
    </dgm:pt>
    <dgm:pt modelId="{EF5392BA-E35A-4DDC-AEA4-7C39031846B6}" type="sibTrans" cxnId="{9927CFC5-9E95-455A-9151-F02ACB064A3F}">
      <dgm:prSet/>
      <dgm:spPr/>
      <dgm:t>
        <a:bodyPr/>
        <a:lstStyle/>
        <a:p>
          <a:endParaRPr lang="fr-FR"/>
        </a:p>
      </dgm:t>
    </dgm:pt>
    <dgm:pt modelId="{B85630BB-8811-4F91-ADFF-3981B007D415}">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endParaRPr lang="fr-FR" sz="1400" b="1" kern="1200" dirty="0">
            <a:solidFill>
              <a:srgbClr val="50878E"/>
            </a:solidFill>
            <a:latin typeface="Arial" panose="020B0604020202020204"/>
            <a:ea typeface="+mn-ea"/>
            <a:cs typeface="+mn-cs"/>
          </a:endParaRPr>
        </a:p>
      </dgm:t>
    </dgm:pt>
    <dgm:pt modelId="{E864098C-727C-4653-A69D-1B1104D0053F}" type="parTrans" cxnId="{3D8F369A-E848-411F-8B7F-1C9FC4F66978}">
      <dgm:prSet/>
      <dgm:spPr/>
      <dgm:t>
        <a:bodyPr/>
        <a:lstStyle/>
        <a:p>
          <a:endParaRPr lang="fr-FR"/>
        </a:p>
      </dgm:t>
    </dgm:pt>
    <dgm:pt modelId="{BB44C731-6663-4E74-83DB-DFB7F5343A5E}" type="sibTrans" cxnId="{3D8F369A-E848-411F-8B7F-1C9FC4F66978}">
      <dgm:prSet/>
      <dgm:spPr/>
      <dgm:t>
        <a:bodyPr/>
        <a:lstStyle/>
        <a:p>
          <a:endParaRPr lang="fr-FR"/>
        </a:p>
      </dgm:t>
    </dgm:pt>
    <dgm:pt modelId="{AC91D698-381B-4964-AA72-71958E038B8F}">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r>
            <a:rPr lang="fr-FR" sz="1200" b="1" kern="1200" dirty="0">
              <a:solidFill>
                <a:srgbClr val="50878E"/>
              </a:solidFill>
              <a:latin typeface="Arial" panose="020B0604020202020204"/>
              <a:ea typeface="+mn-ea"/>
              <a:cs typeface="+mn-cs"/>
            </a:rPr>
            <a:t>ESR :</a:t>
          </a:r>
        </a:p>
      </dgm:t>
    </dgm:pt>
    <dgm:pt modelId="{2A90FA88-85C4-4902-9056-2A3E7F96E197}" type="parTrans" cxnId="{017B5C7D-F14A-4069-B6DE-2B3CA2508DB7}">
      <dgm:prSet/>
      <dgm:spPr/>
      <dgm:t>
        <a:bodyPr/>
        <a:lstStyle/>
        <a:p>
          <a:endParaRPr lang="fr-FR"/>
        </a:p>
      </dgm:t>
    </dgm:pt>
    <dgm:pt modelId="{EA41552C-3EE2-49EE-8579-DC880C6BFAB1}" type="sibTrans" cxnId="{017B5C7D-F14A-4069-B6DE-2B3CA2508DB7}">
      <dgm:prSet/>
      <dgm:spPr/>
      <dgm:t>
        <a:bodyPr/>
        <a:lstStyle/>
        <a:p>
          <a:endParaRPr lang="fr-FR"/>
        </a:p>
      </dgm:t>
    </dgm:pt>
    <dgm:pt modelId="{67936639-2806-49F0-8319-50E246EC7B54}">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endParaRPr lang="fr-FR" sz="1100" b="1" kern="1200" dirty="0">
            <a:solidFill>
              <a:srgbClr val="50878E"/>
            </a:solidFill>
            <a:latin typeface="Arial" panose="020B0604020202020204"/>
            <a:ea typeface="+mn-ea"/>
            <a:cs typeface="+mn-cs"/>
          </a:endParaRPr>
        </a:p>
      </dgm:t>
    </dgm:pt>
    <dgm:pt modelId="{6BF1D58D-8D65-4AD7-89F8-6AB1BBF37641}" type="parTrans" cxnId="{83C252EA-4728-4C83-960C-379A10D80159}">
      <dgm:prSet/>
      <dgm:spPr/>
      <dgm:t>
        <a:bodyPr/>
        <a:lstStyle/>
        <a:p>
          <a:endParaRPr lang="fr-FR"/>
        </a:p>
      </dgm:t>
    </dgm:pt>
    <dgm:pt modelId="{4E732CEC-8648-4807-ABB2-D419C686A22B}" type="sibTrans" cxnId="{83C252EA-4728-4C83-960C-379A10D80159}">
      <dgm:prSet/>
      <dgm:spPr/>
      <dgm:t>
        <a:bodyPr/>
        <a:lstStyle/>
        <a:p>
          <a:endParaRPr lang="fr-FR"/>
        </a:p>
      </dgm:t>
    </dgm:pt>
    <dgm:pt modelId="{0D461E67-E4CF-4140-9C0C-D9D01B4B15DF}">
      <dgm:prSet custT="1"/>
      <dgm:spPr/>
      <dgm:t>
        <a:bodyPr/>
        <a:lstStyle/>
        <a:p>
          <a:pPr marL="114300" lvl="1" indent="-114300" algn="ctr" defTabSz="622300">
            <a:lnSpc>
              <a:spcPct val="90000"/>
            </a:lnSpc>
            <a:spcBef>
              <a:spcPct val="0"/>
            </a:spcBef>
            <a:spcAft>
              <a:spcPct val="15000"/>
            </a:spcAft>
            <a:buNone/>
          </a:pPr>
          <a:endParaRPr lang="fr-FR" sz="1200" b="1" kern="1200" noProof="0" dirty="0">
            <a:solidFill>
              <a:srgbClr val="50878E"/>
            </a:solidFill>
            <a:latin typeface="Arial" panose="020B0604020202020204"/>
            <a:ea typeface="+mn-ea"/>
            <a:cs typeface="+mn-cs"/>
          </a:endParaRPr>
        </a:p>
      </dgm:t>
    </dgm:pt>
    <dgm:pt modelId="{BCEB8367-F097-4A35-AAFD-87975754F607}" type="parTrans" cxnId="{5DABB031-1782-44B2-B194-19C0E404E821}">
      <dgm:prSet/>
      <dgm:spPr/>
      <dgm:t>
        <a:bodyPr/>
        <a:lstStyle/>
        <a:p>
          <a:endParaRPr lang="fr-FR"/>
        </a:p>
      </dgm:t>
    </dgm:pt>
    <dgm:pt modelId="{8EBE7231-15A3-4150-97BA-692A26487D63}" type="sibTrans" cxnId="{5DABB031-1782-44B2-B194-19C0E404E821}">
      <dgm:prSet/>
      <dgm:spPr/>
      <dgm:t>
        <a:bodyPr/>
        <a:lstStyle/>
        <a:p>
          <a:endParaRPr lang="fr-FR"/>
        </a:p>
      </dgm:t>
    </dgm:pt>
    <dgm:pt modelId="{65EC3D11-5085-452D-B239-0941B74A847D}">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endParaRPr lang="fr-FR" sz="1400" b="1" kern="1200" dirty="0">
            <a:solidFill>
              <a:srgbClr val="50878E"/>
            </a:solidFill>
            <a:latin typeface="Arial" panose="020B0604020202020204"/>
            <a:ea typeface="+mn-ea"/>
            <a:cs typeface="+mn-cs"/>
          </a:endParaRPr>
        </a:p>
      </dgm:t>
    </dgm:pt>
    <dgm:pt modelId="{2A883A8C-79AE-48B0-9E66-69D36EF4383E}" type="parTrans" cxnId="{595EB391-21C9-413E-BD5E-B70340A71F2D}">
      <dgm:prSet/>
      <dgm:spPr/>
      <dgm:t>
        <a:bodyPr/>
        <a:lstStyle/>
        <a:p>
          <a:endParaRPr lang="fr-FR"/>
        </a:p>
      </dgm:t>
    </dgm:pt>
    <dgm:pt modelId="{0B692710-C01F-4409-ADF5-A3B3F6F959A9}" type="sibTrans" cxnId="{595EB391-21C9-413E-BD5E-B70340A71F2D}">
      <dgm:prSet/>
      <dgm:spPr/>
      <dgm:t>
        <a:bodyPr/>
        <a:lstStyle/>
        <a:p>
          <a:endParaRPr lang="fr-FR"/>
        </a:p>
      </dgm:t>
    </dgm:pt>
    <dgm:pt modelId="{AACCEE60-BA7E-41F7-B720-A35E487629D7}">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r>
            <a:rPr lang="fr-FR" sz="1200" b="1" kern="1200" dirty="0">
              <a:solidFill>
                <a:srgbClr val="50878E"/>
              </a:solidFill>
              <a:latin typeface="Arial" panose="020B0604020202020204"/>
              <a:ea typeface="+mn-ea"/>
              <a:cs typeface="+mn-cs"/>
            </a:rPr>
            <a:t>CAA : 160 € </a:t>
          </a:r>
          <a:r>
            <a:rPr lang="fr-FR" sz="1200" b="1" kern="1200" noProof="0" dirty="0">
              <a:solidFill>
                <a:srgbClr val="50878E"/>
              </a:solidFill>
              <a:latin typeface="Arial" panose="020B0604020202020204"/>
              <a:ea typeface="+mn-ea"/>
              <a:cs typeface="+mn-cs"/>
            </a:rPr>
            <a:t>/ </a:t>
          </a:r>
          <a:r>
            <a:rPr lang="fr-FR" sz="1200" b="1" kern="1200" noProof="0" dirty="0" err="1">
              <a:solidFill>
                <a:srgbClr val="50878E"/>
              </a:solidFill>
              <a:latin typeface="Arial" panose="020B0604020202020204"/>
              <a:ea typeface="+mn-ea"/>
              <a:cs typeface="+mn-cs"/>
            </a:rPr>
            <a:t>year</a:t>
          </a:r>
          <a:r>
            <a:rPr lang="fr-FR" sz="1200" b="1" kern="1200" noProof="0" dirty="0">
              <a:solidFill>
                <a:srgbClr val="50878E"/>
              </a:solidFill>
              <a:latin typeface="Arial" panose="020B0604020202020204"/>
              <a:ea typeface="+mn-ea"/>
              <a:cs typeface="+mn-cs"/>
            </a:rPr>
            <a:t> </a:t>
          </a:r>
          <a:endParaRPr lang="fr-FR" sz="1200" b="1" kern="1200" dirty="0">
            <a:solidFill>
              <a:srgbClr val="50878E"/>
            </a:solidFill>
            <a:latin typeface="Arial" panose="020B0604020202020204"/>
            <a:ea typeface="+mn-ea"/>
            <a:cs typeface="+mn-cs"/>
          </a:endParaRPr>
        </a:p>
      </dgm:t>
    </dgm:pt>
    <dgm:pt modelId="{43CF3BC5-7423-4C72-879B-76CD799C2AB9}" type="parTrans" cxnId="{E9DD0666-B67D-49FF-926B-4FABCDD5DCC8}">
      <dgm:prSet/>
      <dgm:spPr/>
      <dgm:t>
        <a:bodyPr/>
        <a:lstStyle/>
        <a:p>
          <a:endParaRPr lang="fr-FR"/>
        </a:p>
      </dgm:t>
    </dgm:pt>
    <dgm:pt modelId="{4EB398AA-3570-43DB-9419-17D85A6C2650}" type="sibTrans" cxnId="{E9DD0666-B67D-49FF-926B-4FABCDD5DCC8}">
      <dgm:prSet/>
      <dgm:spPr/>
      <dgm:t>
        <a:bodyPr/>
        <a:lstStyle/>
        <a:p>
          <a:endParaRPr lang="fr-FR"/>
        </a:p>
      </dgm:t>
    </dgm:pt>
    <dgm:pt modelId="{C7505DDA-9521-42D5-9736-5BEEB3A03979}">
      <dgm:prSet custT="1"/>
      <dgm:spPr/>
      <dgm:t>
        <a:bodyPr/>
        <a:lstStyle/>
        <a:p>
          <a:pPr marL="114300" lvl="1" indent="-114300" algn="ctr" defTabSz="622300">
            <a:lnSpc>
              <a:spcPct val="90000"/>
            </a:lnSpc>
            <a:spcBef>
              <a:spcPct val="0"/>
            </a:spcBef>
            <a:spcAft>
              <a:spcPct val="15000"/>
            </a:spcAft>
            <a:buNone/>
          </a:pPr>
          <a:r>
            <a:rPr lang="fr-FR" sz="1200" b="1" kern="1200" noProof="0" dirty="0">
              <a:solidFill>
                <a:srgbClr val="50878E"/>
              </a:solidFill>
              <a:latin typeface="Arial" panose="020B0604020202020204"/>
              <a:ea typeface="+mn-ea"/>
              <a:cs typeface="+mn-cs"/>
            </a:rPr>
            <a:t>WKL : 5€/</a:t>
          </a:r>
          <a:r>
            <a:rPr lang="fr-FR" sz="1200" b="1" kern="1200" noProof="0" dirty="0" err="1">
              <a:solidFill>
                <a:srgbClr val="50878E"/>
              </a:solidFill>
              <a:latin typeface="Arial" panose="020B0604020202020204"/>
              <a:ea typeface="+mn-ea"/>
              <a:cs typeface="+mn-cs"/>
            </a:rPr>
            <a:t>salary</a:t>
          </a:r>
          <a:r>
            <a:rPr lang="fr-FR" sz="1200" b="1" kern="1200" noProof="0" dirty="0">
              <a:solidFill>
                <a:srgbClr val="50878E"/>
              </a:solidFill>
              <a:latin typeface="Arial" panose="020B0604020202020204"/>
              <a:ea typeface="+mn-ea"/>
              <a:cs typeface="+mn-cs"/>
            </a:rPr>
            <a:t> </a:t>
          </a:r>
        </a:p>
      </dgm:t>
    </dgm:pt>
    <dgm:pt modelId="{2BAD1E4C-079C-4C13-8152-F98FF8325CF1}" type="parTrans" cxnId="{E8988534-8A44-4B84-B5A0-EBF55C45ABFF}">
      <dgm:prSet/>
      <dgm:spPr/>
      <dgm:t>
        <a:bodyPr/>
        <a:lstStyle/>
        <a:p>
          <a:endParaRPr lang="fr-FR"/>
        </a:p>
      </dgm:t>
    </dgm:pt>
    <dgm:pt modelId="{9BCB8D80-5F5E-44BB-9E1B-F0F411F838B8}" type="sibTrans" cxnId="{E8988534-8A44-4B84-B5A0-EBF55C45ABFF}">
      <dgm:prSet/>
      <dgm:spPr/>
      <dgm:t>
        <a:bodyPr/>
        <a:lstStyle/>
        <a:p>
          <a:endParaRPr lang="fr-FR"/>
        </a:p>
      </dgm:t>
    </dgm:pt>
    <dgm:pt modelId="{ACD4A529-B0E3-414B-96B9-FE1152D70D60}">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endParaRPr lang="fr-FR" sz="1200" b="1" kern="1200" dirty="0">
            <a:solidFill>
              <a:srgbClr val="50878E"/>
            </a:solidFill>
            <a:latin typeface="Arial" panose="020B0604020202020204"/>
            <a:ea typeface="+mn-ea"/>
            <a:cs typeface="+mn-cs"/>
          </a:endParaRPr>
        </a:p>
      </dgm:t>
    </dgm:pt>
    <dgm:pt modelId="{43BCE432-221B-4598-BE21-21F42B2DC9E7}" type="parTrans" cxnId="{72564F7C-16D2-4268-946D-901D56C5D9F3}">
      <dgm:prSet/>
      <dgm:spPr/>
      <dgm:t>
        <a:bodyPr/>
        <a:lstStyle/>
        <a:p>
          <a:endParaRPr lang="fr-FR"/>
        </a:p>
      </dgm:t>
    </dgm:pt>
    <dgm:pt modelId="{AC5B23B7-9315-4A98-A505-D4B4E3E64677}" type="sibTrans" cxnId="{72564F7C-16D2-4268-946D-901D56C5D9F3}">
      <dgm:prSet/>
      <dgm:spPr/>
      <dgm:t>
        <a:bodyPr/>
        <a:lstStyle/>
        <a:p>
          <a:endParaRPr lang="fr-FR"/>
        </a:p>
      </dgm:t>
    </dgm:pt>
    <dgm:pt modelId="{EF019502-50BB-4504-BBCB-A271AB93266F}">
      <dgm:prSet phldrT="[Texte]" phldr="0" custT="1"/>
      <dgm:spPr>
        <a:xfrm>
          <a:off x="646283" y="768376"/>
          <a:ext cx="2294351" cy="4120769"/>
        </a:xfrm>
        <a:solidFill>
          <a:srgbClr val="FFFFFF"/>
        </a:solidFill>
        <a:ln w="12700" cap="flat" cmpd="sng" algn="ctr">
          <a:solidFill>
            <a:srgbClr val="90C1AF"/>
          </a:solidFill>
          <a:prstDash val="solid"/>
          <a:miter lim="800000"/>
        </a:ln>
        <a:effectLst>
          <a:outerShdw blurRad="50800" dist="38100" dir="2700000" algn="tl" rotWithShape="0">
            <a:prstClr val="black">
              <a:alpha val="40000"/>
            </a:prstClr>
          </a:outerShdw>
        </a:effectLst>
      </dgm:spPr>
      <dgm:t>
        <a:bodyPr lIns="36000" rIns="36000"/>
        <a:lstStyle/>
        <a:p>
          <a:pPr marL="114300" lvl="1" indent="0" algn="ctr" defTabSz="622300">
            <a:lnSpc>
              <a:spcPct val="90000"/>
            </a:lnSpc>
            <a:spcBef>
              <a:spcPct val="0"/>
            </a:spcBef>
            <a:spcAft>
              <a:spcPct val="15000"/>
            </a:spcAft>
            <a:buNone/>
          </a:pPr>
          <a:endParaRPr lang="fr-FR" sz="900" b="1" kern="1200" baseline="0" dirty="0">
            <a:ln>
              <a:noFill/>
            </a:ln>
            <a:solidFill>
              <a:srgbClr val="90C1AF"/>
            </a:solidFill>
            <a:effectLst/>
            <a:latin typeface="Arial" panose="020B0604020202020204"/>
            <a:ea typeface="+mn-ea"/>
            <a:cs typeface="+mn-cs"/>
          </a:endParaRPr>
        </a:p>
      </dgm:t>
    </dgm:pt>
    <dgm:pt modelId="{F9157B70-FA3B-4B0D-960A-7EA129F96267}" type="parTrans" cxnId="{9E756DE9-584B-4BBA-931E-838DEF60E409}">
      <dgm:prSet/>
      <dgm:spPr/>
      <dgm:t>
        <a:bodyPr/>
        <a:lstStyle/>
        <a:p>
          <a:endParaRPr lang="fr-FR"/>
        </a:p>
      </dgm:t>
    </dgm:pt>
    <dgm:pt modelId="{7A979485-C091-4A9F-BEFA-EFD2FDE301D5}" type="sibTrans" cxnId="{9E756DE9-584B-4BBA-931E-838DEF60E409}">
      <dgm:prSet/>
      <dgm:spPr/>
      <dgm:t>
        <a:bodyPr/>
        <a:lstStyle/>
        <a:p>
          <a:endParaRPr lang="fr-FR"/>
        </a:p>
      </dgm:t>
    </dgm:pt>
    <dgm:pt modelId="{4D9127F8-1C58-4701-892A-078EC2B9B3C7}">
      <dgm:prSet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ctr" defTabSz="444500">
            <a:lnSpc>
              <a:spcPct val="90000"/>
            </a:lnSpc>
            <a:spcBef>
              <a:spcPct val="0"/>
            </a:spcBef>
            <a:spcAft>
              <a:spcPct val="15000"/>
            </a:spcAft>
            <a:buFontTx/>
            <a:buNone/>
          </a:pPr>
          <a:endParaRPr lang="fr-FR" sz="1200" b="1" kern="1200" baseline="0" dirty="0">
            <a:ln>
              <a:noFill/>
            </a:ln>
            <a:solidFill>
              <a:srgbClr val="47B7A2"/>
            </a:solidFill>
            <a:effectLst/>
            <a:latin typeface="Arial" panose="020B0604020202020204"/>
            <a:ea typeface="+mn-ea"/>
            <a:cs typeface="+mn-cs"/>
          </a:endParaRPr>
        </a:p>
      </dgm:t>
    </dgm:pt>
    <dgm:pt modelId="{2202C1D6-7130-48A6-9FF7-94BD71620045}" type="parTrans" cxnId="{509E33BE-E590-4470-8136-C93E22BAEC2E}">
      <dgm:prSet/>
      <dgm:spPr/>
      <dgm:t>
        <a:bodyPr/>
        <a:lstStyle/>
        <a:p>
          <a:endParaRPr lang="fr-FR"/>
        </a:p>
      </dgm:t>
    </dgm:pt>
    <dgm:pt modelId="{80052F52-3FCC-4489-A9DB-B03F9428F346}" type="sibTrans" cxnId="{509E33BE-E590-4470-8136-C93E22BAEC2E}">
      <dgm:prSet/>
      <dgm:spPr/>
      <dgm:t>
        <a:bodyPr/>
        <a:lstStyle/>
        <a:p>
          <a:endParaRPr lang="fr-FR"/>
        </a:p>
      </dgm:t>
    </dgm:pt>
    <dgm:pt modelId="{CA0ABE11-586D-4B64-9E79-4E653C1A66C7}">
      <dgm:prSet custT="1"/>
      <dgm:spPr>
        <a:xfrm>
          <a:off x="6504195" y="767687"/>
          <a:ext cx="2294351" cy="4122149"/>
        </a:xfr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gm:spPr>
      <dgm:t>
        <a:bodyPr lIns="36000" rIns="36000"/>
        <a:lstStyle/>
        <a:p>
          <a:pPr marL="57150" lvl="1" indent="-57150" algn="ctr" defTabSz="444500">
            <a:lnSpc>
              <a:spcPct val="90000"/>
            </a:lnSpc>
            <a:spcBef>
              <a:spcPct val="0"/>
            </a:spcBef>
            <a:spcAft>
              <a:spcPct val="15000"/>
            </a:spcAft>
            <a:buFontTx/>
            <a:buNone/>
          </a:pPr>
          <a:endParaRPr lang="fr-FR" sz="1200" b="1" kern="1200" baseline="0" dirty="0">
            <a:ln>
              <a:noFill/>
            </a:ln>
            <a:solidFill>
              <a:srgbClr val="47B7A2"/>
            </a:solidFill>
            <a:effectLst/>
            <a:latin typeface="Arial" panose="020B0604020202020204"/>
            <a:ea typeface="+mn-ea"/>
            <a:cs typeface="+mn-cs"/>
          </a:endParaRPr>
        </a:p>
      </dgm:t>
    </dgm:pt>
    <dgm:pt modelId="{783ACECC-E61E-45EA-AA77-F17D21BEDBAA}" type="parTrans" cxnId="{C2BC15DB-C4A2-42E4-AE73-2E503C584EC3}">
      <dgm:prSet/>
      <dgm:spPr/>
      <dgm:t>
        <a:bodyPr/>
        <a:lstStyle/>
        <a:p>
          <a:endParaRPr lang="fr-FR"/>
        </a:p>
      </dgm:t>
    </dgm:pt>
    <dgm:pt modelId="{A4104955-3B8F-470D-829B-CDB3794FB464}" type="sibTrans" cxnId="{C2BC15DB-C4A2-42E4-AE73-2E503C584EC3}">
      <dgm:prSet/>
      <dgm:spPr/>
      <dgm:t>
        <a:bodyPr/>
        <a:lstStyle/>
        <a:p>
          <a:endParaRPr lang="fr-FR"/>
        </a:p>
      </dgm:t>
    </dgm:pt>
    <dgm:pt modelId="{F552624B-D1D1-4474-89A4-F5BEAE6AD3CD}">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r>
            <a:rPr lang="fr-FR" sz="1400" b="1" kern="1200" dirty="0">
              <a:solidFill>
                <a:srgbClr val="50878E"/>
              </a:solidFill>
              <a:latin typeface="Arial" panose="020B0604020202020204"/>
              <a:ea typeface="+mn-ea"/>
              <a:cs typeface="+mn-cs"/>
            </a:rPr>
            <a:t>value-</a:t>
          </a:r>
          <a:r>
            <a:rPr lang="fr-FR" sz="1400" b="1" kern="1200" dirty="0" err="1">
              <a:solidFill>
                <a:srgbClr val="50878E"/>
              </a:solidFill>
              <a:latin typeface="Arial" panose="020B0604020202020204"/>
              <a:ea typeface="+mn-ea"/>
              <a:cs typeface="+mn-cs"/>
            </a:rPr>
            <a:t>added</a:t>
          </a:r>
          <a:r>
            <a:rPr lang="fr-FR" sz="1400" b="1" kern="1200" dirty="0">
              <a:solidFill>
                <a:srgbClr val="50878E"/>
              </a:solidFill>
              <a:latin typeface="Arial" panose="020B0604020202020204"/>
              <a:ea typeface="+mn-ea"/>
              <a:cs typeface="+mn-cs"/>
            </a:rPr>
            <a:t> solutions:</a:t>
          </a:r>
        </a:p>
      </dgm:t>
    </dgm:pt>
    <dgm:pt modelId="{F993D931-4C59-4607-A029-E27AE0FAFE93}" type="parTrans" cxnId="{4F4C5589-5BCC-428C-82C3-C77DD270702C}">
      <dgm:prSet/>
      <dgm:spPr/>
      <dgm:t>
        <a:bodyPr/>
        <a:lstStyle/>
        <a:p>
          <a:endParaRPr lang="fr-FR"/>
        </a:p>
      </dgm:t>
    </dgm:pt>
    <dgm:pt modelId="{004B3FD8-8A73-49E4-9819-887C65F58490}" type="sibTrans" cxnId="{4F4C5589-5BCC-428C-82C3-C77DD270702C}">
      <dgm:prSet/>
      <dgm:spPr/>
      <dgm:t>
        <a:bodyPr/>
        <a:lstStyle/>
        <a:p>
          <a:endParaRPr lang="fr-FR"/>
        </a:p>
      </dgm:t>
    </dgm:pt>
    <dgm:pt modelId="{538AA64F-3363-49A4-9A95-17A3FEB089FD}">
      <dgm:prSet phldrT="[Texte]" custT="1"/>
      <dgm:spPr>
        <a:xfrm>
          <a:off x="9421733" y="775901"/>
          <a:ext cx="2294351" cy="4105720"/>
        </a:xfr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gm:spPr>
      <dgm:t>
        <a:bodyPr lIns="36000" rIns="36000"/>
        <a:lstStyle/>
        <a:p>
          <a:pPr marL="114300" lvl="1" indent="-114300" algn="ctr" defTabSz="622300">
            <a:lnSpc>
              <a:spcPct val="90000"/>
            </a:lnSpc>
            <a:spcBef>
              <a:spcPct val="0"/>
            </a:spcBef>
            <a:spcAft>
              <a:spcPct val="15000"/>
            </a:spcAft>
            <a:buNone/>
          </a:pPr>
          <a:r>
            <a:rPr lang="fr-FR" sz="1200" b="1" kern="1200" dirty="0">
              <a:solidFill>
                <a:srgbClr val="50878E"/>
              </a:solidFill>
              <a:latin typeface="Arial" panose="020B0604020202020204"/>
              <a:ea typeface="+mn-ea"/>
              <a:cs typeface="+mn-cs"/>
            </a:rPr>
            <a:t>365 €/</a:t>
          </a:r>
          <a:r>
            <a:rPr lang="fr-FR" sz="1200" b="1" kern="1200" dirty="0" err="1">
              <a:solidFill>
                <a:srgbClr val="50878E"/>
              </a:solidFill>
              <a:latin typeface="Arial" panose="020B0604020202020204"/>
              <a:ea typeface="+mn-ea"/>
              <a:cs typeface="+mn-cs"/>
            </a:rPr>
            <a:t>Contract</a:t>
          </a:r>
          <a:endParaRPr lang="fr-FR" sz="1200" b="1" kern="1200" dirty="0">
            <a:solidFill>
              <a:srgbClr val="50878E"/>
            </a:solidFill>
            <a:latin typeface="Arial" panose="020B0604020202020204"/>
            <a:ea typeface="+mn-ea"/>
            <a:cs typeface="+mn-cs"/>
          </a:endParaRPr>
        </a:p>
      </dgm:t>
    </dgm:pt>
    <dgm:pt modelId="{49601624-0235-477B-8682-63E4E9AA3875}" type="parTrans" cxnId="{F0B84EAD-8896-490B-B5CE-ABE3062D2282}">
      <dgm:prSet/>
      <dgm:spPr/>
      <dgm:t>
        <a:bodyPr/>
        <a:lstStyle/>
        <a:p>
          <a:endParaRPr lang="fr-FR"/>
        </a:p>
      </dgm:t>
    </dgm:pt>
    <dgm:pt modelId="{72D30171-A644-4DDA-B9DF-6F258F332A8E}" type="sibTrans" cxnId="{F0B84EAD-8896-490B-B5CE-ABE3062D2282}">
      <dgm:prSet/>
      <dgm:spPr/>
      <dgm:t>
        <a:bodyPr/>
        <a:lstStyle/>
        <a:p>
          <a:endParaRPr lang="fr-FR"/>
        </a:p>
      </dgm:t>
    </dgm:pt>
    <dgm:pt modelId="{0BFB9267-1F2D-4A60-9791-143CAC075F68}" type="pres">
      <dgm:prSet presAssocID="{65C6A43A-99C6-4491-8255-312A0D8BA19D}" presName="linearFlow" presStyleCnt="0">
        <dgm:presLayoutVars>
          <dgm:dir/>
          <dgm:animLvl val="lvl"/>
          <dgm:resizeHandles/>
        </dgm:presLayoutVars>
      </dgm:prSet>
      <dgm:spPr/>
    </dgm:pt>
    <dgm:pt modelId="{1BF8403C-0F9C-4B98-8B94-4617BCDD9D3D}" type="pres">
      <dgm:prSet presAssocID="{17419E3B-5B57-4AF9-A44C-3DB7DC756F65}" presName="compositeNode" presStyleCnt="0">
        <dgm:presLayoutVars>
          <dgm:bulletEnabled val="1"/>
        </dgm:presLayoutVars>
      </dgm:prSet>
      <dgm:spPr/>
    </dgm:pt>
    <dgm:pt modelId="{84B38277-EE3A-4557-ADCE-8409CE733658}" type="pres">
      <dgm:prSet presAssocID="{17419E3B-5B57-4AF9-A44C-3DB7DC756F65}" presName="image" presStyleLbl="fgImgPlace1" presStyleIdx="0" presStyleCnt="4"/>
      <dgm:spPr>
        <a:xfrm>
          <a:off x="260484" y="310874"/>
          <a:ext cx="741832" cy="741832"/>
        </a:xfrm>
        <a:prstGeom prst="roundRect">
          <a:avLst/>
        </a:prstGeom>
        <a:solidFill>
          <a:schemeClr val="accent2">
            <a:lumMod val="75000"/>
          </a:schemeClr>
        </a:solidFill>
        <a:ln w="12700" cap="flat" cmpd="sng" algn="ctr">
          <a:noFill/>
          <a:prstDash val="solid"/>
          <a:miter lim="800000"/>
        </a:ln>
        <a:effectLst/>
      </dgm:spPr>
    </dgm:pt>
    <dgm:pt modelId="{C7273DD0-55E2-41B2-9A2B-CF15ECCA9BF4}" type="pres">
      <dgm:prSet presAssocID="{17419E3B-5B57-4AF9-A44C-3DB7DC756F65}" presName="childNode" presStyleLbl="node1" presStyleIdx="0" presStyleCnt="4" custScaleX="124183" custScaleY="101583" custLinFactNeighborX="12897">
        <dgm:presLayoutVars>
          <dgm:bulletEnabled val="1"/>
        </dgm:presLayoutVars>
      </dgm:prSet>
      <dgm:spPr>
        <a:prstGeom prst="rect">
          <a:avLst/>
        </a:prstGeom>
      </dgm:spPr>
    </dgm:pt>
    <dgm:pt modelId="{51ACCB83-3328-4740-B236-7A30F1CA0589}" type="pres">
      <dgm:prSet presAssocID="{17419E3B-5B57-4AF9-A44C-3DB7DC756F65}" presName="parentNode" presStyleLbl="revTx" presStyleIdx="0" presStyleCnt="4">
        <dgm:presLayoutVars>
          <dgm:chMax val="0"/>
          <dgm:bulletEnabled val="1"/>
        </dgm:presLayoutVars>
      </dgm:prSet>
      <dgm:spPr/>
    </dgm:pt>
    <dgm:pt modelId="{C2213039-1A87-4CF0-B74E-0C4199FE20B7}" type="pres">
      <dgm:prSet presAssocID="{87D014DF-9913-45F6-90FF-03709AEA18AD}" presName="sibTrans" presStyleCnt="0"/>
      <dgm:spPr/>
    </dgm:pt>
    <dgm:pt modelId="{96176FEE-A318-4F18-AEA9-F964CD1A296F}" type="pres">
      <dgm:prSet presAssocID="{F95A0909-3B23-4D2A-AAA7-4DF38E5B9359}" presName="compositeNode" presStyleCnt="0">
        <dgm:presLayoutVars>
          <dgm:bulletEnabled val="1"/>
        </dgm:presLayoutVars>
      </dgm:prSet>
      <dgm:spPr/>
    </dgm:pt>
    <dgm:pt modelId="{D1A163E4-671B-4577-8A0B-5356F5521696}" type="pres">
      <dgm:prSet presAssocID="{F95A0909-3B23-4D2A-AAA7-4DF38E5B9359}" presName="image" presStyleLbl="fgImgPlace1" presStyleIdx="1" presStyleCnt="4"/>
      <dgm:spPr>
        <a:xfrm>
          <a:off x="3189440" y="310874"/>
          <a:ext cx="741832" cy="741832"/>
        </a:xfrm>
        <a:prstGeom prst="roundRect">
          <a:avLst/>
        </a:prstGeom>
        <a:solidFill>
          <a:srgbClr val="006A4E"/>
        </a:solidFill>
        <a:ln w="12700" cap="flat" cmpd="sng" algn="ctr">
          <a:noFill/>
          <a:prstDash val="solid"/>
          <a:miter lim="800000"/>
        </a:ln>
        <a:effectLst/>
      </dgm:spPr>
    </dgm:pt>
    <dgm:pt modelId="{EA9E4C54-156B-4690-9C8F-2F7817BF946C}" type="pres">
      <dgm:prSet presAssocID="{F95A0909-3B23-4D2A-AAA7-4DF38E5B9359}" presName="childNode" presStyleLbl="node1" presStyleIdx="1" presStyleCnt="4" custScaleX="124183" custScaleY="101617" custLinFactNeighborX="12897">
        <dgm:presLayoutVars>
          <dgm:bulletEnabled val="1"/>
        </dgm:presLayoutVars>
      </dgm:prSet>
      <dgm:spPr>
        <a:prstGeom prst="rect">
          <a:avLst/>
        </a:prstGeom>
      </dgm:spPr>
    </dgm:pt>
    <dgm:pt modelId="{706BB433-7925-456D-938F-A596A9617DD9}" type="pres">
      <dgm:prSet presAssocID="{F95A0909-3B23-4D2A-AAA7-4DF38E5B9359}" presName="parentNode" presStyleLbl="revTx" presStyleIdx="1" presStyleCnt="4">
        <dgm:presLayoutVars>
          <dgm:chMax val="0"/>
          <dgm:bulletEnabled val="1"/>
        </dgm:presLayoutVars>
      </dgm:prSet>
      <dgm:spPr/>
    </dgm:pt>
    <dgm:pt modelId="{E117DA24-3668-4807-B1A4-520D67715D1C}" type="pres">
      <dgm:prSet presAssocID="{A3033FCC-3A68-45E1-BE00-D7D6D7839474}" presName="sibTrans" presStyleCnt="0"/>
      <dgm:spPr/>
    </dgm:pt>
    <dgm:pt modelId="{ECEF0C6E-E236-4AF3-B60A-C9CE447C08E6}" type="pres">
      <dgm:prSet presAssocID="{3C2941F5-B260-4044-9A2A-FCD8DDB7A93F}" presName="compositeNode" presStyleCnt="0">
        <dgm:presLayoutVars>
          <dgm:bulletEnabled val="1"/>
        </dgm:presLayoutVars>
      </dgm:prSet>
      <dgm:spPr/>
    </dgm:pt>
    <dgm:pt modelId="{118D0B44-F68E-474E-A453-E1D941A0643A}" type="pres">
      <dgm:prSet presAssocID="{3C2941F5-B260-4044-9A2A-FCD8DDB7A93F}" presName="image" presStyleLbl="fgImgPlace1" presStyleIdx="2" presStyleCnt="4"/>
      <dgm:spPr>
        <a:xfrm>
          <a:off x="6118397" y="310874"/>
          <a:ext cx="741832" cy="741832"/>
        </a:xfrm>
        <a:prstGeom prst="roundRect">
          <a:avLst/>
        </a:prstGeom>
        <a:solidFill>
          <a:srgbClr val="47B7A2"/>
        </a:solidFill>
        <a:ln w="12700" cap="flat" cmpd="sng" algn="ctr">
          <a:noFill/>
          <a:prstDash val="solid"/>
          <a:miter lim="800000"/>
        </a:ln>
        <a:effectLst/>
      </dgm:spPr>
    </dgm:pt>
    <dgm:pt modelId="{711EBEA2-1BE7-44DD-8C2F-29FD6270F253}" type="pres">
      <dgm:prSet presAssocID="{3C2941F5-B260-4044-9A2A-FCD8DDB7A93F}" presName="childNode" presStyleLbl="node1" presStyleIdx="2" presStyleCnt="4" custScaleX="124183" custScaleY="101617" custLinFactNeighborX="10021" custLinFactNeighborY="-727">
        <dgm:presLayoutVars>
          <dgm:bulletEnabled val="1"/>
        </dgm:presLayoutVars>
      </dgm:prSet>
      <dgm:spPr>
        <a:prstGeom prst="rect">
          <a:avLst/>
        </a:prstGeom>
      </dgm:spPr>
    </dgm:pt>
    <dgm:pt modelId="{611725E6-CF47-4013-BC34-0B1A1777725E}" type="pres">
      <dgm:prSet presAssocID="{3C2941F5-B260-4044-9A2A-FCD8DDB7A93F}" presName="parentNode" presStyleLbl="revTx" presStyleIdx="2" presStyleCnt="4">
        <dgm:presLayoutVars>
          <dgm:chMax val="0"/>
          <dgm:bulletEnabled val="1"/>
        </dgm:presLayoutVars>
      </dgm:prSet>
      <dgm:spPr/>
    </dgm:pt>
    <dgm:pt modelId="{E45F4B31-39B7-44BF-BEF6-93806D6C4BF3}" type="pres">
      <dgm:prSet presAssocID="{C8C5E557-284F-44AF-8C4F-F9A20464AA8B}" presName="sibTrans" presStyleCnt="0"/>
      <dgm:spPr/>
    </dgm:pt>
    <dgm:pt modelId="{08AAA99D-69C0-4273-9208-FACE675584FA}" type="pres">
      <dgm:prSet presAssocID="{27166E23-9EBD-4B63-BC42-FE80A4E93D76}" presName="compositeNode" presStyleCnt="0">
        <dgm:presLayoutVars>
          <dgm:bulletEnabled val="1"/>
        </dgm:presLayoutVars>
      </dgm:prSet>
      <dgm:spPr/>
    </dgm:pt>
    <dgm:pt modelId="{B4ECA0CF-B514-49A1-A7D1-7CEF39831F66}" type="pres">
      <dgm:prSet presAssocID="{27166E23-9EBD-4B63-BC42-FE80A4E93D76}" presName="image" presStyleLbl="fgImgPlace1" presStyleIdx="3" presStyleCnt="4"/>
      <dgm:spPr>
        <a:xfrm>
          <a:off x="9047353" y="310874"/>
          <a:ext cx="741832" cy="741832"/>
        </a:xfrm>
        <a:prstGeom prst="roundRect">
          <a:avLst/>
        </a:prstGeom>
        <a:solidFill>
          <a:schemeClr val="accent3"/>
        </a:solidFill>
        <a:ln w="12700" cap="flat" cmpd="sng" algn="ctr">
          <a:noFill/>
          <a:prstDash val="solid"/>
          <a:miter lim="800000"/>
        </a:ln>
        <a:effectLst/>
      </dgm:spPr>
    </dgm:pt>
    <dgm:pt modelId="{5BAFA9AF-D648-47E6-8A5D-1AF245DFF93F}" type="pres">
      <dgm:prSet presAssocID="{27166E23-9EBD-4B63-BC42-FE80A4E93D76}" presName="childNode" presStyleLbl="node1" presStyleIdx="3" presStyleCnt="4" custScaleX="124183" custScaleY="101212" custLinFactNeighborX="12279">
        <dgm:presLayoutVars>
          <dgm:bulletEnabled val="1"/>
        </dgm:presLayoutVars>
      </dgm:prSet>
      <dgm:spPr>
        <a:prstGeom prst="rect">
          <a:avLst/>
        </a:prstGeom>
      </dgm:spPr>
    </dgm:pt>
    <dgm:pt modelId="{EB016705-140C-4C7B-9345-BEB103A6A613}" type="pres">
      <dgm:prSet presAssocID="{27166E23-9EBD-4B63-BC42-FE80A4E93D76}" presName="parentNode" presStyleLbl="revTx" presStyleIdx="3" presStyleCnt="4" custScaleY="97387">
        <dgm:presLayoutVars>
          <dgm:chMax val="0"/>
          <dgm:bulletEnabled val="1"/>
        </dgm:presLayoutVars>
      </dgm:prSet>
      <dgm:spPr/>
    </dgm:pt>
  </dgm:ptLst>
  <dgm:cxnLst>
    <dgm:cxn modelId="{6C030A03-92E7-454A-9A0B-D86F2081F906}" type="presOf" srcId="{F95A0909-3B23-4D2A-AAA7-4DF38E5B9359}" destId="{706BB433-7925-456D-938F-A596A9617DD9}" srcOrd="0" destOrd="0" presId="urn:microsoft.com/office/officeart/2005/8/layout/hList2"/>
    <dgm:cxn modelId="{8D655109-D6C7-4D71-ACD4-BED62B2D727F}" srcId="{F95A0909-3B23-4D2A-AAA7-4DF38E5B9359}" destId="{13FF95F6-A98D-4076-B665-C19211E99183}" srcOrd="2" destOrd="0" parTransId="{45CB7BD8-7B50-45F6-B693-119DAB11BB19}" sibTransId="{F3C2754D-3093-4933-A67C-E15EB26FEDD5}"/>
    <dgm:cxn modelId="{2A6CBB09-7092-4AFA-AE5C-78B3DCD87D6D}" type="presOf" srcId="{F552624B-D1D1-4474-89A4-F5BEAE6AD3CD}" destId="{5BAFA9AF-D648-47E6-8A5D-1AF245DFF93F}" srcOrd="0" destOrd="3" presId="urn:microsoft.com/office/officeart/2005/8/layout/hList2"/>
    <dgm:cxn modelId="{2493770D-A759-4A64-97A5-41103D9B50EC}" type="presOf" srcId="{EF019502-50BB-4504-BBCB-A271AB93266F}" destId="{C7273DD0-55E2-41B2-9A2B-CF15ECCA9BF4}" srcOrd="0" destOrd="3" presId="urn:microsoft.com/office/officeart/2005/8/layout/hList2"/>
    <dgm:cxn modelId="{5E513211-1BD7-4424-993B-934C2F449A85}" srcId="{F95A0909-3B23-4D2A-AAA7-4DF38E5B9359}" destId="{1308B217-9642-4BB2-9E1A-4857CF23AD6A}" srcOrd="0" destOrd="0" parTransId="{D7095D35-A76C-4829-AD70-1111901D62BE}" sibTransId="{F705A77B-4E82-4C65-9D79-3871ED93B5B4}"/>
    <dgm:cxn modelId="{5FCEEA13-D0FD-42B1-A2D9-9FB4023D6479}" type="presOf" srcId="{AC91D698-381B-4964-AA72-71958E038B8F}" destId="{5BAFA9AF-D648-47E6-8A5D-1AF245DFF93F}" srcOrd="0" destOrd="6" presId="urn:microsoft.com/office/officeart/2005/8/layout/hList2"/>
    <dgm:cxn modelId="{FF3A7015-DC51-4DCF-8E93-D2E22983FC16}" srcId="{65C6A43A-99C6-4491-8255-312A0D8BA19D}" destId="{27166E23-9EBD-4B63-BC42-FE80A4E93D76}" srcOrd="3" destOrd="0" parTransId="{BFEA4B4F-BCF1-4DFD-9CB3-1E0B8982D423}" sibTransId="{E702B7D5-3193-438C-AE31-8D5139E27672}"/>
    <dgm:cxn modelId="{85AAEC15-53E1-41DC-9D98-EB40C605C53E}" type="presOf" srcId="{ACD4A529-B0E3-414B-96B9-FE1152D70D60}" destId="{5BAFA9AF-D648-47E6-8A5D-1AF245DFF93F}" srcOrd="0" destOrd="8" presId="urn:microsoft.com/office/officeart/2005/8/layout/hList2"/>
    <dgm:cxn modelId="{6BC65E23-A31C-4159-A85C-B8F2DE1836B7}" srcId="{17419E3B-5B57-4AF9-A44C-3DB7DC756F65}" destId="{DD62B6E9-DB5B-4978-AF94-7D3556E3BE6B}" srcOrd="1" destOrd="0" parTransId="{9B30B609-CF92-4466-A70D-E68ECCD6A74D}" sibTransId="{D2A85D4C-246C-47A7-9ACF-69CCF1BCDFFF}"/>
    <dgm:cxn modelId="{B54C6325-F091-4477-8F0F-129D96FA6531}" type="presOf" srcId="{6A5AA3EE-5FC4-415F-A279-D704BC23E2A8}" destId="{EA9E4C54-156B-4690-9C8F-2F7817BF946C}" srcOrd="0" destOrd="5" presId="urn:microsoft.com/office/officeart/2005/8/layout/hList2"/>
    <dgm:cxn modelId="{A151B725-E358-49D8-AA7E-F6CC84183323}" srcId="{17419E3B-5B57-4AF9-A44C-3DB7DC756F65}" destId="{EAE71790-B07D-46AA-A3FF-FDBC34F87CE7}" srcOrd="2" destOrd="0" parTransId="{BDF812DC-E8AA-4690-B081-EA37C2D4DCE8}" sibTransId="{B8EEE5EA-C8FA-4FA6-9505-84373A6D0CB0}"/>
    <dgm:cxn modelId="{7A568429-A681-45AC-B078-EF3AAF73EBB1}" type="presOf" srcId="{EAE71790-B07D-46AA-A3FF-FDBC34F87CE7}" destId="{C7273DD0-55E2-41B2-9A2B-CF15ECCA9BF4}" srcOrd="0" destOrd="2" presId="urn:microsoft.com/office/officeart/2005/8/layout/hList2"/>
    <dgm:cxn modelId="{A59B812E-E83F-49C5-A7E8-468D7C1A05B9}" type="presOf" srcId="{5DD53794-A1C9-494D-B835-7154233941B3}" destId="{711EBEA2-1BE7-44DD-8C2F-29FD6270F253}" srcOrd="0" destOrd="5" presId="urn:microsoft.com/office/officeart/2005/8/layout/hList2"/>
    <dgm:cxn modelId="{D463CC2F-8305-43EA-A19F-3B590D7C9AE1}" srcId="{91BA7D0B-1263-4132-A886-DBFFB442BDE3}" destId="{8FAB8883-7159-4FE8-85EB-CB4A1FBC97EF}" srcOrd="0" destOrd="0" parTransId="{C91807AF-07EC-4DEA-A266-928336DF972F}" sibTransId="{36541A4D-2F03-418C-B51F-8E54B96ED780}"/>
    <dgm:cxn modelId="{17B1E830-F564-406D-BF6D-C922A3C953DA}" srcId="{65C6A43A-99C6-4491-8255-312A0D8BA19D}" destId="{17419E3B-5B57-4AF9-A44C-3DB7DC756F65}" srcOrd="0" destOrd="0" parTransId="{0796281E-75FA-4A19-87AB-8D33C0B8CA78}" sibTransId="{87D014DF-9913-45F6-90FF-03709AEA18AD}"/>
    <dgm:cxn modelId="{5DABB031-1782-44B2-B194-19C0E404E821}" srcId="{27166E23-9EBD-4B63-BC42-FE80A4E93D76}" destId="{0D461E67-E4CF-4140-9C0C-D9D01B4B15DF}" srcOrd="10" destOrd="0" parTransId="{BCEB8367-F097-4A35-AAFD-87975754F607}" sibTransId="{8EBE7231-15A3-4150-97BA-692A26487D63}"/>
    <dgm:cxn modelId="{E8988534-8A44-4B84-B5A0-EBF55C45ABFF}" srcId="{27166E23-9EBD-4B63-BC42-FE80A4E93D76}" destId="{C7505DDA-9521-42D5-9736-5BEEB3A03979}" srcOrd="11" destOrd="0" parTransId="{2BAD1E4C-079C-4C13-8152-F98FF8325CF1}" sibTransId="{9BCB8D80-5F5E-44BB-9E1B-F0F411F838B8}"/>
    <dgm:cxn modelId="{C3D9835C-C29A-4440-B83D-4B4101EE3656}" srcId="{17419E3B-5B57-4AF9-A44C-3DB7DC756F65}" destId="{D9418462-1231-4D40-98F8-E061155EEFCC}" srcOrd="4" destOrd="0" parTransId="{3ABFB0B3-1DBE-4C14-AB5E-9F72ABA67BA8}" sibTransId="{ACAE3807-3A62-4521-BEC6-C81F08CA3747}"/>
    <dgm:cxn modelId="{8A0D8844-B7A7-4C33-B52D-5DA5FCFCD859}" type="presOf" srcId="{BB1784D6-4993-413C-B29D-20F4EF2E20B8}" destId="{711EBEA2-1BE7-44DD-8C2F-29FD6270F253}" srcOrd="0" destOrd="4" presId="urn:microsoft.com/office/officeart/2005/8/layout/hList2"/>
    <dgm:cxn modelId="{9D2DA844-496F-49AD-A098-7B955B4ED547}" type="presOf" srcId="{339A9DE9-3131-4D26-9B4C-10E5B3BA4F44}" destId="{711EBEA2-1BE7-44DD-8C2F-29FD6270F253}" srcOrd="0" destOrd="6" presId="urn:microsoft.com/office/officeart/2005/8/layout/hList2"/>
    <dgm:cxn modelId="{E9DD0666-B67D-49FF-926B-4FABCDD5DCC8}" srcId="{27166E23-9EBD-4B63-BC42-FE80A4E93D76}" destId="{AACCEE60-BA7E-41F7-B720-A35E487629D7}" srcOrd="9" destOrd="0" parTransId="{43CF3BC5-7423-4C72-879B-76CD799C2AB9}" sibTransId="{4EB398AA-3570-43DB-9419-17D85A6C2650}"/>
    <dgm:cxn modelId="{2A137946-A13D-4C38-8BD3-849CDEF13FAC}" srcId="{3C2941F5-B260-4044-9A2A-FCD8DDB7A93F}" destId="{027C7BC8-73AB-4A3F-8189-C5E53C06485E}" srcOrd="1" destOrd="0" parTransId="{99849216-D6D0-4282-B420-0CC6D99DB314}" sibTransId="{AB1AF3D8-961E-4024-B95D-5D99626A4E28}"/>
    <dgm:cxn modelId="{CB870A67-9F06-4B1D-9ADD-D7E924AF0B3E}" srcId="{27166E23-9EBD-4B63-BC42-FE80A4E93D76}" destId="{1C829FF8-2699-4C98-9723-67899AB954EB}" srcOrd="0" destOrd="0" parTransId="{B8887C6F-5DDD-4C8E-942D-9E33DC59221A}" sibTransId="{D186F347-970D-465B-9B74-53839C5D685D}"/>
    <dgm:cxn modelId="{064B9068-7A66-494B-8875-BBA985C186AC}" type="presOf" srcId="{93E8485F-7CEE-4F50-AAE7-13E3BB98340B}" destId="{711EBEA2-1BE7-44DD-8C2F-29FD6270F253}" srcOrd="0" destOrd="7" presId="urn:microsoft.com/office/officeart/2005/8/layout/hList2"/>
    <dgm:cxn modelId="{74734F4D-3039-42F7-9423-1FCC2224D6E8}" srcId="{F95A0909-3B23-4D2A-AAA7-4DF38E5B9359}" destId="{ADFDEA3B-29F2-4E68-A78E-5640E59D8331}" srcOrd="8" destOrd="0" parTransId="{3CFCAAC1-734C-4912-B07E-E3D43B9864C9}" sibTransId="{F0B0269E-9D26-4F9A-A1EC-2C4211071D7E}"/>
    <dgm:cxn modelId="{9AFBBD6D-A5D7-494A-90B9-A4E9595F740A}" type="presOf" srcId="{67936639-2806-49F0-8319-50E246EC7B54}" destId="{5BAFA9AF-D648-47E6-8A5D-1AF245DFF93F}" srcOrd="0" destOrd="5" presId="urn:microsoft.com/office/officeart/2005/8/layout/hList2"/>
    <dgm:cxn modelId="{EDF7AC6F-6951-4FE4-B91C-E5DACF5F0970}" srcId="{17419E3B-5B57-4AF9-A44C-3DB7DC756F65}" destId="{2B3AEAD3-0F68-44F7-A86E-8F3157D6CE50}" srcOrd="0" destOrd="0" parTransId="{E5453B15-0BCF-4E08-9644-6009C56B60D2}" sibTransId="{E791B99A-EF5D-428C-853F-2E5373C05632}"/>
    <dgm:cxn modelId="{BEB94470-56B7-4AFB-B4FE-67BB03398F10}" type="presOf" srcId="{716A35E8-111A-4F1D-BF38-AF35CDB44A9C}" destId="{EA9E4C54-156B-4690-9C8F-2F7817BF946C}" srcOrd="0" destOrd="3" presId="urn:microsoft.com/office/officeart/2005/8/layout/hList2"/>
    <dgm:cxn modelId="{A1F7D872-4FDA-4393-8E1F-D2DF26518329}" type="presOf" srcId="{17419E3B-5B57-4AF9-A44C-3DB7DC756F65}" destId="{51ACCB83-3328-4740-B236-7A30F1CA0589}" srcOrd="0" destOrd="0" presId="urn:microsoft.com/office/officeart/2005/8/layout/hList2"/>
    <dgm:cxn modelId="{54080754-DEF3-444F-A38D-B8DF42F2F023}" type="presOf" srcId="{ADFDEA3B-29F2-4E68-A78E-5640E59D8331}" destId="{EA9E4C54-156B-4690-9C8F-2F7817BF946C}" srcOrd="0" destOrd="8" presId="urn:microsoft.com/office/officeart/2005/8/layout/hList2"/>
    <dgm:cxn modelId="{D8010C54-8F2A-4AD4-A28D-556F5E91B60E}" type="presOf" srcId="{B85630BB-8811-4F91-ADFF-3981B007D415}" destId="{5BAFA9AF-D648-47E6-8A5D-1AF245DFF93F}" srcOrd="0" destOrd="1" presId="urn:microsoft.com/office/officeart/2005/8/layout/hList2"/>
    <dgm:cxn modelId="{38CB1774-C2B5-421B-890B-923F65806330}" srcId="{3C2941F5-B260-4044-9A2A-FCD8DDB7A93F}" destId="{BB1784D6-4993-413C-B29D-20F4EF2E20B8}" srcOrd="4" destOrd="0" parTransId="{5C357372-2474-4D44-B0CE-E3843E064BF1}" sibTransId="{250CB3C2-E35C-411A-86F8-C97BAF1AAD38}"/>
    <dgm:cxn modelId="{38F87B74-B8D2-4F9A-8978-BC36E73A8BB5}" srcId="{3C2941F5-B260-4044-9A2A-FCD8DDB7A93F}" destId="{93E8485F-7CEE-4F50-AAE7-13E3BB98340B}" srcOrd="7" destOrd="0" parTransId="{27CC89F6-5A4C-4159-91D1-A9182E33D800}" sibTransId="{2EC8DA03-A81E-4B99-B24E-222ACAFAADC1}"/>
    <dgm:cxn modelId="{ED137457-96F0-481B-B232-9365E09E6326}" srcId="{F95A0909-3B23-4D2A-AAA7-4DF38E5B9359}" destId="{F47948E4-63EF-45AE-84A9-89D53766E711}" srcOrd="4" destOrd="0" parTransId="{D5D552E3-1A38-4B20-B1DC-C49BF8014E0A}" sibTransId="{F7BC4DDB-1C47-405E-81F2-057CF4091E12}"/>
    <dgm:cxn modelId="{BFE07559-C14C-4232-922F-C26E2D21236D}" type="presOf" srcId="{F47948E4-63EF-45AE-84A9-89D53766E711}" destId="{EA9E4C54-156B-4690-9C8F-2F7817BF946C}" srcOrd="0" destOrd="4" presId="urn:microsoft.com/office/officeart/2005/8/layout/hList2"/>
    <dgm:cxn modelId="{72564F7C-16D2-4268-946D-901D56C5D9F3}" srcId="{27166E23-9EBD-4B63-BC42-FE80A4E93D76}" destId="{ACD4A529-B0E3-414B-96B9-FE1152D70D60}" srcOrd="8" destOrd="0" parTransId="{43BCE432-221B-4598-BE21-21F42B2DC9E7}" sibTransId="{AC5B23B7-9315-4A98-A505-D4B4E3E64677}"/>
    <dgm:cxn modelId="{017B5C7D-F14A-4069-B6DE-2B3CA2508DB7}" srcId="{27166E23-9EBD-4B63-BC42-FE80A4E93D76}" destId="{AC91D698-381B-4964-AA72-71958E038B8F}" srcOrd="6" destOrd="0" parTransId="{2A90FA88-85C4-4902-9056-2A3E7F96E197}" sibTransId="{EA41552C-3EE2-49EE-8579-DC880C6BFAB1}"/>
    <dgm:cxn modelId="{5797957F-691A-4FA1-BA41-0F5D85E01F46}" type="presOf" srcId="{AACCEE60-BA7E-41F7-B720-A35E487629D7}" destId="{5BAFA9AF-D648-47E6-8A5D-1AF245DFF93F}" srcOrd="0" destOrd="9" presId="urn:microsoft.com/office/officeart/2005/8/layout/hList2"/>
    <dgm:cxn modelId="{FAD1EA87-5025-42D2-9D7D-8D20C08FE631}" srcId="{3C2941F5-B260-4044-9A2A-FCD8DDB7A93F}" destId="{91BA7D0B-1263-4132-A886-DBFFB442BDE3}" srcOrd="8" destOrd="0" parTransId="{FFC2ED34-472B-418F-8C82-AC6CDAA68D65}" sibTransId="{448B8E18-7DFC-44F6-9663-635CB025F558}"/>
    <dgm:cxn modelId="{936E5288-994B-4F6B-B0E2-E574597B8C47}" type="presOf" srcId="{91BA7D0B-1263-4132-A886-DBFFB442BDE3}" destId="{711EBEA2-1BE7-44DD-8C2F-29FD6270F253}" srcOrd="0" destOrd="8" presId="urn:microsoft.com/office/officeart/2005/8/layout/hList2"/>
    <dgm:cxn modelId="{4F4C5589-5BCC-428C-82C3-C77DD270702C}" srcId="{27166E23-9EBD-4B63-BC42-FE80A4E93D76}" destId="{F552624B-D1D1-4474-89A4-F5BEAE6AD3CD}" srcOrd="3" destOrd="0" parTransId="{F993D931-4C59-4607-A029-E27AE0FAFE93}" sibTransId="{004B3FD8-8A73-49E4-9819-887C65F58490}"/>
    <dgm:cxn modelId="{B92C3C8B-E4DC-4756-88A7-CF9ADE9C0554}" type="presOf" srcId="{C7505DDA-9521-42D5-9736-5BEEB3A03979}" destId="{5BAFA9AF-D648-47E6-8A5D-1AF245DFF93F}" srcOrd="0" destOrd="11" presId="urn:microsoft.com/office/officeart/2005/8/layout/hList2"/>
    <dgm:cxn modelId="{66A09E8C-C927-437D-8496-D9F0DDAEFF94}" type="presOf" srcId="{2B3AEAD3-0F68-44F7-A86E-8F3157D6CE50}" destId="{C7273DD0-55E2-41B2-9A2B-CF15ECCA9BF4}" srcOrd="0" destOrd="0" presId="urn:microsoft.com/office/officeart/2005/8/layout/hList2"/>
    <dgm:cxn modelId="{E89D208D-4505-41FE-A7E8-C86F2F7C9EF6}" type="presOf" srcId="{1308B217-9642-4BB2-9E1A-4857CF23AD6A}" destId="{EA9E4C54-156B-4690-9C8F-2F7817BF946C}" srcOrd="0" destOrd="0" presId="urn:microsoft.com/office/officeart/2005/8/layout/hList2"/>
    <dgm:cxn modelId="{DE7A308E-F492-4B34-A530-18CAECDC1487}" type="presOf" srcId="{4D9127F8-1C58-4701-892A-078EC2B9B3C7}" destId="{711EBEA2-1BE7-44DD-8C2F-29FD6270F253}" srcOrd="0" destOrd="2" presId="urn:microsoft.com/office/officeart/2005/8/layout/hList2"/>
    <dgm:cxn modelId="{595EB391-21C9-413E-BD5E-B70340A71F2D}" srcId="{27166E23-9EBD-4B63-BC42-FE80A4E93D76}" destId="{65EC3D11-5085-452D-B239-0941B74A847D}" srcOrd="4" destOrd="0" parTransId="{2A883A8C-79AE-48B0-9E66-69D36EF4383E}" sibTransId="{0B692710-C01F-4409-ADF5-A3B3F6F959A9}"/>
    <dgm:cxn modelId="{A5C0B599-B19B-41E2-925A-044C909A01BD}" type="presOf" srcId="{37520557-4D11-40C6-BAFE-DBDD496D5B85}" destId="{EA9E4C54-156B-4690-9C8F-2F7817BF946C}" srcOrd="0" destOrd="7" presId="urn:microsoft.com/office/officeart/2005/8/layout/hList2"/>
    <dgm:cxn modelId="{3D8F369A-E848-411F-8B7F-1C9FC4F66978}" srcId="{27166E23-9EBD-4B63-BC42-FE80A4E93D76}" destId="{B85630BB-8811-4F91-ADFF-3981B007D415}" srcOrd="1" destOrd="0" parTransId="{E864098C-727C-4653-A69D-1B1104D0053F}" sibTransId="{BB44C731-6663-4E74-83DB-DFB7F5343A5E}"/>
    <dgm:cxn modelId="{5F9F529C-C503-4562-943B-1A6D9967584D}" srcId="{F95A0909-3B23-4D2A-AAA7-4DF38E5B9359}" destId="{37520557-4D11-40C6-BAFE-DBDD496D5B85}" srcOrd="7" destOrd="0" parTransId="{31AECA89-49E5-4157-BE38-E7E97D6B4FBC}" sibTransId="{353169F2-075A-4B45-88E0-61DAC73A8C07}"/>
    <dgm:cxn modelId="{BBDBA09C-5E1A-4FF3-B916-1F60C8DAC6CF}" type="presOf" srcId="{65C6A43A-99C6-4491-8255-312A0D8BA19D}" destId="{0BFB9267-1F2D-4A60-9791-143CAC075F68}" srcOrd="0" destOrd="0" presId="urn:microsoft.com/office/officeart/2005/8/layout/hList2"/>
    <dgm:cxn modelId="{F4665DA1-C338-4055-8184-3404FBBECF88}" srcId="{3C2941F5-B260-4044-9A2A-FCD8DDB7A93F}" destId="{E28EA320-7676-447F-B71C-2D5D4508BBE8}" srcOrd="0" destOrd="0" parTransId="{54772099-0ABD-4FFF-BD5F-F1043670C522}" sibTransId="{9C70873A-A271-4A44-8A17-29598D321BDC}"/>
    <dgm:cxn modelId="{5D1DDCA5-5078-48C8-ACAC-19DD0FFA6BCF}" srcId="{65C6A43A-99C6-4491-8255-312A0D8BA19D}" destId="{3C2941F5-B260-4044-9A2A-FCD8DDB7A93F}" srcOrd="2" destOrd="0" parTransId="{A23B3C52-C704-4744-9BFC-0E2F5084EEAC}" sibTransId="{C8C5E557-284F-44AF-8C4F-F9A20464AA8B}"/>
    <dgm:cxn modelId="{6C6044A8-28AF-4728-A3FF-94F855E6F453}" type="presOf" srcId="{DD62B6E9-DB5B-4978-AF94-7D3556E3BE6B}" destId="{C7273DD0-55E2-41B2-9A2B-CF15ECCA9BF4}" srcOrd="0" destOrd="1" presId="urn:microsoft.com/office/officeart/2005/8/layout/hList2"/>
    <dgm:cxn modelId="{3C75C0A8-CB40-4679-BE87-B65298A507C0}" type="presOf" srcId="{13FF95F6-A98D-4076-B665-C19211E99183}" destId="{EA9E4C54-156B-4690-9C8F-2F7817BF946C}" srcOrd="0" destOrd="2" presId="urn:microsoft.com/office/officeart/2005/8/layout/hList2"/>
    <dgm:cxn modelId="{996ADBA9-66BF-4350-9D06-690F2EBAA879}" srcId="{F95A0909-3B23-4D2A-AAA7-4DF38E5B9359}" destId="{716A35E8-111A-4F1D-BF38-AF35CDB44A9C}" srcOrd="3" destOrd="0" parTransId="{32EB76FD-5EF3-4C72-A363-BD4C184299F2}" sibTransId="{9D50A3CB-E2EE-44BA-967A-B976A033C008}"/>
    <dgm:cxn modelId="{F0B84EAD-8896-490B-B5CE-ABE3062D2282}" srcId="{27166E23-9EBD-4B63-BC42-FE80A4E93D76}" destId="{538AA64F-3363-49A4-9A95-17A3FEB089FD}" srcOrd="7" destOrd="0" parTransId="{49601624-0235-477B-8682-63E4E9AA3875}" sibTransId="{72D30171-A644-4DDA-B9DF-6F258F332A8E}"/>
    <dgm:cxn modelId="{CCA657AD-C6F1-40B4-BC2E-27B127B97E51}" type="presOf" srcId="{7B6011F9-8ABB-42CA-B619-A0D011B11899}" destId="{EA9E4C54-156B-4690-9C8F-2F7817BF946C}" srcOrd="0" destOrd="1" presId="urn:microsoft.com/office/officeart/2005/8/layout/hList2"/>
    <dgm:cxn modelId="{A63F43B2-FF08-4618-85EA-4ED7BA4FBD1C}" type="presOf" srcId="{CA0ABE11-586D-4B64-9E79-4E653C1A66C7}" destId="{711EBEA2-1BE7-44DD-8C2F-29FD6270F253}" srcOrd="0" destOrd="3" presId="urn:microsoft.com/office/officeart/2005/8/layout/hList2"/>
    <dgm:cxn modelId="{960DF1BA-9047-492B-AD70-7168925165C6}" type="presOf" srcId="{8FAB8883-7159-4FE8-85EB-CB4A1FBC97EF}" destId="{711EBEA2-1BE7-44DD-8C2F-29FD6270F253}" srcOrd="0" destOrd="9" presId="urn:microsoft.com/office/officeart/2005/8/layout/hList2"/>
    <dgm:cxn modelId="{509E33BE-E590-4470-8136-C93E22BAEC2E}" srcId="{3C2941F5-B260-4044-9A2A-FCD8DDB7A93F}" destId="{4D9127F8-1C58-4701-892A-078EC2B9B3C7}" srcOrd="2" destOrd="0" parTransId="{2202C1D6-7130-48A6-9FF7-94BD71620045}" sibTransId="{80052F52-3FCC-4489-A9DB-B03F9428F346}"/>
    <dgm:cxn modelId="{89D032BF-8751-4E0A-A3D5-FA71C08A114A}" type="presOf" srcId="{1DDB1554-EF66-44A4-B2B9-A467292CC635}" destId="{EA9E4C54-156B-4690-9C8F-2F7817BF946C}" srcOrd="0" destOrd="6" presId="urn:microsoft.com/office/officeart/2005/8/layout/hList2"/>
    <dgm:cxn modelId="{D11BB9C0-5C84-4747-8BAC-401B054678EA}" srcId="{3C2941F5-B260-4044-9A2A-FCD8DDB7A93F}" destId="{5DD53794-A1C9-494D-B835-7154233941B3}" srcOrd="5" destOrd="0" parTransId="{96BF5BB9-0C06-46A6-871B-11A5B83B38B2}" sibTransId="{30CB8947-5A95-4ED0-B90D-8FBE42DC938E}"/>
    <dgm:cxn modelId="{960401C5-A927-400C-8A29-C81FE4ABA67F}" type="presOf" srcId="{D9418462-1231-4D40-98F8-E061155EEFCC}" destId="{C7273DD0-55E2-41B2-9A2B-CF15ECCA9BF4}" srcOrd="0" destOrd="4" presId="urn:microsoft.com/office/officeart/2005/8/layout/hList2"/>
    <dgm:cxn modelId="{3D7304C5-99D3-47B2-B9AD-6AA74CA50DD0}" type="presOf" srcId="{27166E23-9EBD-4B63-BC42-FE80A4E93D76}" destId="{EB016705-140C-4C7B-9345-BEB103A6A613}" srcOrd="0" destOrd="0" presId="urn:microsoft.com/office/officeart/2005/8/layout/hList2"/>
    <dgm:cxn modelId="{9927CFC5-9E95-455A-9151-F02ACB064A3F}" srcId="{27166E23-9EBD-4B63-BC42-FE80A4E93D76}" destId="{5DD861A6-AA96-470D-952C-19AAB75A90B2}" srcOrd="2" destOrd="0" parTransId="{963C8FA0-7864-434A-9CA5-C2A81033DBF5}" sibTransId="{EF5392BA-E35A-4DDC-AEA4-7C39031846B6}"/>
    <dgm:cxn modelId="{84DC2BC8-7657-4BF9-8CCE-564F3FF67E26}" type="presOf" srcId="{1C829FF8-2699-4C98-9723-67899AB954EB}" destId="{5BAFA9AF-D648-47E6-8A5D-1AF245DFF93F}" srcOrd="0" destOrd="0" presId="urn:microsoft.com/office/officeart/2005/8/layout/hList2"/>
    <dgm:cxn modelId="{2042F5CD-9BAA-456A-B88D-0E8C85334E57}" type="presOf" srcId="{5DD861A6-AA96-470D-952C-19AAB75A90B2}" destId="{5BAFA9AF-D648-47E6-8A5D-1AF245DFF93F}" srcOrd="0" destOrd="2" presId="urn:microsoft.com/office/officeart/2005/8/layout/hList2"/>
    <dgm:cxn modelId="{92A55BCF-0F77-4932-A9CA-E1CEA36889F2}" srcId="{3C2941F5-B260-4044-9A2A-FCD8DDB7A93F}" destId="{339A9DE9-3131-4D26-9B4C-10E5B3BA4F44}" srcOrd="6" destOrd="0" parTransId="{6730C037-E713-45FF-BEB1-7066D73AC024}" sibTransId="{8B1C9092-B7F9-4655-8C96-2A06EE2C3F4E}"/>
    <dgm:cxn modelId="{ADD76DD1-A839-4733-BDB1-9541B2324311}" srcId="{65C6A43A-99C6-4491-8255-312A0D8BA19D}" destId="{F95A0909-3B23-4D2A-AAA7-4DF38E5B9359}" srcOrd="1" destOrd="0" parTransId="{D66425B0-C3EF-4DE3-B11E-CE70AAECC99E}" sibTransId="{A3033FCC-3A68-45E1-BE00-D7D6D7839474}"/>
    <dgm:cxn modelId="{CA3E2ED2-A95A-4DCA-849D-7AFA4E6A9888}" type="presOf" srcId="{3C2941F5-B260-4044-9A2A-FCD8DDB7A93F}" destId="{611725E6-CF47-4013-BC34-0B1A1777725E}" srcOrd="0" destOrd="0" presId="urn:microsoft.com/office/officeart/2005/8/layout/hList2"/>
    <dgm:cxn modelId="{C301A3D2-2675-4F4E-A1ED-8E52DC798954}" type="presOf" srcId="{027C7BC8-73AB-4A3F-8189-C5E53C06485E}" destId="{711EBEA2-1BE7-44DD-8C2F-29FD6270F253}" srcOrd="0" destOrd="1" presId="urn:microsoft.com/office/officeart/2005/8/layout/hList2"/>
    <dgm:cxn modelId="{C2BC15DB-C4A2-42E4-AE73-2E503C584EC3}" srcId="{3C2941F5-B260-4044-9A2A-FCD8DDB7A93F}" destId="{CA0ABE11-586D-4B64-9E79-4E653C1A66C7}" srcOrd="3" destOrd="0" parTransId="{783ACECC-E61E-45EA-AA77-F17D21BEDBAA}" sibTransId="{A4104955-3B8F-470D-829B-CDB3794FB464}"/>
    <dgm:cxn modelId="{F2F592DE-38D4-4B71-B362-955773EABF68}" type="presOf" srcId="{538AA64F-3363-49A4-9A95-17A3FEB089FD}" destId="{5BAFA9AF-D648-47E6-8A5D-1AF245DFF93F}" srcOrd="0" destOrd="7" presId="urn:microsoft.com/office/officeart/2005/8/layout/hList2"/>
    <dgm:cxn modelId="{45916AE4-6140-4340-A00D-8F4190D854FC}" srcId="{F95A0909-3B23-4D2A-AAA7-4DF38E5B9359}" destId="{6A5AA3EE-5FC4-415F-A279-D704BC23E2A8}" srcOrd="5" destOrd="0" parTransId="{DA5423D1-56D9-4957-887F-C21F4992770A}" sibTransId="{989161C1-6148-41DC-8306-C63D393273B1}"/>
    <dgm:cxn modelId="{9E756DE9-584B-4BBA-931E-838DEF60E409}" srcId="{17419E3B-5B57-4AF9-A44C-3DB7DC756F65}" destId="{EF019502-50BB-4504-BBCB-A271AB93266F}" srcOrd="3" destOrd="0" parTransId="{F9157B70-FA3B-4B0D-960A-7EA129F96267}" sibTransId="{7A979485-C091-4A9F-BEFA-EFD2FDE301D5}"/>
    <dgm:cxn modelId="{83C252EA-4728-4C83-960C-379A10D80159}" srcId="{27166E23-9EBD-4B63-BC42-FE80A4E93D76}" destId="{67936639-2806-49F0-8319-50E246EC7B54}" srcOrd="5" destOrd="0" parTransId="{6BF1D58D-8D65-4AD7-89F8-6AB1BBF37641}" sibTransId="{4E732CEC-8648-4807-ABB2-D419C686A22B}"/>
    <dgm:cxn modelId="{C0C032EB-C903-4E4E-8BE6-E16AD37DB6DF}" srcId="{F95A0909-3B23-4D2A-AAA7-4DF38E5B9359}" destId="{1DDB1554-EF66-44A4-B2B9-A467292CC635}" srcOrd="6" destOrd="0" parTransId="{A0E2DAC9-2EB4-43EB-9DBF-4EC76CC8ADE7}" sibTransId="{0C676DC8-B448-4C16-9A94-43D6A3AE3D0F}"/>
    <dgm:cxn modelId="{52239EF0-ED3C-4845-8383-3B00AD8CD8F6}" srcId="{F95A0909-3B23-4D2A-AAA7-4DF38E5B9359}" destId="{7B6011F9-8ABB-42CA-B619-A0D011B11899}" srcOrd="1" destOrd="0" parTransId="{81488BFC-C1AE-467F-9C83-02DB7CCDE6E6}" sibTransId="{07B66290-2CD4-4B01-8CCE-2BDC53B59B97}"/>
    <dgm:cxn modelId="{83ECD0F1-6617-4A8F-9D7C-4ED14F547FB0}" type="presOf" srcId="{E28EA320-7676-447F-B71C-2D5D4508BBE8}" destId="{711EBEA2-1BE7-44DD-8C2F-29FD6270F253}" srcOrd="0" destOrd="0" presId="urn:microsoft.com/office/officeart/2005/8/layout/hList2"/>
    <dgm:cxn modelId="{8FC649F5-A889-4B48-8EAF-5A0F23AEA505}" type="presOf" srcId="{0D461E67-E4CF-4140-9C0C-D9D01B4B15DF}" destId="{5BAFA9AF-D648-47E6-8A5D-1AF245DFF93F}" srcOrd="0" destOrd="10" presId="urn:microsoft.com/office/officeart/2005/8/layout/hList2"/>
    <dgm:cxn modelId="{EC383DF7-CEC6-4F3E-A2C5-29ED3CBAC212}" type="presOf" srcId="{65EC3D11-5085-452D-B239-0941B74A847D}" destId="{5BAFA9AF-D648-47E6-8A5D-1AF245DFF93F}" srcOrd="0" destOrd="4" presId="urn:microsoft.com/office/officeart/2005/8/layout/hList2"/>
    <dgm:cxn modelId="{6DF4F229-9605-4BBA-A1FE-BF08B5B1E531}" type="presParOf" srcId="{0BFB9267-1F2D-4A60-9791-143CAC075F68}" destId="{1BF8403C-0F9C-4B98-8B94-4617BCDD9D3D}" srcOrd="0" destOrd="0" presId="urn:microsoft.com/office/officeart/2005/8/layout/hList2"/>
    <dgm:cxn modelId="{EF45911F-D4E8-4B00-8002-486160E08FC7}" type="presParOf" srcId="{1BF8403C-0F9C-4B98-8B94-4617BCDD9D3D}" destId="{84B38277-EE3A-4557-ADCE-8409CE733658}" srcOrd="0" destOrd="0" presId="urn:microsoft.com/office/officeart/2005/8/layout/hList2"/>
    <dgm:cxn modelId="{14B0BE41-6E3C-4B85-B135-E19AC371C2FB}" type="presParOf" srcId="{1BF8403C-0F9C-4B98-8B94-4617BCDD9D3D}" destId="{C7273DD0-55E2-41B2-9A2B-CF15ECCA9BF4}" srcOrd="1" destOrd="0" presId="urn:microsoft.com/office/officeart/2005/8/layout/hList2"/>
    <dgm:cxn modelId="{06165B02-E5CD-40B4-98A5-C1DB40BF2AE4}" type="presParOf" srcId="{1BF8403C-0F9C-4B98-8B94-4617BCDD9D3D}" destId="{51ACCB83-3328-4740-B236-7A30F1CA0589}" srcOrd="2" destOrd="0" presId="urn:microsoft.com/office/officeart/2005/8/layout/hList2"/>
    <dgm:cxn modelId="{7558A485-4AD8-4695-BE02-70FCDAE4ED9F}" type="presParOf" srcId="{0BFB9267-1F2D-4A60-9791-143CAC075F68}" destId="{C2213039-1A87-4CF0-B74E-0C4199FE20B7}" srcOrd="1" destOrd="0" presId="urn:microsoft.com/office/officeart/2005/8/layout/hList2"/>
    <dgm:cxn modelId="{1CC6C899-0512-482E-B8B3-2C6673C42002}" type="presParOf" srcId="{0BFB9267-1F2D-4A60-9791-143CAC075F68}" destId="{96176FEE-A318-4F18-AEA9-F964CD1A296F}" srcOrd="2" destOrd="0" presId="urn:microsoft.com/office/officeart/2005/8/layout/hList2"/>
    <dgm:cxn modelId="{E1F85CF6-ECC4-42F5-82CB-3AA82416B694}" type="presParOf" srcId="{96176FEE-A318-4F18-AEA9-F964CD1A296F}" destId="{D1A163E4-671B-4577-8A0B-5356F5521696}" srcOrd="0" destOrd="0" presId="urn:microsoft.com/office/officeart/2005/8/layout/hList2"/>
    <dgm:cxn modelId="{BE4BA7E0-DEF3-4E31-A172-5F1CAED2CDA1}" type="presParOf" srcId="{96176FEE-A318-4F18-AEA9-F964CD1A296F}" destId="{EA9E4C54-156B-4690-9C8F-2F7817BF946C}" srcOrd="1" destOrd="0" presId="urn:microsoft.com/office/officeart/2005/8/layout/hList2"/>
    <dgm:cxn modelId="{77D76B1D-A5DD-43B3-948D-D87E9E3FD0CF}" type="presParOf" srcId="{96176FEE-A318-4F18-AEA9-F964CD1A296F}" destId="{706BB433-7925-456D-938F-A596A9617DD9}" srcOrd="2" destOrd="0" presId="urn:microsoft.com/office/officeart/2005/8/layout/hList2"/>
    <dgm:cxn modelId="{5EEFD410-2924-47F9-AFF9-A7A3BB3C8F15}" type="presParOf" srcId="{0BFB9267-1F2D-4A60-9791-143CAC075F68}" destId="{E117DA24-3668-4807-B1A4-520D67715D1C}" srcOrd="3" destOrd="0" presId="urn:microsoft.com/office/officeart/2005/8/layout/hList2"/>
    <dgm:cxn modelId="{3EFD81AB-E747-461F-9FCA-D635728EFE74}" type="presParOf" srcId="{0BFB9267-1F2D-4A60-9791-143CAC075F68}" destId="{ECEF0C6E-E236-4AF3-B60A-C9CE447C08E6}" srcOrd="4" destOrd="0" presId="urn:microsoft.com/office/officeart/2005/8/layout/hList2"/>
    <dgm:cxn modelId="{DBCC74F1-342A-478A-844E-761C17FE7DBD}" type="presParOf" srcId="{ECEF0C6E-E236-4AF3-B60A-C9CE447C08E6}" destId="{118D0B44-F68E-474E-A453-E1D941A0643A}" srcOrd="0" destOrd="0" presId="urn:microsoft.com/office/officeart/2005/8/layout/hList2"/>
    <dgm:cxn modelId="{6449FC89-8BBF-488B-939F-A306AF2F7A26}" type="presParOf" srcId="{ECEF0C6E-E236-4AF3-B60A-C9CE447C08E6}" destId="{711EBEA2-1BE7-44DD-8C2F-29FD6270F253}" srcOrd="1" destOrd="0" presId="urn:microsoft.com/office/officeart/2005/8/layout/hList2"/>
    <dgm:cxn modelId="{E6021DF2-FA12-4F96-951A-0E406FD7421E}" type="presParOf" srcId="{ECEF0C6E-E236-4AF3-B60A-C9CE447C08E6}" destId="{611725E6-CF47-4013-BC34-0B1A1777725E}" srcOrd="2" destOrd="0" presId="urn:microsoft.com/office/officeart/2005/8/layout/hList2"/>
    <dgm:cxn modelId="{E3F55F30-A790-4133-848C-5A2A8BA95483}" type="presParOf" srcId="{0BFB9267-1F2D-4A60-9791-143CAC075F68}" destId="{E45F4B31-39B7-44BF-BEF6-93806D6C4BF3}" srcOrd="5" destOrd="0" presId="urn:microsoft.com/office/officeart/2005/8/layout/hList2"/>
    <dgm:cxn modelId="{C3BC3DEF-AE94-49D2-971B-56041DEC9F18}" type="presParOf" srcId="{0BFB9267-1F2D-4A60-9791-143CAC075F68}" destId="{08AAA99D-69C0-4273-9208-FACE675584FA}" srcOrd="6" destOrd="0" presId="urn:microsoft.com/office/officeart/2005/8/layout/hList2"/>
    <dgm:cxn modelId="{8009FA27-822E-45E9-BC41-A2E9C62EBF06}" type="presParOf" srcId="{08AAA99D-69C0-4273-9208-FACE675584FA}" destId="{B4ECA0CF-B514-49A1-A7D1-7CEF39831F66}" srcOrd="0" destOrd="0" presId="urn:microsoft.com/office/officeart/2005/8/layout/hList2"/>
    <dgm:cxn modelId="{108BD2B6-EE76-4BE4-9BF1-FFDE3C35F237}" type="presParOf" srcId="{08AAA99D-69C0-4273-9208-FACE675584FA}" destId="{5BAFA9AF-D648-47E6-8A5D-1AF245DFF93F}" srcOrd="1" destOrd="0" presId="urn:microsoft.com/office/officeart/2005/8/layout/hList2"/>
    <dgm:cxn modelId="{4EBD0EB1-856B-4965-868B-3FF44F67DEC7}" type="presParOf" srcId="{08AAA99D-69C0-4273-9208-FACE675584FA}" destId="{EB016705-140C-4C7B-9345-BEB103A6A613}" srcOrd="2" destOrd="0" presId="urn:microsoft.com/office/officeart/2005/8/layout/h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CCB83-3328-4740-B236-7A30F1CA0589}">
      <dsp:nvSpPr>
        <dsp:cNvPr id="0" name=""/>
        <dsp:cNvSpPr/>
      </dsp:nvSpPr>
      <dsp:spPr>
        <a:xfrm rot="16200000">
          <a:off x="-1243897" y="1944409"/>
          <a:ext cx="2991877" cy="241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12954" bIns="0" numCol="1" spcCol="1270" anchor="ctr" anchorCtr="0">
          <a:noAutofit/>
        </a:bodyPr>
        <a:lstStyle/>
        <a:p>
          <a:pPr marL="0" lvl="0" indent="0" algn="r" defTabSz="622300">
            <a:lnSpc>
              <a:spcPct val="90000"/>
            </a:lnSpc>
            <a:spcBef>
              <a:spcPct val="0"/>
            </a:spcBef>
            <a:spcAft>
              <a:spcPct val="35000"/>
            </a:spcAft>
            <a:buNone/>
          </a:pPr>
          <a:endParaRPr lang="fr-FR" sz="1400" kern="1200" dirty="0">
            <a:solidFill>
              <a:srgbClr val="0C1C49">
                <a:hueOff val="0"/>
                <a:satOff val="0"/>
                <a:lumOff val="0"/>
                <a:alphaOff val="0"/>
              </a:srgbClr>
            </a:solidFill>
            <a:latin typeface="Arial" panose="020B0604020202020204"/>
            <a:ea typeface="+mn-ea"/>
            <a:cs typeface="+mn-cs"/>
          </a:endParaRPr>
        </a:p>
      </dsp:txBody>
      <dsp:txXfrm>
        <a:off x="-1243897" y="1944409"/>
        <a:ext cx="2991877" cy="241459"/>
      </dsp:txXfrm>
    </dsp:sp>
    <dsp:sp modelId="{C7273DD0-55E2-41B2-9A2B-CF15ECCA9BF4}">
      <dsp:nvSpPr>
        <dsp:cNvPr id="0" name=""/>
        <dsp:cNvSpPr/>
      </dsp:nvSpPr>
      <dsp:spPr>
        <a:xfrm>
          <a:off x="382459" y="545519"/>
          <a:ext cx="1493581" cy="3039239"/>
        </a:xfrm>
        <a:prstGeom prst="rect">
          <a:avLst/>
        </a:prstGeom>
        <a:solidFill>
          <a:srgbClr val="FFFFFF"/>
        </a:solidFill>
        <a:ln w="12700" cap="flat" cmpd="sng" algn="ctr">
          <a:solidFill>
            <a:srgbClr val="90C1AF"/>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000" tIns="212954" rIns="36000" bIns="99568" numCol="1" spcCol="1270" anchor="t" anchorCtr="0">
          <a:noAutofit/>
        </a:bodyPr>
        <a:lstStyle/>
        <a:p>
          <a:pPr marL="114300" lvl="1" indent="0" algn="ctr" defTabSz="622300">
            <a:lnSpc>
              <a:spcPct val="90000"/>
            </a:lnSpc>
            <a:spcBef>
              <a:spcPct val="0"/>
            </a:spcBef>
            <a:spcAft>
              <a:spcPct val="15000"/>
            </a:spcAft>
            <a:buNone/>
          </a:pPr>
          <a:r>
            <a:rPr lang="fr-FR" sz="1400" b="1" kern="1200" baseline="0" dirty="0" err="1">
              <a:ln>
                <a:noFill/>
              </a:ln>
              <a:solidFill>
                <a:srgbClr val="90C1AF"/>
              </a:solidFill>
              <a:effectLst/>
              <a:latin typeface="Arial" panose="020B0604020202020204"/>
              <a:ea typeface="+mn-ea"/>
              <a:cs typeface="+mn-cs"/>
            </a:rPr>
            <a:t>Regulatory</a:t>
          </a:r>
          <a:r>
            <a:rPr lang="fr-FR" sz="1400" b="1" kern="1200" baseline="0" dirty="0">
              <a:ln>
                <a:noFill/>
              </a:ln>
              <a:solidFill>
                <a:srgbClr val="90C1AF"/>
              </a:solidFill>
              <a:effectLst/>
              <a:latin typeface="Arial" panose="020B0604020202020204"/>
              <a:ea typeface="+mn-ea"/>
              <a:cs typeface="+mn-cs"/>
            </a:rPr>
            <a:t> </a:t>
          </a:r>
          <a:r>
            <a:rPr lang="fr-FR" sz="1400" b="1" kern="1200" baseline="0" dirty="0" err="1">
              <a:ln>
                <a:noFill/>
              </a:ln>
              <a:solidFill>
                <a:srgbClr val="90C1AF"/>
              </a:solidFill>
              <a:effectLst/>
              <a:latin typeface="Arial" panose="020B0604020202020204"/>
              <a:ea typeface="+mn-ea"/>
              <a:cs typeface="+mn-cs"/>
            </a:rPr>
            <a:t>context</a:t>
          </a:r>
          <a:r>
            <a:rPr lang="fr-FR" sz="1400" b="1" kern="1200" baseline="0" dirty="0">
              <a:ln>
                <a:noFill/>
              </a:ln>
              <a:solidFill>
                <a:srgbClr val="90C1AF"/>
              </a:solidFill>
              <a:effectLst/>
              <a:latin typeface="Arial" panose="020B0604020202020204"/>
              <a:ea typeface="+mn-ea"/>
              <a:cs typeface="+mn-cs"/>
            </a:rPr>
            <a:t>
Favorable</a:t>
          </a:r>
        </a:p>
        <a:p>
          <a:pPr marL="114300" lvl="1" indent="0" algn="ctr" defTabSz="622300">
            <a:lnSpc>
              <a:spcPct val="90000"/>
            </a:lnSpc>
            <a:spcBef>
              <a:spcPct val="0"/>
            </a:spcBef>
            <a:spcAft>
              <a:spcPct val="15000"/>
            </a:spcAft>
            <a:buNone/>
          </a:pPr>
          <a:endParaRPr lang="fr-FR" sz="1400" b="1" kern="1200" baseline="0" dirty="0">
            <a:ln>
              <a:noFill/>
            </a:ln>
            <a:solidFill>
              <a:srgbClr val="0C1C49"/>
            </a:solidFill>
            <a:effectLst/>
            <a:latin typeface="Arial" panose="020B0604020202020204"/>
            <a:ea typeface="+mn-ea"/>
            <a:cs typeface="+mn-cs"/>
          </a:endParaRPr>
        </a:p>
        <a:p>
          <a:pPr marL="114300" lvl="1" indent="0" algn="ctr" defTabSz="622300">
            <a:lnSpc>
              <a:spcPct val="90000"/>
            </a:lnSpc>
            <a:spcBef>
              <a:spcPct val="0"/>
            </a:spcBef>
            <a:spcAft>
              <a:spcPct val="15000"/>
            </a:spcAft>
            <a:buNone/>
          </a:pPr>
          <a:r>
            <a:rPr lang="en-US" sz="1200" b="1" kern="1200" baseline="0" dirty="0">
              <a:ln>
                <a:noFill/>
              </a:ln>
              <a:solidFill>
                <a:srgbClr val="90C1AF"/>
              </a:solidFill>
              <a:effectLst/>
              <a:latin typeface="Arial" panose="020B0604020202020204"/>
              <a:ea typeface="+mn-ea"/>
              <a:cs typeface="+mn-cs"/>
            </a:rPr>
            <a:t>Law of Value Sharing
-&gt; Pro from 11 to 49 employees</a:t>
          </a:r>
          <a:endParaRPr lang="fr-FR" sz="1200" b="1" kern="1200" baseline="0" dirty="0">
            <a:ln>
              <a:noFill/>
            </a:ln>
            <a:solidFill>
              <a:srgbClr val="90C1AF"/>
            </a:solidFill>
            <a:effectLst/>
            <a:latin typeface="Arial" panose="020B0604020202020204"/>
            <a:ea typeface="+mn-ea"/>
            <a:cs typeface="+mn-cs"/>
          </a:endParaRPr>
        </a:p>
        <a:p>
          <a:pPr marL="114300" lvl="1" indent="0" algn="ctr" defTabSz="622300">
            <a:lnSpc>
              <a:spcPct val="90000"/>
            </a:lnSpc>
            <a:spcBef>
              <a:spcPct val="0"/>
            </a:spcBef>
            <a:spcAft>
              <a:spcPct val="15000"/>
            </a:spcAft>
            <a:buNone/>
          </a:pPr>
          <a:endParaRPr lang="fr-FR" sz="900" b="1" kern="1200" baseline="0" dirty="0">
            <a:ln>
              <a:noFill/>
            </a:ln>
            <a:solidFill>
              <a:srgbClr val="90C1AF"/>
            </a:solidFill>
            <a:effectLst/>
            <a:latin typeface="Arial" panose="020B0604020202020204"/>
            <a:ea typeface="+mn-ea"/>
            <a:cs typeface="+mn-cs"/>
          </a:endParaRPr>
        </a:p>
        <a:p>
          <a:pPr marL="114300" lvl="1" indent="0" algn="ctr" defTabSz="622300">
            <a:lnSpc>
              <a:spcPct val="90000"/>
            </a:lnSpc>
            <a:spcBef>
              <a:spcPct val="0"/>
            </a:spcBef>
            <a:spcAft>
              <a:spcPct val="15000"/>
            </a:spcAft>
            <a:buNone/>
          </a:pPr>
          <a:r>
            <a:rPr lang="en-US" sz="1200" b="1" kern="1200" baseline="0" dirty="0">
              <a:ln>
                <a:noFill/>
              </a:ln>
              <a:solidFill>
                <a:srgbClr val="90C1AF"/>
              </a:solidFill>
              <a:effectLst/>
              <a:latin typeface="Arial" panose="020B0604020202020204"/>
              <a:ea typeface="+mn-ea"/>
              <a:cs typeface="+mn-cs"/>
            </a:rPr>
            <a:t>Innovative approach
which brings together the expertise of the Group's businesses</a:t>
          </a:r>
          <a:endParaRPr lang="fr-FR" sz="900" b="1" kern="1200" baseline="0" dirty="0">
            <a:ln>
              <a:noFill/>
            </a:ln>
            <a:solidFill>
              <a:srgbClr val="90C1AF"/>
            </a:solidFill>
            <a:effectLst/>
            <a:latin typeface="Arial" panose="020B0604020202020204"/>
            <a:ea typeface="+mn-ea"/>
            <a:cs typeface="+mn-cs"/>
          </a:endParaRPr>
        </a:p>
      </dsp:txBody>
      <dsp:txXfrm>
        <a:off x="382459" y="545519"/>
        <a:ext cx="1493581" cy="3039239"/>
      </dsp:txXfrm>
    </dsp:sp>
    <dsp:sp modelId="{84B38277-EE3A-4557-ADCE-8409CE733658}">
      <dsp:nvSpPr>
        <dsp:cNvPr id="0" name=""/>
        <dsp:cNvSpPr/>
      </dsp:nvSpPr>
      <dsp:spPr>
        <a:xfrm>
          <a:off x="131311" y="250473"/>
          <a:ext cx="482919" cy="482919"/>
        </a:xfrm>
        <a:prstGeom prst="roundRect">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706BB433-7925-456D-938F-A596A9617DD9}">
      <dsp:nvSpPr>
        <dsp:cNvPr id="0" name=""/>
        <dsp:cNvSpPr/>
      </dsp:nvSpPr>
      <dsp:spPr>
        <a:xfrm rot="16200000">
          <a:off x="659176" y="1944409"/>
          <a:ext cx="2991877" cy="241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12954" bIns="0" numCol="1" spcCol="1270" anchor="ctr" anchorCtr="0">
          <a:noAutofit/>
        </a:bodyPr>
        <a:lstStyle/>
        <a:p>
          <a:pPr marL="0" lvl="0" indent="0" algn="r" defTabSz="622300">
            <a:lnSpc>
              <a:spcPct val="90000"/>
            </a:lnSpc>
            <a:spcBef>
              <a:spcPct val="0"/>
            </a:spcBef>
            <a:spcAft>
              <a:spcPct val="35000"/>
            </a:spcAft>
            <a:buNone/>
          </a:pPr>
          <a:endParaRPr lang="fr-FR" sz="1400" kern="1200" dirty="0">
            <a:solidFill>
              <a:srgbClr val="0C1C49">
                <a:hueOff val="0"/>
                <a:satOff val="0"/>
                <a:lumOff val="0"/>
                <a:alphaOff val="0"/>
              </a:srgbClr>
            </a:solidFill>
            <a:latin typeface="Arial" panose="020B0604020202020204"/>
            <a:ea typeface="+mn-ea"/>
            <a:cs typeface="+mn-cs"/>
          </a:endParaRPr>
        </a:p>
      </dsp:txBody>
      <dsp:txXfrm>
        <a:off x="659176" y="1944409"/>
        <a:ext cx="2991877" cy="241459"/>
      </dsp:txXfrm>
    </dsp:sp>
    <dsp:sp modelId="{EA9E4C54-156B-4690-9C8F-2F7817BF946C}">
      <dsp:nvSpPr>
        <dsp:cNvPr id="0" name=""/>
        <dsp:cNvSpPr/>
      </dsp:nvSpPr>
      <dsp:spPr>
        <a:xfrm>
          <a:off x="2285533" y="545010"/>
          <a:ext cx="1493581" cy="3040256"/>
        </a:xfrm>
        <a:prstGeom prst="rect">
          <a:avLst/>
        </a:prstGeom>
        <a:solidFill>
          <a:srgbClr val="FFFFFF"/>
        </a:solidFill>
        <a:ln w="12700" cap="flat" cmpd="sng" algn="ctr">
          <a:solidFill>
            <a:srgbClr val="006A4E"/>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000" tIns="212954" rIns="36000" bIns="99568" numCol="1" spcCol="1270" anchor="t" anchorCtr="0">
          <a:noAutofit/>
        </a:bodyPr>
        <a:lstStyle/>
        <a:p>
          <a:pPr marL="114300" lvl="1" indent="-114300" algn="ctr" defTabSz="622300">
            <a:lnSpc>
              <a:spcPct val="90000"/>
            </a:lnSpc>
            <a:spcBef>
              <a:spcPct val="0"/>
            </a:spcBef>
            <a:spcAft>
              <a:spcPct val="15000"/>
            </a:spcAft>
            <a:buNone/>
          </a:pPr>
          <a:r>
            <a:rPr lang="fr-FR" sz="1400" b="1" baseline="0" dirty="0">
              <a:ln>
                <a:noFill/>
              </a:ln>
              <a:solidFill>
                <a:srgbClr val="006A4E"/>
              </a:solidFill>
              <a:effectLst/>
              <a:latin typeface="Arial" panose="020B0604020202020204"/>
              <a:ea typeface="+mn-ea"/>
              <a:cs typeface="+mn-cs"/>
            </a:rPr>
            <a:t>Lever of </a:t>
          </a:r>
          <a:r>
            <a:rPr lang="fr-FR" sz="1400" b="1" baseline="0" dirty="0" err="1">
              <a:ln>
                <a:noFill/>
              </a:ln>
              <a:solidFill>
                <a:srgbClr val="006A4E"/>
              </a:solidFill>
              <a:effectLst/>
              <a:latin typeface="Arial" panose="020B0604020202020204"/>
              <a:ea typeface="+mn-ea"/>
              <a:cs typeface="+mn-cs"/>
            </a:rPr>
            <a:t>conquest</a:t>
          </a:r>
          <a:endParaRPr lang="fr-FR" sz="900" b="1" kern="1200" dirty="0">
            <a:solidFill>
              <a:srgbClr val="006A4E"/>
            </a:solidFill>
            <a:effectLst/>
            <a:latin typeface="Arial" panose="020B0604020202020204"/>
            <a:ea typeface="+mn-ea"/>
            <a:cs typeface="+mn-cs"/>
          </a:endParaRPr>
        </a:p>
        <a:p>
          <a:pPr marL="114300" lvl="1" indent="-114300" algn="ctr" defTabSz="622300">
            <a:lnSpc>
              <a:spcPct val="90000"/>
            </a:lnSpc>
            <a:spcBef>
              <a:spcPct val="0"/>
            </a:spcBef>
            <a:spcAft>
              <a:spcPct val="15000"/>
            </a:spcAft>
            <a:buNone/>
          </a:pPr>
          <a:endParaRPr lang="fr-FR" sz="1400" b="1" kern="1200" baseline="0" dirty="0">
            <a:ln>
              <a:noFill/>
            </a:ln>
            <a:solidFill>
              <a:srgbClr val="0C1C49"/>
            </a:solidFill>
            <a:effectLst/>
            <a:latin typeface="Arial" panose="020B0604020202020204"/>
            <a:ea typeface="+mn-ea"/>
            <a:cs typeface="+mn-cs"/>
          </a:endParaRPr>
        </a:p>
        <a:p>
          <a:pPr marL="114300" lvl="1" indent="-114300" algn="ctr" defTabSz="622300">
            <a:lnSpc>
              <a:spcPct val="90000"/>
            </a:lnSpc>
            <a:spcBef>
              <a:spcPct val="0"/>
            </a:spcBef>
            <a:spcAft>
              <a:spcPct val="15000"/>
            </a:spcAft>
            <a:buNone/>
          </a:pPr>
          <a:endParaRPr lang="fr-FR" sz="1400" b="1" kern="1200" baseline="0" dirty="0">
            <a:ln>
              <a:noFill/>
            </a:ln>
            <a:solidFill>
              <a:srgbClr val="0C1C49"/>
            </a:solidFill>
            <a:effectLst/>
            <a:latin typeface="Arial" panose="020B0604020202020204"/>
            <a:ea typeface="+mn-ea"/>
            <a:cs typeface="+mn-cs"/>
          </a:endParaRPr>
        </a:p>
        <a:p>
          <a:pPr marL="114300" lvl="1" indent="-114300" algn="ctr" defTabSz="622300">
            <a:lnSpc>
              <a:spcPct val="90000"/>
            </a:lnSpc>
            <a:spcBef>
              <a:spcPct val="0"/>
            </a:spcBef>
            <a:spcAft>
              <a:spcPct val="15000"/>
            </a:spcAft>
            <a:buNone/>
          </a:pPr>
          <a:r>
            <a:rPr lang="en-US" sz="1200" b="1" kern="1200" baseline="0" dirty="0">
              <a:ln>
                <a:noFill/>
              </a:ln>
              <a:solidFill>
                <a:srgbClr val="006A4E"/>
              </a:solidFill>
              <a:effectLst/>
              <a:latin typeface="Arial" panose="020B0604020202020204"/>
              <a:ea typeface="+mn-ea"/>
              <a:cs typeface="+mn-cs"/>
            </a:rPr>
            <a:t>Equipping and retaining our customers in specialized markets</a:t>
          </a:r>
          <a:endParaRPr lang="fr-FR" sz="1200" b="1" kern="1200" baseline="0" dirty="0">
            <a:ln>
              <a:noFill/>
            </a:ln>
            <a:solidFill>
              <a:srgbClr val="006A4E"/>
            </a:solidFill>
            <a:effectLst/>
            <a:latin typeface="Arial" panose="020B0604020202020204"/>
            <a:ea typeface="+mn-ea"/>
            <a:cs typeface="+mn-cs"/>
          </a:endParaRPr>
        </a:p>
        <a:p>
          <a:pPr marL="114300" lvl="1" indent="-114300" algn="ctr" defTabSz="622300">
            <a:lnSpc>
              <a:spcPct val="90000"/>
            </a:lnSpc>
            <a:spcBef>
              <a:spcPct val="0"/>
            </a:spcBef>
            <a:spcAft>
              <a:spcPct val="15000"/>
            </a:spcAft>
            <a:buNone/>
          </a:pPr>
          <a:endParaRPr lang="fr-FR" sz="1200" b="1" kern="1200" baseline="0" dirty="0">
            <a:ln>
              <a:noFill/>
            </a:ln>
            <a:solidFill>
              <a:srgbClr val="006A4E"/>
            </a:solidFill>
            <a:effectLst/>
            <a:latin typeface="Arial" panose="020B0604020202020204"/>
            <a:ea typeface="+mn-ea"/>
            <a:cs typeface="+mn-cs"/>
          </a:endParaRPr>
        </a:p>
        <a:p>
          <a:pPr marL="114300" lvl="1" indent="-114300" algn="ctr" defTabSz="622300">
            <a:lnSpc>
              <a:spcPct val="90000"/>
            </a:lnSpc>
            <a:spcBef>
              <a:spcPct val="0"/>
            </a:spcBef>
            <a:spcAft>
              <a:spcPct val="15000"/>
            </a:spcAft>
            <a:buNone/>
          </a:pPr>
          <a:endParaRPr lang="fr-FR" sz="1200" b="1" kern="1200" baseline="0" dirty="0">
            <a:ln>
              <a:noFill/>
            </a:ln>
            <a:solidFill>
              <a:srgbClr val="006A4E"/>
            </a:solidFill>
            <a:effectLst/>
            <a:latin typeface="Arial" panose="020B0604020202020204"/>
            <a:ea typeface="+mn-ea"/>
            <a:cs typeface="+mn-cs"/>
          </a:endParaRPr>
        </a:p>
        <a:p>
          <a:pPr marL="114300" lvl="1" indent="-114300" algn="ctr" defTabSz="622300">
            <a:lnSpc>
              <a:spcPct val="90000"/>
            </a:lnSpc>
            <a:spcBef>
              <a:spcPct val="0"/>
            </a:spcBef>
            <a:spcAft>
              <a:spcPct val="15000"/>
            </a:spcAft>
            <a:buNone/>
          </a:pPr>
          <a:r>
            <a:rPr lang="en-US" sz="1200" b="1" kern="1200" baseline="0" dirty="0">
              <a:ln>
                <a:noFill/>
              </a:ln>
              <a:solidFill>
                <a:srgbClr val="006A4E"/>
              </a:solidFill>
              <a:effectLst/>
              <a:latin typeface="Arial" panose="020B0604020202020204"/>
              <a:ea typeface="+mn-ea"/>
              <a:cs typeface="+mn-cs"/>
            </a:rPr>
            <a:t>Winning over the employees of our Entrepreneur customers</a:t>
          </a:r>
          <a:endParaRPr lang="fr-FR" sz="1200" b="1" kern="1200" baseline="0" dirty="0">
            <a:ln>
              <a:noFill/>
            </a:ln>
            <a:solidFill>
              <a:srgbClr val="006A4E"/>
            </a:solidFill>
            <a:effectLst/>
            <a:latin typeface="Arial" panose="020B0604020202020204"/>
            <a:ea typeface="+mn-ea"/>
            <a:cs typeface="+mn-cs"/>
          </a:endParaRPr>
        </a:p>
        <a:p>
          <a:pPr marL="114300" lvl="1" indent="-114300" algn="ctr" defTabSz="622300">
            <a:lnSpc>
              <a:spcPct val="90000"/>
            </a:lnSpc>
            <a:spcBef>
              <a:spcPct val="0"/>
            </a:spcBef>
            <a:spcAft>
              <a:spcPct val="15000"/>
            </a:spcAft>
            <a:buNone/>
          </a:pPr>
          <a:r>
            <a:rPr lang="fr-FR" sz="1400" b="1" kern="1200" baseline="0" dirty="0">
              <a:ln>
                <a:noFill/>
              </a:ln>
              <a:solidFill>
                <a:srgbClr val="026A4E"/>
              </a:solidFill>
              <a:effectLst/>
              <a:latin typeface="Arial" panose="020B0604020202020204"/>
              <a:ea typeface="+mn-ea"/>
              <a:cs typeface="+mn-cs"/>
            </a:rPr>
            <a:t> </a:t>
          </a:r>
        </a:p>
        <a:p>
          <a:pPr marL="57150" lvl="1" indent="-57150" algn="l" defTabSz="444500">
            <a:lnSpc>
              <a:spcPct val="90000"/>
            </a:lnSpc>
            <a:spcBef>
              <a:spcPct val="0"/>
            </a:spcBef>
            <a:spcAft>
              <a:spcPct val="15000"/>
            </a:spcAft>
            <a:buFont typeface="Police système Courant"/>
            <a:buChar char="―"/>
          </a:pPr>
          <a:endParaRPr lang="fr-FR" sz="900" kern="1200" dirty="0">
            <a:solidFill>
              <a:srgbClr val="0C1C49"/>
            </a:solidFill>
            <a:effectLst/>
            <a:latin typeface="Arial" panose="020B0604020202020204"/>
            <a:ea typeface="+mn-ea"/>
            <a:cs typeface="+mn-cs"/>
          </a:endParaRPr>
        </a:p>
      </dsp:txBody>
      <dsp:txXfrm>
        <a:off x="2285533" y="545010"/>
        <a:ext cx="1493581" cy="3040256"/>
      </dsp:txXfrm>
    </dsp:sp>
    <dsp:sp modelId="{D1A163E4-671B-4577-8A0B-5356F5521696}">
      <dsp:nvSpPr>
        <dsp:cNvPr id="0" name=""/>
        <dsp:cNvSpPr/>
      </dsp:nvSpPr>
      <dsp:spPr>
        <a:xfrm>
          <a:off x="2034385" y="250473"/>
          <a:ext cx="482919" cy="482919"/>
        </a:xfrm>
        <a:prstGeom prst="roundRect">
          <a:avLst/>
        </a:prstGeom>
        <a:solidFill>
          <a:srgbClr val="006A4E"/>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11725E6-CF47-4013-BC34-0B1A1777725E}">
      <dsp:nvSpPr>
        <dsp:cNvPr id="0" name=""/>
        <dsp:cNvSpPr/>
      </dsp:nvSpPr>
      <dsp:spPr>
        <a:xfrm rot="16200000">
          <a:off x="2562250" y="1944409"/>
          <a:ext cx="2991877" cy="241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12954" bIns="0" numCol="1" spcCol="1270" anchor="ctr" anchorCtr="0">
          <a:noAutofit/>
        </a:bodyPr>
        <a:lstStyle/>
        <a:p>
          <a:pPr marL="0" lvl="0" indent="0" algn="r" defTabSz="622300">
            <a:lnSpc>
              <a:spcPct val="90000"/>
            </a:lnSpc>
            <a:spcBef>
              <a:spcPct val="0"/>
            </a:spcBef>
            <a:spcAft>
              <a:spcPct val="35000"/>
            </a:spcAft>
            <a:buNone/>
          </a:pPr>
          <a:endParaRPr lang="fr-FR" sz="1400" kern="1200" dirty="0">
            <a:solidFill>
              <a:srgbClr val="0C1C49">
                <a:hueOff val="0"/>
                <a:satOff val="0"/>
                <a:lumOff val="0"/>
                <a:alphaOff val="0"/>
              </a:srgbClr>
            </a:solidFill>
            <a:latin typeface="Arial" panose="020B0604020202020204"/>
            <a:ea typeface="+mn-ea"/>
            <a:cs typeface="+mn-cs"/>
          </a:endParaRPr>
        </a:p>
      </dsp:txBody>
      <dsp:txXfrm>
        <a:off x="2562250" y="1944409"/>
        <a:ext cx="2991877" cy="241459"/>
      </dsp:txXfrm>
    </dsp:sp>
    <dsp:sp modelId="{711EBEA2-1BE7-44DD-8C2F-29FD6270F253}">
      <dsp:nvSpPr>
        <dsp:cNvPr id="0" name=""/>
        <dsp:cNvSpPr/>
      </dsp:nvSpPr>
      <dsp:spPr>
        <a:xfrm>
          <a:off x="4154017" y="523260"/>
          <a:ext cx="1493581" cy="3040256"/>
        </a:xfrm>
        <a:prstGeom prst="rect">
          <a:avLst/>
        </a:prstGeom>
        <a:solidFill>
          <a:srgbClr val="FFFFFF">
            <a:hueOff val="0"/>
            <a:satOff val="0"/>
            <a:lumOff val="0"/>
            <a:alphaOff val="0"/>
          </a:srgbClr>
        </a:solidFill>
        <a:ln w="12700" cap="flat" cmpd="sng" algn="ctr">
          <a:solidFill>
            <a:srgbClr val="47B7A2"/>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000" tIns="212954" rIns="36000" bIns="99568" numCol="1" spcCol="1270" anchor="t" anchorCtr="0">
          <a:noAutofit/>
        </a:bodyPr>
        <a:lstStyle/>
        <a:p>
          <a:pPr marL="114300" lvl="1" indent="-114300" algn="ctr" defTabSz="622300">
            <a:lnSpc>
              <a:spcPct val="90000"/>
            </a:lnSpc>
            <a:spcBef>
              <a:spcPct val="0"/>
            </a:spcBef>
            <a:spcAft>
              <a:spcPct val="15000"/>
            </a:spcAft>
            <a:buNone/>
          </a:pPr>
          <a:r>
            <a:rPr lang="fr-FR" sz="1400" b="1" kern="1200" baseline="0" dirty="0" err="1">
              <a:ln>
                <a:noFill/>
              </a:ln>
              <a:solidFill>
                <a:srgbClr val="47B7A2"/>
              </a:solidFill>
              <a:effectLst/>
              <a:latin typeface="Arial" panose="020B0604020202020204"/>
              <a:ea typeface="+mn-ea"/>
              <a:cs typeface="+mn-cs"/>
            </a:rPr>
            <a:t>Attractiveness</a:t>
          </a:r>
          <a:r>
            <a:rPr lang="fr-FR" sz="1400" b="1" kern="1200" baseline="0" dirty="0">
              <a:ln>
                <a:noFill/>
              </a:ln>
              <a:solidFill>
                <a:srgbClr val="47B7A2"/>
              </a:solidFill>
              <a:effectLst/>
              <a:latin typeface="Arial" panose="020B0604020202020204"/>
              <a:ea typeface="+mn-ea"/>
              <a:cs typeface="+mn-cs"/>
            </a:rPr>
            <a:t> of </a:t>
          </a:r>
          <a:r>
            <a:rPr lang="fr-FR" sz="1400" b="1" kern="1200" baseline="0" dirty="0" err="1">
              <a:ln>
                <a:noFill/>
              </a:ln>
              <a:solidFill>
                <a:srgbClr val="47B7A2"/>
              </a:solidFill>
              <a:effectLst/>
              <a:latin typeface="Arial" panose="020B0604020202020204"/>
              <a:ea typeface="+mn-ea"/>
              <a:cs typeface="+mn-cs"/>
            </a:rPr>
            <a:t>employers</a:t>
          </a:r>
          <a:endParaRPr lang="fr-FR" sz="900" b="1" kern="1200" dirty="0">
            <a:solidFill>
              <a:srgbClr val="47B7A2"/>
            </a:solidFill>
            <a:latin typeface="Arial" panose="020B0604020202020204"/>
            <a:ea typeface="+mn-ea"/>
            <a:cs typeface="+mn-cs"/>
          </a:endParaRPr>
        </a:p>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a:p>
          <a:pPr marL="57150" lvl="1" indent="-57150" algn="ctr" defTabSz="444500">
            <a:lnSpc>
              <a:spcPct val="90000"/>
            </a:lnSpc>
            <a:spcBef>
              <a:spcPct val="0"/>
            </a:spcBef>
            <a:spcAft>
              <a:spcPct val="15000"/>
            </a:spcAft>
            <a:buFontTx/>
            <a:buNone/>
          </a:pPr>
          <a:endParaRPr lang="fr-FR" sz="1200" b="1" kern="1200" baseline="0" dirty="0">
            <a:ln>
              <a:noFill/>
            </a:ln>
            <a:solidFill>
              <a:srgbClr val="47B7A2"/>
            </a:solidFill>
            <a:effectLst/>
            <a:latin typeface="Arial" panose="020B0604020202020204"/>
            <a:ea typeface="+mn-ea"/>
            <a:cs typeface="+mn-cs"/>
          </a:endParaRPr>
        </a:p>
        <a:p>
          <a:pPr marL="57150" lvl="1" indent="-57150" algn="ctr" defTabSz="444500">
            <a:lnSpc>
              <a:spcPct val="90000"/>
            </a:lnSpc>
            <a:spcBef>
              <a:spcPct val="0"/>
            </a:spcBef>
            <a:spcAft>
              <a:spcPct val="15000"/>
            </a:spcAft>
            <a:buFontTx/>
            <a:buNone/>
          </a:pPr>
          <a:endParaRPr lang="fr-FR" sz="1200" b="1" kern="1200" baseline="0" dirty="0">
            <a:ln>
              <a:noFill/>
            </a:ln>
            <a:solidFill>
              <a:srgbClr val="47B7A2"/>
            </a:solidFill>
            <a:effectLst/>
            <a:latin typeface="Arial" panose="020B0604020202020204"/>
            <a:ea typeface="+mn-ea"/>
            <a:cs typeface="+mn-cs"/>
          </a:endParaRPr>
        </a:p>
        <a:p>
          <a:pPr marL="57150" lvl="1" indent="-57150" algn="ctr" defTabSz="444500">
            <a:lnSpc>
              <a:spcPct val="90000"/>
            </a:lnSpc>
            <a:spcBef>
              <a:spcPct val="0"/>
            </a:spcBef>
            <a:spcAft>
              <a:spcPct val="15000"/>
            </a:spcAft>
            <a:buFontTx/>
            <a:buNone/>
          </a:pPr>
          <a:r>
            <a:rPr lang="en-US" sz="1200" b="1" kern="1200" baseline="0" dirty="0">
              <a:ln>
                <a:noFill/>
              </a:ln>
              <a:solidFill>
                <a:srgbClr val="47B7A2"/>
              </a:solidFill>
              <a:effectLst/>
              <a:latin typeface="Arial" panose="020B0604020202020204"/>
              <a:ea typeface="+mn-ea"/>
              <a:cs typeface="+mn-cs"/>
            </a:rPr>
            <a:t>Strengthening the CSR policy of our Entrepreneurs</a:t>
          </a:r>
          <a:endParaRPr lang="fr-FR" sz="1200" b="1" kern="1200" baseline="0" dirty="0">
            <a:ln>
              <a:noFill/>
            </a:ln>
            <a:solidFill>
              <a:srgbClr val="47B7A2"/>
            </a:solidFill>
            <a:effectLst/>
            <a:latin typeface="Arial" panose="020B0604020202020204"/>
            <a:ea typeface="+mn-ea"/>
            <a:cs typeface="+mn-cs"/>
          </a:endParaRPr>
        </a:p>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a:p>
          <a:pPr marL="57150" lvl="1" indent="-57150" algn="l" defTabSz="444500">
            <a:lnSpc>
              <a:spcPct val="90000"/>
            </a:lnSpc>
            <a:spcBef>
              <a:spcPct val="0"/>
            </a:spcBef>
            <a:spcAft>
              <a:spcPct val="15000"/>
            </a:spcAft>
            <a:buFontTx/>
            <a:buNone/>
          </a:pPr>
          <a:endParaRPr lang="fr-FR" sz="1000" kern="1200" dirty="0">
            <a:solidFill>
              <a:srgbClr val="009FE3">
                <a:hueOff val="0"/>
                <a:satOff val="0"/>
                <a:lumOff val="0"/>
                <a:alphaOff val="0"/>
              </a:srgbClr>
            </a:solidFill>
            <a:latin typeface="Arial" panose="020B0604020202020204"/>
            <a:ea typeface="+mn-ea"/>
            <a:cs typeface="+mn-cs"/>
          </a:endParaRPr>
        </a:p>
        <a:p>
          <a:pPr marL="57150" lvl="1" indent="-57150" algn="ctr" defTabSz="444500">
            <a:lnSpc>
              <a:spcPct val="90000"/>
            </a:lnSpc>
            <a:spcBef>
              <a:spcPct val="0"/>
            </a:spcBef>
            <a:spcAft>
              <a:spcPct val="15000"/>
            </a:spcAft>
            <a:buFontTx/>
            <a:buNone/>
          </a:pPr>
          <a:r>
            <a:rPr lang="fr-FR" sz="1200" b="1" kern="1200" dirty="0" err="1">
              <a:solidFill>
                <a:srgbClr val="47B7A2"/>
              </a:solidFill>
              <a:latin typeface="Arial" panose="020B0604020202020204"/>
              <a:ea typeface="+mn-ea"/>
              <a:cs typeface="+mn-cs"/>
            </a:rPr>
            <a:t>Attracting</a:t>
          </a:r>
          <a:r>
            <a:rPr lang="fr-FR" sz="1200" b="1" kern="1200" dirty="0">
              <a:solidFill>
                <a:srgbClr val="47B7A2"/>
              </a:solidFill>
              <a:latin typeface="Arial" panose="020B0604020202020204"/>
              <a:ea typeface="+mn-ea"/>
              <a:cs typeface="+mn-cs"/>
            </a:rPr>
            <a:t> and </a:t>
          </a:r>
          <a:r>
            <a:rPr lang="fr-FR" sz="1200" b="1" kern="1200" dirty="0" err="1">
              <a:solidFill>
                <a:srgbClr val="47B7A2"/>
              </a:solidFill>
              <a:latin typeface="Arial" panose="020B0604020202020204"/>
              <a:ea typeface="+mn-ea"/>
              <a:cs typeface="+mn-cs"/>
            </a:rPr>
            <a:t>retaining</a:t>
          </a:r>
          <a:r>
            <a:rPr lang="fr-FR" sz="1200" b="1" kern="1200" dirty="0">
              <a:solidFill>
                <a:srgbClr val="47B7A2"/>
              </a:solidFill>
              <a:latin typeface="Arial" panose="020B0604020202020204"/>
              <a:ea typeface="+mn-ea"/>
              <a:cs typeface="+mn-cs"/>
            </a:rPr>
            <a:t> </a:t>
          </a:r>
          <a:r>
            <a:rPr lang="fr-FR" sz="1200" b="1" kern="1200" dirty="0" err="1">
              <a:solidFill>
                <a:srgbClr val="47B7A2"/>
              </a:solidFill>
              <a:latin typeface="Arial" panose="020B0604020202020204"/>
              <a:ea typeface="+mn-ea"/>
              <a:cs typeface="+mn-cs"/>
            </a:rPr>
            <a:t>employees</a:t>
          </a:r>
          <a:endParaRPr lang="fr-FR" sz="1000" kern="1200" dirty="0">
            <a:solidFill>
              <a:srgbClr val="009FE3">
                <a:hueOff val="0"/>
                <a:satOff val="0"/>
                <a:lumOff val="0"/>
                <a:alphaOff val="0"/>
              </a:srgbClr>
            </a:solidFill>
            <a:latin typeface="Arial" panose="020B0604020202020204"/>
            <a:ea typeface="+mn-ea"/>
            <a:cs typeface="+mn-cs"/>
          </a:endParaRPr>
        </a:p>
      </dsp:txBody>
      <dsp:txXfrm>
        <a:off x="4154017" y="523260"/>
        <a:ext cx="1493581" cy="3040256"/>
      </dsp:txXfrm>
    </dsp:sp>
    <dsp:sp modelId="{118D0B44-F68E-474E-A453-E1D941A0643A}">
      <dsp:nvSpPr>
        <dsp:cNvPr id="0" name=""/>
        <dsp:cNvSpPr/>
      </dsp:nvSpPr>
      <dsp:spPr>
        <a:xfrm>
          <a:off x="3937459" y="250473"/>
          <a:ext cx="482919" cy="482919"/>
        </a:xfrm>
        <a:prstGeom prst="roundRect">
          <a:avLst/>
        </a:prstGeom>
        <a:solidFill>
          <a:srgbClr val="47B7A2"/>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B016705-140C-4C7B-9345-BEB103A6A613}">
      <dsp:nvSpPr>
        <dsp:cNvPr id="0" name=""/>
        <dsp:cNvSpPr/>
      </dsp:nvSpPr>
      <dsp:spPr>
        <a:xfrm rot="16200000">
          <a:off x="4504413" y="1944409"/>
          <a:ext cx="2913700" cy="241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12954" bIns="0" numCol="1" spcCol="1270" anchor="ctr" anchorCtr="0">
          <a:noAutofit/>
        </a:bodyPr>
        <a:lstStyle/>
        <a:p>
          <a:pPr marL="0" lvl="0" indent="0" algn="r" defTabSz="622300">
            <a:lnSpc>
              <a:spcPct val="90000"/>
            </a:lnSpc>
            <a:spcBef>
              <a:spcPct val="0"/>
            </a:spcBef>
            <a:spcAft>
              <a:spcPct val="35000"/>
            </a:spcAft>
            <a:buNone/>
          </a:pPr>
          <a:endParaRPr lang="fr-FR" sz="1400" kern="1200" dirty="0">
            <a:solidFill>
              <a:srgbClr val="0C1C49">
                <a:hueOff val="0"/>
                <a:satOff val="0"/>
                <a:lumOff val="0"/>
                <a:alphaOff val="0"/>
              </a:srgbClr>
            </a:solidFill>
            <a:latin typeface="Arial" panose="020B0604020202020204"/>
            <a:ea typeface="+mn-ea"/>
            <a:cs typeface="+mn-cs"/>
          </a:endParaRPr>
        </a:p>
      </dsp:txBody>
      <dsp:txXfrm>
        <a:off x="4504413" y="1944409"/>
        <a:ext cx="2913700" cy="241459"/>
      </dsp:txXfrm>
    </dsp:sp>
    <dsp:sp modelId="{5BAFA9AF-D648-47E6-8A5D-1AF245DFF93F}">
      <dsp:nvSpPr>
        <dsp:cNvPr id="0" name=""/>
        <dsp:cNvSpPr/>
      </dsp:nvSpPr>
      <dsp:spPr>
        <a:xfrm>
          <a:off x="6067877" y="551069"/>
          <a:ext cx="1493581" cy="3028139"/>
        </a:xfrm>
        <a:prstGeom prst="rect">
          <a:avLst/>
        </a:prstGeom>
        <a:solidFill>
          <a:srgbClr val="FFFFFF">
            <a:hueOff val="0"/>
            <a:satOff val="0"/>
            <a:lumOff val="0"/>
            <a:alphaOff val="0"/>
          </a:srgbClr>
        </a:solidFill>
        <a:ln w="12700" cap="flat" cmpd="sng" algn="ctr">
          <a:solidFill>
            <a:srgbClr val="50878E"/>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000" tIns="212954" rIns="36000" bIns="99568" numCol="1" spcCol="1270" anchor="t" anchorCtr="0">
          <a:noAutofit/>
        </a:bodyPr>
        <a:lstStyle/>
        <a:p>
          <a:pPr marL="114300" lvl="1" indent="-114300" algn="ctr" defTabSz="622300">
            <a:lnSpc>
              <a:spcPct val="90000"/>
            </a:lnSpc>
            <a:spcBef>
              <a:spcPct val="0"/>
            </a:spcBef>
            <a:spcAft>
              <a:spcPct val="15000"/>
            </a:spcAft>
            <a:buNone/>
          </a:pPr>
          <a:r>
            <a:rPr lang="en-US" sz="1400" b="1" kern="1200" dirty="0">
              <a:solidFill>
                <a:srgbClr val="50878E"/>
              </a:solidFill>
              <a:latin typeface="Arial" panose="020B0604020202020204"/>
              <a:ea typeface="+mn-ea"/>
              <a:cs typeface="+mn-cs"/>
            </a:rPr>
            <a:t>Developing the
GNP of RCs</a:t>
          </a:r>
          <a:endParaRPr lang="fr-FR" sz="1400" b="1" kern="1200" dirty="0">
            <a:solidFill>
              <a:srgbClr val="50878E"/>
            </a:solidFill>
            <a:latin typeface="Arial" panose="020B0604020202020204"/>
            <a:ea typeface="+mn-ea"/>
            <a:cs typeface="+mn-cs"/>
          </a:endParaRPr>
        </a:p>
        <a:p>
          <a:pPr marL="114300" lvl="1" indent="-114300" algn="ctr" defTabSz="622300">
            <a:lnSpc>
              <a:spcPct val="90000"/>
            </a:lnSpc>
            <a:spcBef>
              <a:spcPct val="0"/>
            </a:spcBef>
            <a:spcAft>
              <a:spcPct val="15000"/>
            </a:spcAft>
            <a:buNone/>
          </a:pPr>
          <a:endParaRPr lang="fr-FR" sz="1400" b="1" kern="1200" dirty="0">
            <a:solidFill>
              <a:srgbClr val="50878E"/>
            </a:solidFill>
            <a:latin typeface="Arial" panose="020B0604020202020204"/>
            <a:ea typeface="+mn-ea"/>
            <a:cs typeface="+mn-cs"/>
          </a:endParaRPr>
        </a:p>
        <a:p>
          <a:pPr marL="114300" lvl="1" indent="-114300" algn="ctr" defTabSz="622300">
            <a:lnSpc>
              <a:spcPct val="90000"/>
            </a:lnSpc>
            <a:spcBef>
              <a:spcPct val="0"/>
            </a:spcBef>
            <a:spcAft>
              <a:spcPct val="15000"/>
            </a:spcAft>
            <a:buNone/>
          </a:pPr>
          <a:r>
            <a:rPr lang="fr-FR" sz="1400" b="1" kern="1200" dirty="0">
              <a:solidFill>
                <a:srgbClr val="50878E"/>
              </a:solidFill>
              <a:latin typeface="Arial" panose="020B0604020202020204"/>
              <a:ea typeface="+mn-ea"/>
              <a:cs typeface="+mn-cs"/>
            </a:rPr>
            <a:t>High</a:t>
          </a:r>
        </a:p>
        <a:p>
          <a:pPr marL="114300" lvl="1" indent="-114300" algn="ctr" defTabSz="622300">
            <a:lnSpc>
              <a:spcPct val="90000"/>
            </a:lnSpc>
            <a:spcBef>
              <a:spcPct val="0"/>
            </a:spcBef>
            <a:spcAft>
              <a:spcPct val="15000"/>
            </a:spcAft>
            <a:buNone/>
          </a:pPr>
          <a:r>
            <a:rPr lang="fr-FR" sz="1400" b="1" kern="1200" dirty="0">
              <a:solidFill>
                <a:srgbClr val="50878E"/>
              </a:solidFill>
              <a:latin typeface="Arial" panose="020B0604020202020204"/>
              <a:ea typeface="+mn-ea"/>
              <a:cs typeface="+mn-cs"/>
            </a:rPr>
            <a:t>value-</a:t>
          </a:r>
          <a:r>
            <a:rPr lang="fr-FR" sz="1400" b="1" kern="1200" dirty="0" err="1">
              <a:solidFill>
                <a:srgbClr val="50878E"/>
              </a:solidFill>
              <a:latin typeface="Arial" panose="020B0604020202020204"/>
              <a:ea typeface="+mn-ea"/>
              <a:cs typeface="+mn-cs"/>
            </a:rPr>
            <a:t>added</a:t>
          </a:r>
          <a:r>
            <a:rPr lang="fr-FR" sz="1400" b="1" kern="1200" dirty="0">
              <a:solidFill>
                <a:srgbClr val="50878E"/>
              </a:solidFill>
              <a:latin typeface="Arial" panose="020B0604020202020204"/>
              <a:ea typeface="+mn-ea"/>
              <a:cs typeface="+mn-cs"/>
            </a:rPr>
            <a:t> solutions:</a:t>
          </a:r>
        </a:p>
        <a:p>
          <a:pPr marL="114300" lvl="1" indent="-114300" algn="ctr" defTabSz="622300">
            <a:lnSpc>
              <a:spcPct val="90000"/>
            </a:lnSpc>
            <a:spcBef>
              <a:spcPct val="0"/>
            </a:spcBef>
            <a:spcAft>
              <a:spcPct val="15000"/>
            </a:spcAft>
            <a:buNone/>
          </a:pPr>
          <a:endParaRPr lang="fr-FR" sz="1400" b="1" kern="1200" dirty="0">
            <a:solidFill>
              <a:srgbClr val="50878E"/>
            </a:solidFill>
            <a:latin typeface="Arial" panose="020B0604020202020204"/>
            <a:ea typeface="+mn-ea"/>
            <a:cs typeface="+mn-cs"/>
          </a:endParaRPr>
        </a:p>
        <a:p>
          <a:pPr marL="114300" lvl="1" indent="-114300" algn="ctr" defTabSz="622300">
            <a:lnSpc>
              <a:spcPct val="90000"/>
            </a:lnSpc>
            <a:spcBef>
              <a:spcPct val="0"/>
            </a:spcBef>
            <a:spcAft>
              <a:spcPct val="15000"/>
            </a:spcAft>
            <a:buNone/>
          </a:pPr>
          <a:endParaRPr lang="fr-FR" sz="1100" b="1" kern="1200" dirty="0">
            <a:solidFill>
              <a:srgbClr val="50878E"/>
            </a:solidFill>
            <a:latin typeface="Arial" panose="020B0604020202020204"/>
            <a:ea typeface="+mn-ea"/>
            <a:cs typeface="+mn-cs"/>
          </a:endParaRPr>
        </a:p>
        <a:p>
          <a:pPr marL="114300" lvl="1" indent="-114300" algn="ctr" defTabSz="622300">
            <a:lnSpc>
              <a:spcPct val="90000"/>
            </a:lnSpc>
            <a:spcBef>
              <a:spcPct val="0"/>
            </a:spcBef>
            <a:spcAft>
              <a:spcPct val="15000"/>
            </a:spcAft>
            <a:buNone/>
          </a:pPr>
          <a:r>
            <a:rPr lang="fr-FR" sz="1200" b="1" kern="1200" dirty="0">
              <a:solidFill>
                <a:srgbClr val="50878E"/>
              </a:solidFill>
              <a:latin typeface="Arial" panose="020B0604020202020204"/>
              <a:ea typeface="+mn-ea"/>
              <a:cs typeface="+mn-cs"/>
            </a:rPr>
            <a:t>ESR :</a:t>
          </a:r>
        </a:p>
        <a:p>
          <a:pPr marL="114300" lvl="1" indent="-114300" algn="ctr" defTabSz="622300">
            <a:lnSpc>
              <a:spcPct val="90000"/>
            </a:lnSpc>
            <a:spcBef>
              <a:spcPct val="0"/>
            </a:spcBef>
            <a:spcAft>
              <a:spcPct val="15000"/>
            </a:spcAft>
            <a:buNone/>
          </a:pPr>
          <a:r>
            <a:rPr lang="fr-FR" sz="1200" b="1" kern="1200" dirty="0">
              <a:solidFill>
                <a:srgbClr val="50878E"/>
              </a:solidFill>
              <a:latin typeface="Arial" panose="020B0604020202020204"/>
              <a:ea typeface="+mn-ea"/>
              <a:cs typeface="+mn-cs"/>
            </a:rPr>
            <a:t>365 €/</a:t>
          </a:r>
          <a:r>
            <a:rPr lang="fr-FR" sz="1200" b="1" kern="1200" dirty="0" err="1">
              <a:solidFill>
                <a:srgbClr val="50878E"/>
              </a:solidFill>
              <a:latin typeface="Arial" panose="020B0604020202020204"/>
              <a:ea typeface="+mn-ea"/>
              <a:cs typeface="+mn-cs"/>
            </a:rPr>
            <a:t>Contract</a:t>
          </a:r>
          <a:endParaRPr lang="fr-FR" sz="1200" b="1" kern="1200" dirty="0">
            <a:solidFill>
              <a:srgbClr val="50878E"/>
            </a:solidFill>
            <a:latin typeface="Arial" panose="020B0604020202020204"/>
            <a:ea typeface="+mn-ea"/>
            <a:cs typeface="+mn-cs"/>
          </a:endParaRPr>
        </a:p>
        <a:p>
          <a:pPr marL="114300" lvl="1" indent="-114300" algn="ctr" defTabSz="622300">
            <a:lnSpc>
              <a:spcPct val="90000"/>
            </a:lnSpc>
            <a:spcBef>
              <a:spcPct val="0"/>
            </a:spcBef>
            <a:spcAft>
              <a:spcPct val="15000"/>
            </a:spcAft>
            <a:buNone/>
          </a:pPr>
          <a:endParaRPr lang="fr-FR" sz="1200" b="1" kern="1200" dirty="0">
            <a:solidFill>
              <a:srgbClr val="50878E"/>
            </a:solidFill>
            <a:latin typeface="Arial" panose="020B0604020202020204"/>
            <a:ea typeface="+mn-ea"/>
            <a:cs typeface="+mn-cs"/>
          </a:endParaRPr>
        </a:p>
        <a:p>
          <a:pPr marL="114300" lvl="1" indent="-114300" algn="ctr" defTabSz="622300">
            <a:lnSpc>
              <a:spcPct val="90000"/>
            </a:lnSpc>
            <a:spcBef>
              <a:spcPct val="0"/>
            </a:spcBef>
            <a:spcAft>
              <a:spcPct val="15000"/>
            </a:spcAft>
            <a:buNone/>
          </a:pPr>
          <a:r>
            <a:rPr lang="fr-FR" sz="1200" b="1" kern="1200" dirty="0">
              <a:solidFill>
                <a:srgbClr val="50878E"/>
              </a:solidFill>
              <a:latin typeface="Arial" panose="020B0604020202020204"/>
              <a:ea typeface="+mn-ea"/>
              <a:cs typeface="+mn-cs"/>
            </a:rPr>
            <a:t>CAA : 160 € </a:t>
          </a:r>
          <a:r>
            <a:rPr lang="fr-FR" sz="1200" b="1" kern="1200" noProof="0" dirty="0">
              <a:solidFill>
                <a:srgbClr val="50878E"/>
              </a:solidFill>
              <a:latin typeface="Arial" panose="020B0604020202020204"/>
              <a:ea typeface="+mn-ea"/>
              <a:cs typeface="+mn-cs"/>
            </a:rPr>
            <a:t>/ </a:t>
          </a:r>
          <a:r>
            <a:rPr lang="fr-FR" sz="1200" b="1" kern="1200" noProof="0" dirty="0" err="1">
              <a:solidFill>
                <a:srgbClr val="50878E"/>
              </a:solidFill>
              <a:latin typeface="Arial" panose="020B0604020202020204"/>
              <a:ea typeface="+mn-ea"/>
              <a:cs typeface="+mn-cs"/>
            </a:rPr>
            <a:t>year</a:t>
          </a:r>
          <a:r>
            <a:rPr lang="fr-FR" sz="1200" b="1" kern="1200" noProof="0" dirty="0">
              <a:solidFill>
                <a:srgbClr val="50878E"/>
              </a:solidFill>
              <a:latin typeface="Arial" panose="020B0604020202020204"/>
              <a:ea typeface="+mn-ea"/>
              <a:cs typeface="+mn-cs"/>
            </a:rPr>
            <a:t> </a:t>
          </a:r>
          <a:endParaRPr lang="fr-FR" sz="1200" b="1" kern="1200" dirty="0">
            <a:solidFill>
              <a:srgbClr val="50878E"/>
            </a:solidFill>
            <a:latin typeface="Arial" panose="020B0604020202020204"/>
            <a:ea typeface="+mn-ea"/>
            <a:cs typeface="+mn-cs"/>
          </a:endParaRPr>
        </a:p>
        <a:p>
          <a:pPr marL="114300" lvl="1" indent="-114300" algn="ctr" defTabSz="622300">
            <a:lnSpc>
              <a:spcPct val="90000"/>
            </a:lnSpc>
            <a:spcBef>
              <a:spcPct val="0"/>
            </a:spcBef>
            <a:spcAft>
              <a:spcPct val="15000"/>
            </a:spcAft>
            <a:buNone/>
          </a:pPr>
          <a:endParaRPr lang="fr-FR" sz="1200" b="1" kern="1200" noProof="0" dirty="0">
            <a:solidFill>
              <a:srgbClr val="50878E"/>
            </a:solidFill>
            <a:latin typeface="Arial" panose="020B0604020202020204"/>
            <a:ea typeface="+mn-ea"/>
            <a:cs typeface="+mn-cs"/>
          </a:endParaRPr>
        </a:p>
        <a:p>
          <a:pPr marL="114300" lvl="1" indent="-114300" algn="ctr" defTabSz="622300">
            <a:lnSpc>
              <a:spcPct val="90000"/>
            </a:lnSpc>
            <a:spcBef>
              <a:spcPct val="0"/>
            </a:spcBef>
            <a:spcAft>
              <a:spcPct val="15000"/>
            </a:spcAft>
            <a:buNone/>
          </a:pPr>
          <a:r>
            <a:rPr lang="fr-FR" sz="1200" b="1" kern="1200" noProof="0" dirty="0">
              <a:solidFill>
                <a:srgbClr val="50878E"/>
              </a:solidFill>
              <a:latin typeface="Arial" panose="020B0604020202020204"/>
              <a:ea typeface="+mn-ea"/>
              <a:cs typeface="+mn-cs"/>
            </a:rPr>
            <a:t>WKL : 5€/</a:t>
          </a:r>
          <a:r>
            <a:rPr lang="fr-FR" sz="1200" b="1" kern="1200" noProof="0" dirty="0" err="1">
              <a:solidFill>
                <a:srgbClr val="50878E"/>
              </a:solidFill>
              <a:latin typeface="Arial" panose="020B0604020202020204"/>
              <a:ea typeface="+mn-ea"/>
              <a:cs typeface="+mn-cs"/>
            </a:rPr>
            <a:t>salary</a:t>
          </a:r>
          <a:r>
            <a:rPr lang="fr-FR" sz="1200" b="1" kern="1200" noProof="0" dirty="0">
              <a:solidFill>
                <a:srgbClr val="50878E"/>
              </a:solidFill>
              <a:latin typeface="Arial" panose="020B0604020202020204"/>
              <a:ea typeface="+mn-ea"/>
              <a:cs typeface="+mn-cs"/>
            </a:rPr>
            <a:t> </a:t>
          </a:r>
        </a:p>
      </dsp:txBody>
      <dsp:txXfrm>
        <a:off x="6067877" y="551069"/>
        <a:ext cx="1493581" cy="3028139"/>
      </dsp:txXfrm>
    </dsp:sp>
    <dsp:sp modelId="{B4ECA0CF-B514-49A1-A7D1-7CEF39831F66}">
      <dsp:nvSpPr>
        <dsp:cNvPr id="0" name=""/>
        <dsp:cNvSpPr/>
      </dsp:nvSpPr>
      <dsp:spPr>
        <a:xfrm>
          <a:off x="5840534" y="250473"/>
          <a:ext cx="482919" cy="482919"/>
        </a:xfrm>
        <a:prstGeom prst="round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83B2D617-6A43-7DDD-EC80-723511AF64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4263F7F7-896A-9957-53B7-FC9F9DB47AE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D9D9ED-4FBB-4999-BB11-D37185FC64BB}" type="datetimeFigureOut">
              <a:rPr lang="fr-FR" smtClean="0"/>
              <a:t>11/03/2026</a:t>
            </a:fld>
            <a:endParaRPr lang="fr-FR"/>
          </a:p>
        </p:txBody>
      </p:sp>
      <p:sp>
        <p:nvSpPr>
          <p:cNvPr id="4" name="Espace réservé du pied de page 3">
            <a:extLst>
              <a:ext uri="{FF2B5EF4-FFF2-40B4-BE49-F238E27FC236}">
                <a16:creationId xmlns:a16="http://schemas.microsoft.com/office/drawing/2014/main" id="{96F5F188-7168-ACCA-6034-6AC6F6DD3A3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BFB4BEA4-6A8B-F2DD-4B4D-660E6122C40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C32FFB9-7E3D-42A3-8506-0CAE2EBECDB7}" type="slidenum">
              <a:rPr lang="fr-FR" smtClean="0"/>
              <a:t>‹N°›</a:t>
            </a:fld>
            <a:endParaRPr lang="fr-FR"/>
          </a:p>
        </p:txBody>
      </p:sp>
    </p:spTree>
    <p:extLst>
      <p:ext uri="{BB962C8B-B14F-4D97-AF65-F5344CB8AC3E}">
        <p14:creationId xmlns:p14="http://schemas.microsoft.com/office/powerpoint/2010/main" val="24662740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4567510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7_Disposition personnalisée">
  <p:cSld name="17_Disposition personnalisée">
    <p:spTree>
      <p:nvGrpSpPr>
        <p:cNvPr id="1" name="Shape 405"/>
        <p:cNvGrpSpPr/>
        <p:nvPr/>
      </p:nvGrpSpPr>
      <p:grpSpPr>
        <a:xfrm>
          <a:off x="0" y="0"/>
          <a:ext cx="0" cy="0"/>
          <a:chOff x="0" y="0"/>
          <a:chExt cx="0" cy="0"/>
        </a:xfrm>
      </p:grpSpPr>
      <p:pic>
        <p:nvPicPr>
          <p:cNvPr id="406" name="Google Shape;406;p49"/>
          <p:cNvPicPr preferRelativeResize="0"/>
          <p:nvPr/>
        </p:nvPicPr>
        <p:blipFill rotWithShape="1">
          <a:blip r:embed="rId2">
            <a:alphaModFix/>
          </a:blip>
          <a:srcRect t="138"/>
          <a:stretch/>
        </p:blipFill>
        <p:spPr>
          <a:xfrm>
            <a:off x="0" y="-67377"/>
            <a:ext cx="12192000" cy="6916842"/>
          </a:xfrm>
          <a:prstGeom prst="rect">
            <a:avLst/>
          </a:prstGeom>
          <a:noFill/>
          <a:ln>
            <a:noFill/>
          </a:ln>
        </p:spPr>
      </p:pic>
      <p:sp>
        <p:nvSpPr>
          <p:cNvPr id="409" name="Google Shape;409;p49"/>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10" name="Google Shape;410;p49"/>
          <p:cNvSpPr txBox="1">
            <a:spLocks noGrp="1"/>
          </p:cNvSpPr>
          <p:nvPr>
            <p:ph type="body" idx="1"/>
          </p:nvPr>
        </p:nvSpPr>
        <p:spPr>
          <a:xfrm>
            <a:off x="1037478" y="1908743"/>
            <a:ext cx="2600871" cy="566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1800" b="0" i="0" u="none" strike="noStrike" cap="none">
                <a:solidFill>
                  <a:schemeClr val="accent5"/>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11" name="Google Shape;411;p49"/>
          <p:cNvSpPr txBox="1">
            <a:spLocks noGrp="1"/>
          </p:cNvSpPr>
          <p:nvPr>
            <p:ph type="body" idx="2"/>
          </p:nvPr>
        </p:nvSpPr>
        <p:spPr>
          <a:xfrm>
            <a:off x="533400" y="2885823"/>
            <a:ext cx="2508183" cy="566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1800" b="0" i="0" u="none" strike="noStrike" cap="none">
                <a:solidFill>
                  <a:schemeClr val="accent5"/>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12" name="Google Shape;412;p49"/>
          <p:cNvSpPr txBox="1">
            <a:spLocks noGrp="1"/>
          </p:cNvSpPr>
          <p:nvPr>
            <p:ph type="body" idx="3"/>
          </p:nvPr>
        </p:nvSpPr>
        <p:spPr>
          <a:xfrm>
            <a:off x="533400" y="3862903"/>
            <a:ext cx="2508183" cy="566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1800" b="0" i="0" u="none" strike="noStrike" cap="none">
                <a:solidFill>
                  <a:schemeClr val="accent5"/>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13" name="Google Shape;413;p49"/>
          <p:cNvSpPr txBox="1">
            <a:spLocks noGrp="1"/>
          </p:cNvSpPr>
          <p:nvPr>
            <p:ph type="body" idx="4"/>
          </p:nvPr>
        </p:nvSpPr>
        <p:spPr>
          <a:xfrm>
            <a:off x="1037478" y="4833529"/>
            <a:ext cx="2508183" cy="566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1800" b="0" i="0" u="none" strike="noStrike" cap="none">
                <a:solidFill>
                  <a:schemeClr val="accent5"/>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14" name="Google Shape;414;p49"/>
          <p:cNvSpPr txBox="1">
            <a:spLocks noGrp="1"/>
          </p:cNvSpPr>
          <p:nvPr>
            <p:ph type="body" idx="5"/>
          </p:nvPr>
        </p:nvSpPr>
        <p:spPr>
          <a:xfrm>
            <a:off x="8553653" y="1902058"/>
            <a:ext cx="2600871" cy="566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1800" b="0" i="0" u="none" strike="noStrike" cap="none">
                <a:solidFill>
                  <a:srgbClr val="01A090"/>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15" name="Google Shape;415;p49"/>
          <p:cNvSpPr txBox="1">
            <a:spLocks noGrp="1"/>
          </p:cNvSpPr>
          <p:nvPr>
            <p:ph type="body" idx="6"/>
          </p:nvPr>
        </p:nvSpPr>
        <p:spPr>
          <a:xfrm>
            <a:off x="9198547" y="2900177"/>
            <a:ext cx="2460054" cy="566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1800" b="0" i="0" u="none" strike="noStrike" cap="none">
                <a:solidFill>
                  <a:srgbClr val="01A090"/>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16" name="Google Shape;416;p49"/>
          <p:cNvSpPr txBox="1">
            <a:spLocks noGrp="1"/>
          </p:cNvSpPr>
          <p:nvPr>
            <p:ph type="body" idx="7"/>
          </p:nvPr>
        </p:nvSpPr>
        <p:spPr>
          <a:xfrm>
            <a:off x="9198546" y="3862903"/>
            <a:ext cx="2460054" cy="566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1800" b="0" i="0" u="none" strike="noStrike" cap="none">
                <a:solidFill>
                  <a:srgbClr val="01A090"/>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17" name="Google Shape;417;p49"/>
          <p:cNvSpPr txBox="1">
            <a:spLocks noGrp="1"/>
          </p:cNvSpPr>
          <p:nvPr>
            <p:ph type="body" idx="8"/>
          </p:nvPr>
        </p:nvSpPr>
        <p:spPr>
          <a:xfrm>
            <a:off x="8605128" y="4825629"/>
            <a:ext cx="2460054" cy="566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1800" b="0" i="0" u="none" strike="noStrike" cap="none">
                <a:solidFill>
                  <a:srgbClr val="01A090"/>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1174900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3_Disposition personnalisée">
  <p:cSld name="23_Disposition personnalisée">
    <p:spTree>
      <p:nvGrpSpPr>
        <p:cNvPr id="1" name="Shape 461"/>
        <p:cNvGrpSpPr/>
        <p:nvPr/>
      </p:nvGrpSpPr>
      <p:grpSpPr>
        <a:xfrm>
          <a:off x="0" y="0"/>
          <a:ext cx="0" cy="0"/>
          <a:chOff x="0" y="0"/>
          <a:chExt cx="0" cy="0"/>
        </a:xfrm>
      </p:grpSpPr>
      <p:pic>
        <p:nvPicPr>
          <p:cNvPr id="462" name="Google Shape;462;p55"/>
          <p:cNvPicPr preferRelativeResize="0"/>
          <p:nvPr/>
        </p:nvPicPr>
        <p:blipFill rotWithShape="1">
          <a:blip r:embed="rId2">
            <a:alphaModFix/>
          </a:blip>
          <a:srcRect t="1793"/>
          <a:stretch/>
        </p:blipFill>
        <p:spPr>
          <a:xfrm>
            <a:off x="0" y="0"/>
            <a:ext cx="12192000" cy="6849465"/>
          </a:xfrm>
          <a:prstGeom prst="rect">
            <a:avLst/>
          </a:prstGeom>
          <a:noFill/>
          <a:ln>
            <a:noFill/>
          </a:ln>
        </p:spPr>
      </p:pic>
      <p:sp>
        <p:nvSpPr>
          <p:cNvPr id="465" name="Google Shape;465;p55"/>
          <p:cNvSpPr txBox="1">
            <a:spLocks noGrp="1"/>
          </p:cNvSpPr>
          <p:nvPr>
            <p:ph type="body" idx="1"/>
          </p:nvPr>
        </p:nvSpPr>
        <p:spPr>
          <a:xfrm>
            <a:off x="1126779" y="1463726"/>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mn-lt"/>
                <a:ea typeface="Figtree"/>
                <a:cs typeface="Figtree"/>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66" name="Google Shape;466;p55"/>
          <p:cNvSpPr txBox="1">
            <a:spLocks noGrp="1"/>
          </p:cNvSpPr>
          <p:nvPr>
            <p:ph type="body" idx="2"/>
          </p:nvPr>
        </p:nvSpPr>
        <p:spPr>
          <a:xfrm>
            <a:off x="3636433" y="3054502"/>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mn-lt"/>
                <a:ea typeface="Figtree"/>
                <a:cs typeface="Figtree"/>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67" name="Google Shape;467;p55"/>
          <p:cNvSpPr txBox="1">
            <a:spLocks noGrp="1"/>
          </p:cNvSpPr>
          <p:nvPr>
            <p:ph type="body" idx="3"/>
          </p:nvPr>
        </p:nvSpPr>
        <p:spPr>
          <a:xfrm>
            <a:off x="1126779" y="4647482"/>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mn-lt"/>
                <a:ea typeface="Figtree"/>
                <a:cs typeface="Figtree"/>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249500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24_Disposition personnalisée">
  <p:cSld name="24_Disposition personnalisée">
    <p:spTree>
      <p:nvGrpSpPr>
        <p:cNvPr id="1" name="Shape 468"/>
        <p:cNvGrpSpPr/>
        <p:nvPr/>
      </p:nvGrpSpPr>
      <p:grpSpPr>
        <a:xfrm>
          <a:off x="0" y="0"/>
          <a:ext cx="0" cy="0"/>
          <a:chOff x="0" y="0"/>
          <a:chExt cx="0" cy="0"/>
        </a:xfrm>
      </p:grpSpPr>
      <p:pic>
        <p:nvPicPr>
          <p:cNvPr id="469" name="Google Shape;469;p56"/>
          <p:cNvPicPr preferRelativeResize="0"/>
          <p:nvPr/>
        </p:nvPicPr>
        <p:blipFill rotWithShape="1">
          <a:blip r:embed="rId2">
            <a:alphaModFix/>
          </a:blip>
          <a:srcRect t="2199"/>
          <a:stretch/>
        </p:blipFill>
        <p:spPr>
          <a:xfrm>
            <a:off x="0" y="0"/>
            <a:ext cx="12192000" cy="6849464"/>
          </a:xfrm>
          <a:prstGeom prst="rect">
            <a:avLst/>
          </a:prstGeom>
          <a:noFill/>
          <a:ln>
            <a:noFill/>
          </a:ln>
        </p:spPr>
      </p:pic>
      <p:sp>
        <p:nvSpPr>
          <p:cNvPr id="472" name="Google Shape;472;p56"/>
          <p:cNvSpPr txBox="1">
            <a:spLocks noGrp="1"/>
          </p:cNvSpPr>
          <p:nvPr>
            <p:ph type="body" idx="1"/>
          </p:nvPr>
        </p:nvSpPr>
        <p:spPr>
          <a:xfrm>
            <a:off x="1126779" y="1752484"/>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73" name="Google Shape;473;p56"/>
          <p:cNvSpPr txBox="1">
            <a:spLocks noGrp="1"/>
          </p:cNvSpPr>
          <p:nvPr>
            <p:ph type="body" idx="2"/>
          </p:nvPr>
        </p:nvSpPr>
        <p:spPr>
          <a:xfrm>
            <a:off x="3754476" y="1146092"/>
            <a:ext cx="2023534" cy="153935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400" b="1"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74" name="Google Shape;474;p56"/>
          <p:cNvSpPr txBox="1">
            <a:spLocks noGrp="1"/>
          </p:cNvSpPr>
          <p:nvPr>
            <p:ph type="body" idx="3"/>
          </p:nvPr>
        </p:nvSpPr>
        <p:spPr>
          <a:xfrm>
            <a:off x="1126779" y="4365058"/>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75" name="Google Shape;475;p56"/>
          <p:cNvSpPr txBox="1">
            <a:spLocks noGrp="1"/>
          </p:cNvSpPr>
          <p:nvPr>
            <p:ph type="body" idx="4"/>
          </p:nvPr>
        </p:nvSpPr>
        <p:spPr>
          <a:xfrm>
            <a:off x="3636433" y="4365057"/>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714202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5_Disposition personnalisée">
  <p:cSld name="25_Disposition personnalisée">
    <p:spTree>
      <p:nvGrpSpPr>
        <p:cNvPr id="1" name="Shape 476"/>
        <p:cNvGrpSpPr/>
        <p:nvPr/>
      </p:nvGrpSpPr>
      <p:grpSpPr>
        <a:xfrm>
          <a:off x="0" y="0"/>
          <a:ext cx="0" cy="0"/>
          <a:chOff x="0" y="0"/>
          <a:chExt cx="0" cy="0"/>
        </a:xfrm>
      </p:grpSpPr>
      <p:pic>
        <p:nvPicPr>
          <p:cNvPr id="477" name="Google Shape;477;p57"/>
          <p:cNvPicPr preferRelativeResize="0"/>
          <p:nvPr/>
        </p:nvPicPr>
        <p:blipFill rotWithShape="1">
          <a:blip r:embed="rId2">
            <a:alphaModFix/>
          </a:blip>
          <a:srcRect t="1629"/>
          <a:stretch/>
        </p:blipFill>
        <p:spPr>
          <a:xfrm>
            <a:off x="0" y="0"/>
            <a:ext cx="12192000" cy="6849464"/>
          </a:xfrm>
          <a:prstGeom prst="rect">
            <a:avLst/>
          </a:prstGeom>
          <a:noFill/>
          <a:ln>
            <a:noFill/>
          </a:ln>
        </p:spPr>
      </p:pic>
      <p:sp>
        <p:nvSpPr>
          <p:cNvPr id="480" name="Google Shape;480;p57"/>
          <p:cNvSpPr txBox="1">
            <a:spLocks noGrp="1"/>
          </p:cNvSpPr>
          <p:nvPr>
            <p:ph type="body" idx="1"/>
          </p:nvPr>
        </p:nvSpPr>
        <p:spPr>
          <a:xfrm>
            <a:off x="645516" y="963212"/>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81" name="Google Shape;481;p57"/>
          <p:cNvSpPr txBox="1">
            <a:spLocks noGrp="1"/>
          </p:cNvSpPr>
          <p:nvPr>
            <p:ph type="body" idx="2"/>
          </p:nvPr>
        </p:nvSpPr>
        <p:spPr>
          <a:xfrm>
            <a:off x="4072466" y="963212"/>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82" name="Google Shape;482;p57"/>
          <p:cNvSpPr txBox="1">
            <a:spLocks noGrp="1"/>
          </p:cNvSpPr>
          <p:nvPr>
            <p:ph type="body" idx="3"/>
          </p:nvPr>
        </p:nvSpPr>
        <p:spPr>
          <a:xfrm>
            <a:off x="645516" y="5154329"/>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83" name="Google Shape;483;p57"/>
          <p:cNvSpPr txBox="1">
            <a:spLocks noGrp="1"/>
          </p:cNvSpPr>
          <p:nvPr>
            <p:ph type="body" idx="4"/>
          </p:nvPr>
        </p:nvSpPr>
        <p:spPr>
          <a:xfrm>
            <a:off x="4072466" y="5154329"/>
            <a:ext cx="2023534" cy="740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SzPts val="1400"/>
              <a:buNone/>
              <a:defRPr sz="2000" b="1"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Figtree"/>
              </a:defRPr>
            </a:lvl1pPr>
            <a:lvl2pPr marL="914400" marR="0" lvl="1"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59587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6_Disposition personnalisée" userDrawn="1">
  <p:cSld name="26_Disposition personnalisée">
    <p:spTree>
      <p:nvGrpSpPr>
        <p:cNvPr id="1" name="Shape 484"/>
        <p:cNvGrpSpPr/>
        <p:nvPr/>
      </p:nvGrpSpPr>
      <p:grpSpPr>
        <a:xfrm>
          <a:off x="0" y="0"/>
          <a:ext cx="0" cy="0"/>
          <a:chOff x="0" y="0"/>
          <a:chExt cx="0" cy="0"/>
        </a:xfrm>
      </p:grpSpPr>
      <p:pic>
        <p:nvPicPr>
          <p:cNvPr id="485" name="Google Shape;485;p58"/>
          <p:cNvPicPr preferRelativeResize="0"/>
          <p:nvPr/>
        </p:nvPicPr>
        <p:blipFill rotWithShape="1">
          <a:blip r:embed="rId2">
            <a:alphaModFix/>
          </a:blip>
          <a:srcRect/>
          <a:stretch/>
        </p:blipFill>
        <p:spPr>
          <a:xfrm>
            <a:off x="0" y="0"/>
            <a:ext cx="12192000" cy="6849464"/>
          </a:xfrm>
          <a:prstGeom prst="rect">
            <a:avLst/>
          </a:prstGeom>
          <a:noFill/>
          <a:ln>
            <a:noFill/>
          </a:ln>
        </p:spPr>
      </p:pic>
      <p:sp>
        <p:nvSpPr>
          <p:cNvPr id="2" name="Google Shape;409;p49">
            <a:extLst>
              <a:ext uri="{FF2B5EF4-FFF2-40B4-BE49-F238E27FC236}">
                <a16:creationId xmlns:a16="http://schemas.microsoft.com/office/drawing/2014/main" id="{EDD8D4F4-CC60-3CE4-A8E3-39425E8F07D5}"/>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1426597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8_Disposition personnalisée">
  <p:cSld name="28_Disposition personnalisée">
    <p:spTree>
      <p:nvGrpSpPr>
        <p:cNvPr id="1" name="Shape 494"/>
        <p:cNvGrpSpPr/>
        <p:nvPr/>
      </p:nvGrpSpPr>
      <p:grpSpPr>
        <a:xfrm>
          <a:off x="0" y="0"/>
          <a:ext cx="0" cy="0"/>
          <a:chOff x="0" y="0"/>
          <a:chExt cx="0" cy="0"/>
        </a:xfrm>
      </p:grpSpPr>
      <p:pic>
        <p:nvPicPr>
          <p:cNvPr id="495" name="Google Shape;495;p60"/>
          <p:cNvPicPr preferRelativeResize="0"/>
          <p:nvPr/>
        </p:nvPicPr>
        <p:blipFill rotWithShape="1">
          <a:blip r:embed="rId2">
            <a:alphaModFix/>
          </a:blip>
          <a:srcRect/>
          <a:stretch/>
        </p:blipFill>
        <p:spPr>
          <a:xfrm>
            <a:off x="0" y="6635"/>
            <a:ext cx="12192000" cy="6842830"/>
          </a:xfrm>
          <a:prstGeom prst="rect">
            <a:avLst/>
          </a:prstGeom>
          <a:noFill/>
          <a:ln>
            <a:noFill/>
          </a:ln>
        </p:spPr>
      </p:pic>
      <p:sp>
        <p:nvSpPr>
          <p:cNvPr id="496" name="Google Shape;496;p60"/>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lvl="0" indent="0" algn="r">
              <a:buClr>
                <a:schemeClr val="dk2"/>
              </a:buClr>
              <a:buSzPts val="1300"/>
              <a:buFont typeface="Figtree"/>
              <a:buNone/>
              <a:defRPr/>
            </a:lvl1pPr>
            <a:lvl2pPr marL="0" lvl="1" indent="0" algn="r">
              <a:buClr>
                <a:schemeClr val="dk2"/>
              </a:buClr>
              <a:buSzPts val="1300"/>
              <a:buFont typeface="Figtree"/>
              <a:buNone/>
              <a:defRPr/>
            </a:lvl2pPr>
            <a:lvl3pPr marL="0" lvl="2" indent="0" algn="r">
              <a:buClr>
                <a:schemeClr val="dk2"/>
              </a:buClr>
              <a:buSzPts val="1300"/>
              <a:buFont typeface="Figtree"/>
              <a:buNone/>
              <a:defRPr/>
            </a:lvl3pPr>
            <a:lvl4pPr marL="0" lvl="3" indent="0" algn="r">
              <a:buClr>
                <a:schemeClr val="dk2"/>
              </a:buClr>
              <a:buSzPts val="1300"/>
              <a:buFont typeface="Figtree"/>
              <a:buNone/>
              <a:defRPr/>
            </a:lvl4pPr>
            <a:lvl5pPr marL="0" lvl="4" indent="0" algn="r">
              <a:buClr>
                <a:schemeClr val="dk2"/>
              </a:buClr>
              <a:buSzPts val="1300"/>
              <a:buFont typeface="Figtree"/>
              <a:buNone/>
              <a:defRPr/>
            </a:lvl5pPr>
            <a:lvl6pPr marL="0" lvl="5" indent="0" algn="r">
              <a:buClr>
                <a:schemeClr val="dk2"/>
              </a:buClr>
              <a:buSzPts val="1300"/>
              <a:buFont typeface="Figtree"/>
              <a:buNone/>
              <a:defRPr/>
            </a:lvl6pPr>
            <a:lvl7pPr marL="0" lvl="6" indent="0" algn="r">
              <a:buClr>
                <a:schemeClr val="dk2"/>
              </a:buClr>
              <a:buSzPts val="1300"/>
              <a:buFont typeface="Figtree"/>
              <a:buNone/>
              <a:defRPr/>
            </a:lvl7pPr>
            <a:lvl8pPr marL="0" lvl="7" indent="0" algn="r">
              <a:buClr>
                <a:schemeClr val="dk2"/>
              </a:buClr>
              <a:buSzPts val="1300"/>
              <a:buFont typeface="Figtree"/>
              <a:buNone/>
              <a:defRPr/>
            </a:lvl8pPr>
            <a:lvl9pPr marL="0" lvl="8" indent="0" algn="r">
              <a:buClr>
                <a:schemeClr val="dk2"/>
              </a:buClr>
              <a:buSzPts val="1300"/>
              <a:buFont typeface="Figtree"/>
              <a:buNone/>
              <a:defRPr/>
            </a:lvl9pPr>
          </a:lstStyle>
          <a:p>
            <a:pPr marL="0" lvl="0" indent="0" algn="r" rtl="0">
              <a:spcBef>
                <a:spcPts val="0"/>
              </a:spcBef>
              <a:spcAft>
                <a:spcPts val="0"/>
              </a:spcAft>
              <a:buNone/>
            </a:pPr>
            <a:fld id="{00000000-1234-1234-1234-123412341234}" type="slidenum">
              <a:rPr lang="fr-FR"/>
              <a:t>‹N°›</a:t>
            </a:fld>
            <a:endParaRPr/>
          </a:p>
        </p:txBody>
      </p:sp>
      <p:sp>
        <p:nvSpPr>
          <p:cNvPr id="497" name="Google Shape;497;p60"/>
          <p:cNvSpPr txBox="1">
            <a:spLocks noGrp="1"/>
          </p:cNvSpPr>
          <p:nvPr>
            <p:ph type="ftr" idx="11"/>
          </p:nvPr>
        </p:nvSpPr>
        <p:spPr>
          <a:xfrm>
            <a:off x="533400" y="6484339"/>
            <a:ext cx="411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8" name="Google Shape;498;p60"/>
          <p:cNvSpPr txBox="1">
            <a:spLocks noGrp="1"/>
          </p:cNvSpPr>
          <p:nvPr>
            <p:ph type="title"/>
          </p:nvPr>
        </p:nvSpPr>
        <p:spPr>
          <a:xfrm>
            <a:off x="5143500" y="3621924"/>
            <a:ext cx="3078480" cy="1773035"/>
          </a:xfrm>
          <a:prstGeom prst="rect">
            <a:avLst/>
          </a:prstGeom>
          <a:noFill/>
          <a:ln>
            <a:noFill/>
          </a:ln>
        </p:spPr>
        <p:txBody>
          <a:bodyPr spcFirstLastPara="1" wrap="square" lIns="91425" tIns="45700" rIns="91425" bIns="45700" anchor="ctr" anchorCtr="0">
            <a:normAutofit/>
          </a:bodyPr>
          <a:lstStyle>
            <a:lvl1pPr marR="0" lvl="0" algn="l" rtl="0">
              <a:lnSpc>
                <a:spcPct val="100000"/>
              </a:lnSpc>
              <a:spcBef>
                <a:spcPts val="0"/>
              </a:spcBef>
              <a:spcAft>
                <a:spcPts val="0"/>
              </a:spcAft>
              <a:buSzPts val="1400"/>
              <a:buNone/>
              <a:defRPr sz="2000" b="0" i="0" u="none" strike="noStrike" cap="none">
                <a:solidFill>
                  <a:schemeClr val="lt1"/>
                </a:solidFill>
                <a:latin typeface="Figtree Black"/>
                <a:ea typeface="Figtree Black"/>
                <a:cs typeface="Figtree Black"/>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474836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lank" userDrawn="1">
  <p:cSld name="1_Blank">
    <p:spTree>
      <p:nvGrpSpPr>
        <p:cNvPr id="1" name="Shape 547"/>
        <p:cNvGrpSpPr/>
        <p:nvPr/>
      </p:nvGrpSpPr>
      <p:grpSpPr>
        <a:xfrm>
          <a:off x="0" y="0"/>
          <a:ext cx="0" cy="0"/>
          <a:chOff x="0" y="0"/>
          <a:chExt cx="0" cy="0"/>
        </a:xfrm>
      </p:grpSpPr>
      <p:sp>
        <p:nvSpPr>
          <p:cNvPr id="548" name="Google Shape;548;p65"/>
          <p:cNvSpPr/>
          <p:nvPr userDrawn="1"/>
        </p:nvSpPr>
        <p:spPr>
          <a:xfrm>
            <a:off x="0" y="5305425"/>
            <a:ext cx="12192000" cy="1552575"/>
          </a:xfrm>
          <a:prstGeom prst="rect">
            <a:avLst/>
          </a:prstGeom>
          <a:solidFill>
            <a:srgbClr val="BBD8C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50" name="Google Shape;550;p65"/>
          <p:cNvSpPr/>
          <p:nvPr/>
        </p:nvSpPr>
        <p:spPr>
          <a:xfrm>
            <a:off x="490854" y="974573"/>
            <a:ext cx="11210292" cy="5505450"/>
          </a:xfrm>
          <a:prstGeom prst="roundRect">
            <a:avLst>
              <a:gd name="adj" fmla="val 6775"/>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rgbClr val="DAE8E9">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2" name="Google Shape;409;p49">
            <a:extLst>
              <a:ext uri="{FF2B5EF4-FFF2-40B4-BE49-F238E27FC236}">
                <a16:creationId xmlns:a16="http://schemas.microsoft.com/office/drawing/2014/main" id="{8C13DF30-DA9B-496D-D3C8-1F07F8844D62}"/>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2020542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userDrawn="1">
  <p:cSld name="1_Blank">
    <p:spTree>
      <p:nvGrpSpPr>
        <p:cNvPr id="1" name="Shape 563"/>
        <p:cNvGrpSpPr/>
        <p:nvPr/>
      </p:nvGrpSpPr>
      <p:grpSpPr>
        <a:xfrm>
          <a:off x="0" y="0"/>
          <a:ext cx="0" cy="0"/>
          <a:chOff x="0" y="0"/>
          <a:chExt cx="0" cy="0"/>
        </a:xfrm>
      </p:grpSpPr>
      <p:grpSp>
        <p:nvGrpSpPr>
          <p:cNvPr id="564" name="Google Shape;564;p67"/>
          <p:cNvGrpSpPr/>
          <p:nvPr/>
        </p:nvGrpSpPr>
        <p:grpSpPr>
          <a:xfrm>
            <a:off x="0" y="0"/>
            <a:ext cx="12192000" cy="6849464"/>
            <a:chOff x="0" y="0"/>
            <a:chExt cx="12192000" cy="6849464"/>
          </a:xfrm>
        </p:grpSpPr>
        <p:sp>
          <p:nvSpPr>
            <p:cNvPr id="565" name="Google Shape;565;p67"/>
            <p:cNvSpPr/>
            <p:nvPr/>
          </p:nvSpPr>
          <p:spPr>
            <a:xfrm>
              <a:off x="0" y="0"/>
              <a:ext cx="12192000" cy="6849464"/>
            </a:xfrm>
            <a:prstGeom prst="rect">
              <a:avLst/>
            </a:prstGeom>
            <a:gradFill>
              <a:gsLst>
                <a:gs pos="0">
                  <a:srgbClr val="FCFDFD"/>
                </a:gs>
                <a:gs pos="74000">
                  <a:srgbClr val="ECF4F1"/>
                </a:gs>
                <a:gs pos="83000">
                  <a:srgbClr val="ECF4F1"/>
                </a:gs>
                <a:gs pos="100000">
                  <a:srgbClr val="F2F8F6"/>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pic>
          <p:nvPicPr>
            <p:cNvPr id="566" name="Google Shape;566;p67"/>
            <p:cNvPicPr preferRelativeResize="0"/>
            <p:nvPr/>
          </p:nvPicPr>
          <p:blipFill rotWithShape="1">
            <a:blip r:embed="rId2">
              <a:alphaModFix amt="35000"/>
            </a:blip>
            <a:srcRect l="3778" t="3412" r="853" b="17325"/>
            <a:stretch/>
          </p:blipFill>
          <p:spPr>
            <a:xfrm rot="10800000">
              <a:off x="0" y="8536"/>
              <a:ext cx="12192000" cy="5651501"/>
            </a:xfrm>
            <a:prstGeom prst="rect">
              <a:avLst/>
            </a:prstGeom>
            <a:noFill/>
            <a:ln>
              <a:noFill/>
            </a:ln>
          </p:spPr>
        </p:pic>
      </p:grpSp>
      <p:sp>
        <p:nvSpPr>
          <p:cNvPr id="567" name="Google Shape;567;p67"/>
          <p:cNvSpPr/>
          <p:nvPr/>
        </p:nvSpPr>
        <p:spPr>
          <a:xfrm>
            <a:off x="0" y="5305425"/>
            <a:ext cx="12192000" cy="1552575"/>
          </a:xfrm>
          <a:prstGeom prst="rect">
            <a:avLst/>
          </a:prstGeom>
          <a:solidFill>
            <a:srgbClr val="BBD8C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70" name="Google Shape;570;p67"/>
          <p:cNvSpPr/>
          <p:nvPr/>
        </p:nvSpPr>
        <p:spPr>
          <a:xfrm>
            <a:off x="575943" y="984796"/>
            <a:ext cx="5300982" cy="2622771"/>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71" name="Google Shape;571;p67"/>
          <p:cNvSpPr/>
          <p:nvPr/>
        </p:nvSpPr>
        <p:spPr>
          <a:xfrm>
            <a:off x="575943" y="3896382"/>
            <a:ext cx="5300982" cy="2622771"/>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72" name="Google Shape;572;p67"/>
          <p:cNvSpPr/>
          <p:nvPr/>
        </p:nvSpPr>
        <p:spPr>
          <a:xfrm>
            <a:off x="6315077" y="984796"/>
            <a:ext cx="5300982" cy="2622771"/>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73" name="Google Shape;573;p67"/>
          <p:cNvSpPr/>
          <p:nvPr/>
        </p:nvSpPr>
        <p:spPr>
          <a:xfrm>
            <a:off x="6315077" y="3896382"/>
            <a:ext cx="5300982" cy="2622771"/>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2" name="Google Shape;409;p49">
            <a:extLst>
              <a:ext uri="{FF2B5EF4-FFF2-40B4-BE49-F238E27FC236}">
                <a16:creationId xmlns:a16="http://schemas.microsoft.com/office/drawing/2014/main" id="{329E7389-AA34-1E94-43D4-8F72F0C8057C}"/>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076891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userDrawn="1">
  <p:cSld name="1_Blank">
    <p:spTree>
      <p:nvGrpSpPr>
        <p:cNvPr id="1" name="Shape 575"/>
        <p:cNvGrpSpPr/>
        <p:nvPr/>
      </p:nvGrpSpPr>
      <p:grpSpPr>
        <a:xfrm>
          <a:off x="0" y="0"/>
          <a:ext cx="0" cy="0"/>
          <a:chOff x="0" y="0"/>
          <a:chExt cx="0" cy="0"/>
        </a:xfrm>
      </p:grpSpPr>
      <p:sp>
        <p:nvSpPr>
          <p:cNvPr id="579" name="Google Shape;579;p68"/>
          <p:cNvSpPr/>
          <p:nvPr/>
        </p:nvSpPr>
        <p:spPr>
          <a:xfrm>
            <a:off x="575943" y="984796"/>
            <a:ext cx="5300982" cy="2622771"/>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80" name="Google Shape;580;p68"/>
          <p:cNvSpPr/>
          <p:nvPr/>
        </p:nvSpPr>
        <p:spPr>
          <a:xfrm>
            <a:off x="575943" y="3896382"/>
            <a:ext cx="5300982" cy="2622771"/>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81" name="Google Shape;581;p68"/>
          <p:cNvSpPr/>
          <p:nvPr/>
        </p:nvSpPr>
        <p:spPr>
          <a:xfrm>
            <a:off x="6315075" y="984796"/>
            <a:ext cx="5300982" cy="5534357"/>
          </a:xfrm>
          <a:prstGeom prst="roundRect">
            <a:avLst>
              <a:gd name="adj" fmla="val 2188"/>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2" name="Google Shape;409;p49">
            <a:extLst>
              <a:ext uri="{FF2B5EF4-FFF2-40B4-BE49-F238E27FC236}">
                <a16:creationId xmlns:a16="http://schemas.microsoft.com/office/drawing/2014/main" id="{D477229A-43B1-FC48-A3C3-819180F5B412}"/>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0362554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userDrawn="1">
  <p:cSld name="1_Blank">
    <p:spTree>
      <p:nvGrpSpPr>
        <p:cNvPr id="1" name="Shape 583"/>
        <p:cNvGrpSpPr/>
        <p:nvPr/>
      </p:nvGrpSpPr>
      <p:grpSpPr>
        <a:xfrm>
          <a:off x="0" y="0"/>
          <a:ext cx="0" cy="0"/>
          <a:chOff x="0" y="0"/>
          <a:chExt cx="0" cy="0"/>
        </a:xfrm>
      </p:grpSpPr>
      <p:sp>
        <p:nvSpPr>
          <p:cNvPr id="584" name="Google Shape;584;p69"/>
          <p:cNvSpPr/>
          <p:nvPr/>
        </p:nvSpPr>
        <p:spPr>
          <a:xfrm>
            <a:off x="0" y="5305425"/>
            <a:ext cx="12192000" cy="1552575"/>
          </a:xfrm>
          <a:prstGeom prst="rect">
            <a:avLst/>
          </a:prstGeom>
          <a:solidFill>
            <a:srgbClr val="BBD8C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87" name="Google Shape;587;p69"/>
          <p:cNvSpPr/>
          <p:nvPr/>
        </p:nvSpPr>
        <p:spPr>
          <a:xfrm>
            <a:off x="6316343" y="984796"/>
            <a:ext cx="5300982" cy="2622771"/>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88" name="Google Shape;588;p69"/>
          <p:cNvSpPr/>
          <p:nvPr/>
        </p:nvSpPr>
        <p:spPr>
          <a:xfrm>
            <a:off x="6316343" y="3896382"/>
            <a:ext cx="5300982" cy="2622771"/>
          </a:xfrm>
          <a:prstGeom prst="roundRect">
            <a:avLst>
              <a:gd name="adj" fmla="val 4823"/>
            </a:avLst>
          </a:prstGeom>
          <a:solidFill>
            <a:schemeClr val="accent2">
              <a:lumMod val="90000"/>
            </a:schemeClr>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89" name="Google Shape;589;p69"/>
          <p:cNvSpPr/>
          <p:nvPr/>
        </p:nvSpPr>
        <p:spPr>
          <a:xfrm>
            <a:off x="574675" y="984796"/>
            <a:ext cx="5300982" cy="5534357"/>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2" name="Google Shape;409;p49">
            <a:extLst>
              <a:ext uri="{FF2B5EF4-FFF2-40B4-BE49-F238E27FC236}">
                <a16:creationId xmlns:a16="http://schemas.microsoft.com/office/drawing/2014/main" id="{3E35BB31-CDA5-8A97-A180-A6DD545A22EA}"/>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4999843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userDrawn="1">
  <p:cSld name="1_Blank">
    <p:spTree>
      <p:nvGrpSpPr>
        <p:cNvPr id="1" name="Shape 591"/>
        <p:cNvGrpSpPr/>
        <p:nvPr/>
      </p:nvGrpSpPr>
      <p:grpSpPr>
        <a:xfrm>
          <a:off x="0" y="0"/>
          <a:ext cx="0" cy="0"/>
          <a:chOff x="0" y="0"/>
          <a:chExt cx="0" cy="0"/>
        </a:xfrm>
      </p:grpSpPr>
      <p:sp>
        <p:nvSpPr>
          <p:cNvPr id="594" name="Google Shape;594;p70"/>
          <p:cNvSpPr/>
          <p:nvPr/>
        </p:nvSpPr>
        <p:spPr>
          <a:xfrm>
            <a:off x="7975600" y="1016000"/>
            <a:ext cx="4216400" cy="5067300"/>
          </a:xfrm>
          <a:prstGeom prst="roundRect">
            <a:avLst>
              <a:gd name="adj" fmla="val 0"/>
            </a:avLst>
          </a:prstGeom>
          <a:solidFill>
            <a:srgbClr val="FEEDD8">
              <a:alpha val="88627"/>
            </a:srgbClr>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595" name="Google Shape;595;p70"/>
          <p:cNvSpPr/>
          <p:nvPr/>
        </p:nvSpPr>
        <p:spPr>
          <a:xfrm>
            <a:off x="351154" y="974573"/>
            <a:ext cx="7256146" cy="5108727"/>
          </a:xfrm>
          <a:prstGeom prst="roundRect">
            <a:avLst>
              <a:gd name="adj" fmla="val 6775"/>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rgbClr val="DAE8E9">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2" name="Google Shape;409;p49">
            <a:extLst>
              <a:ext uri="{FF2B5EF4-FFF2-40B4-BE49-F238E27FC236}">
                <a16:creationId xmlns:a16="http://schemas.microsoft.com/office/drawing/2014/main" id="{66CFCCB1-0330-2703-4D9A-E0E855FA8ED8}"/>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361177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3_Disposition personnalisée" userDrawn="1">
  <p:cSld name="3_Disposition personnalisée">
    <p:spTree>
      <p:nvGrpSpPr>
        <p:cNvPr id="1" name="Shape 148"/>
        <p:cNvGrpSpPr/>
        <p:nvPr/>
      </p:nvGrpSpPr>
      <p:grpSpPr>
        <a:xfrm>
          <a:off x="0" y="0"/>
          <a:ext cx="0" cy="0"/>
          <a:chOff x="0" y="0"/>
          <a:chExt cx="0" cy="0"/>
        </a:xfrm>
      </p:grpSpPr>
      <p:pic>
        <p:nvPicPr>
          <p:cNvPr id="149" name="Google Shape;149;p23"/>
          <p:cNvPicPr preferRelativeResize="0"/>
          <p:nvPr/>
        </p:nvPicPr>
        <p:blipFill rotWithShape="1">
          <a:blip r:embed="rId2">
            <a:alphaModFix/>
          </a:blip>
          <a:srcRect t="2154" r="53" b="1392"/>
          <a:stretch/>
        </p:blipFill>
        <p:spPr>
          <a:xfrm>
            <a:off x="0" y="8536"/>
            <a:ext cx="12532093" cy="6849464"/>
          </a:xfrm>
          <a:prstGeom prst="rect">
            <a:avLst/>
          </a:prstGeom>
          <a:noFill/>
          <a:ln>
            <a:noFill/>
          </a:ln>
        </p:spPr>
      </p:pic>
      <p:sp>
        <p:nvSpPr>
          <p:cNvPr id="2" name="Google Shape;409;p49">
            <a:extLst>
              <a:ext uri="{FF2B5EF4-FFF2-40B4-BE49-F238E27FC236}">
                <a16:creationId xmlns:a16="http://schemas.microsoft.com/office/drawing/2014/main" id="{11AE5AE4-FF6A-AC4E-75BE-8EC6F8E7E333}"/>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930399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urs transvers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709EC8-7A0A-6830-0C19-C122A3FD946A}"/>
              </a:ext>
            </a:extLst>
          </p:cNvPr>
          <p:cNvSpPr>
            <a:spLocks noGrp="1"/>
          </p:cNvSpPr>
          <p:nvPr>
            <p:ph type="title"/>
          </p:nvPr>
        </p:nvSpPr>
        <p:spPr>
          <a:xfrm>
            <a:off x="776727" y="145488"/>
            <a:ext cx="10196073" cy="540000"/>
          </a:xfrm>
          <a:prstGeom prst="rect">
            <a:avLst/>
          </a:prstGeom>
        </p:spPr>
        <p:txBody>
          <a:bodyPr lIns="108000" tIns="0" rIns="0" bIns="0" anchor="ctr"/>
          <a:lstStyle>
            <a:lvl1pPr>
              <a:defRPr sz="3600">
                <a:solidFill>
                  <a:srgbClr val="00664B"/>
                </a:solidFill>
                <a:latin typeface="Aptos ExtraBold" panose="020B0004020202020204" pitchFamily="34" charset="0"/>
              </a:defRPr>
            </a:lvl1pPr>
          </a:lstStyle>
          <a:p>
            <a:r>
              <a:rPr lang="fr-FR" dirty="0"/>
              <a:t>Modifiez le style du titre</a:t>
            </a:r>
          </a:p>
        </p:txBody>
      </p:sp>
      <p:sp>
        <p:nvSpPr>
          <p:cNvPr id="7" name="Espace réservé du numéro de diapositive 5">
            <a:extLst>
              <a:ext uri="{FF2B5EF4-FFF2-40B4-BE49-F238E27FC236}">
                <a16:creationId xmlns:a16="http://schemas.microsoft.com/office/drawing/2014/main" id="{737E242C-8BC6-3634-31C2-1783F535E306}"/>
              </a:ext>
            </a:extLst>
          </p:cNvPr>
          <p:cNvSpPr txBox="1">
            <a:spLocks/>
          </p:cNvSpPr>
          <p:nvPr userDrawn="1"/>
        </p:nvSpPr>
        <p:spPr>
          <a:xfrm>
            <a:off x="5634187" y="6591330"/>
            <a:ext cx="923626" cy="266670"/>
          </a:xfrm>
          <a:prstGeom prst="rect">
            <a:avLst/>
          </a:prstGeom>
        </p:spPr>
        <p:txBody>
          <a:bodyPr anchor="ctr"/>
          <a:lstStyle>
            <a:defPPr>
              <a:defRPr lang="fr-FR"/>
            </a:defPPr>
            <a:lvl1pPr marL="0" algn="ctr" defTabSz="914400" rtl="0" eaLnBrk="1" latinLnBrk="0" hangingPunct="1">
              <a:defRPr lang="fr-FR" sz="12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3CFCD4-8A9B-4F9D-9B19-BFB864D10F1A}" type="slidenum">
              <a:rPr lang="fr-FR" smtClean="0"/>
              <a:pPr/>
              <a:t>‹N°›</a:t>
            </a:fld>
            <a:endParaRPr lang="fr-FR"/>
          </a:p>
        </p:txBody>
      </p:sp>
      <p:grpSp>
        <p:nvGrpSpPr>
          <p:cNvPr id="11" name="Groupe 10">
            <a:extLst>
              <a:ext uri="{FF2B5EF4-FFF2-40B4-BE49-F238E27FC236}">
                <a16:creationId xmlns:a16="http://schemas.microsoft.com/office/drawing/2014/main" id="{3E0E0F41-AFD4-3976-59DB-9721211C3564}"/>
              </a:ext>
            </a:extLst>
          </p:cNvPr>
          <p:cNvGrpSpPr/>
          <p:nvPr userDrawn="1"/>
        </p:nvGrpSpPr>
        <p:grpSpPr>
          <a:xfrm>
            <a:off x="11252250" y="135760"/>
            <a:ext cx="792000" cy="792000"/>
            <a:chOff x="504824" y="1678405"/>
            <a:chExt cx="2880000" cy="2880000"/>
          </a:xfrm>
        </p:grpSpPr>
        <p:sp>
          <p:nvSpPr>
            <p:cNvPr id="12" name="Ellipse 11">
              <a:extLst>
                <a:ext uri="{FF2B5EF4-FFF2-40B4-BE49-F238E27FC236}">
                  <a16:creationId xmlns:a16="http://schemas.microsoft.com/office/drawing/2014/main" id="{BCE3518D-76B1-FB3C-B8EF-E304A8844254}"/>
                </a:ext>
              </a:extLst>
            </p:cNvPr>
            <p:cNvSpPr/>
            <p:nvPr userDrawn="1"/>
          </p:nvSpPr>
          <p:spPr>
            <a:xfrm>
              <a:off x="504824" y="1678405"/>
              <a:ext cx="2880000" cy="2880000"/>
            </a:xfrm>
            <a:prstGeom prst="ellipse">
              <a:avLst/>
            </a:prstGeom>
            <a:solidFill>
              <a:srgbClr val="0066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3" name="Groupe 12">
              <a:extLst>
                <a:ext uri="{FF2B5EF4-FFF2-40B4-BE49-F238E27FC236}">
                  <a16:creationId xmlns:a16="http://schemas.microsoft.com/office/drawing/2014/main" id="{BC923D6A-B469-237A-1CC8-6D60C6EC656E}"/>
                </a:ext>
              </a:extLst>
            </p:cNvPr>
            <p:cNvGrpSpPr/>
            <p:nvPr userDrawn="1"/>
          </p:nvGrpSpPr>
          <p:grpSpPr>
            <a:xfrm>
              <a:off x="869510" y="1919258"/>
              <a:ext cx="2150629" cy="2169695"/>
              <a:chOff x="600795" y="1678405"/>
              <a:chExt cx="2648891" cy="2672374"/>
            </a:xfrm>
          </p:grpSpPr>
          <p:pic>
            <p:nvPicPr>
              <p:cNvPr id="15" name="Graphique 14">
                <a:extLst>
                  <a:ext uri="{FF2B5EF4-FFF2-40B4-BE49-F238E27FC236}">
                    <a16:creationId xmlns:a16="http://schemas.microsoft.com/office/drawing/2014/main" id="{3B581DF2-9A32-5E5A-6868-C3332756C6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0795" y="1678405"/>
                <a:ext cx="2648891" cy="2672374"/>
              </a:xfrm>
              <a:prstGeom prst="rect">
                <a:avLst/>
              </a:prstGeom>
            </p:spPr>
          </p:pic>
          <p:pic>
            <p:nvPicPr>
              <p:cNvPr id="16" name="Graphique 15">
                <a:extLst>
                  <a:ext uri="{FF2B5EF4-FFF2-40B4-BE49-F238E27FC236}">
                    <a16:creationId xmlns:a16="http://schemas.microsoft.com/office/drawing/2014/main" id="{31F6D2CA-87F2-7E5A-C6B6-D2F6F85C063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087962" y="3004165"/>
                <a:ext cx="1042457" cy="864949"/>
              </a:xfrm>
              <a:prstGeom prst="rect">
                <a:avLst/>
              </a:prstGeom>
            </p:spPr>
          </p:pic>
          <p:pic>
            <p:nvPicPr>
              <p:cNvPr id="17" name="Graphique 16">
                <a:extLst>
                  <a:ext uri="{FF2B5EF4-FFF2-40B4-BE49-F238E27FC236}">
                    <a16:creationId xmlns:a16="http://schemas.microsoft.com/office/drawing/2014/main" id="{BEDAB4D0-18CD-13F8-B71C-723D8DC176B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88970" y="2909632"/>
                <a:ext cx="952783" cy="952782"/>
              </a:xfrm>
              <a:prstGeom prst="rect">
                <a:avLst/>
              </a:prstGeom>
            </p:spPr>
          </p:pic>
          <p:sp>
            <p:nvSpPr>
              <p:cNvPr id="18" name="Signe Plus 17">
                <a:extLst>
                  <a:ext uri="{FF2B5EF4-FFF2-40B4-BE49-F238E27FC236}">
                    <a16:creationId xmlns:a16="http://schemas.microsoft.com/office/drawing/2014/main" id="{D4553049-11A4-6DC5-C0DF-4E184D94D3EB}"/>
                  </a:ext>
                </a:extLst>
              </p:cNvPr>
              <p:cNvSpPr/>
              <p:nvPr userDrawn="1"/>
            </p:nvSpPr>
            <p:spPr>
              <a:xfrm>
                <a:off x="987765" y="3108427"/>
                <a:ext cx="555191" cy="555191"/>
              </a:xfrm>
              <a:prstGeom prst="mathPlus">
                <a:avLst/>
              </a:prstGeom>
              <a:solidFill>
                <a:srgbClr val="00664B"/>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Aptos" panose="02110004020202020204"/>
                  <a:ea typeface="+mn-ea"/>
                  <a:cs typeface="+mn-cs"/>
                </a:endParaRPr>
              </a:p>
            </p:txBody>
          </p:sp>
        </p:grpSp>
      </p:grpSp>
    </p:spTree>
    <p:extLst>
      <p:ext uri="{BB962C8B-B14F-4D97-AF65-F5344CB8AC3E}">
        <p14:creationId xmlns:p14="http://schemas.microsoft.com/office/powerpoint/2010/main" val="1852976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3702C3-CB48-4985-2FC5-5A54339E24BB}"/>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81514C0A-2DB6-03DA-7670-349A55B557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B5EF53BB-2BC9-0176-2FE5-3B18CAA53D7F}"/>
              </a:ext>
            </a:extLst>
          </p:cNvPr>
          <p:cNvSpPr>
            <a:spLocks noGrp="1"/>
          </p:cNvSpPr>
          <p:nvPr>
            <p:ph type="dt" sz="half" idx="10"/>
          </p:nvPr>
        </p:nvSpPr>
        <p:spPr/>
        <p:txBody>
          <a:bodyPr/>
          <a:lstStyle/>
          <a:p>
            <a:fld id="{694DC9DF-8292-405F-8670-BD53DB6F9718}" type="datetimeFigureOut">
              <a:rPr lang="fr-FR" smtClean="0"/>
              <a:t>11/03/2026</a:t>
            </a:fld>
            <a:endParaRPr lang="fr-FR"/>
          </a:p>
        </p:txBody>
      </p:sp>
      <p:sp>
        <p:nvSpPr>
          <p:cNvPr id="5" name="Espace réservé du pied de page 4">
            <a:extLst>
              <a:ext uri="{FF2B5EF4-FFF2-40B4-BE49-F238E27FC236}">
                <a16:creationId xmlns:a16="http://schemas.microsoft.com/office/drawing/2014/main" id="{A9B19312-EA79-4DA2-0006-C8DBC592BD8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BD33ACF-5F6E-4910-0479-FE1BD057F0B5}"/>
              </a:ext>
            </a:extLst>
          </p:cNvPr>
          <p:cNvSpPr>
            <a:spLocks noGrp="1"/>
          </p:cNvSpPr>
          <p:nvPr>
            <p:ph type="sldNum" sz="quarter" idx="12"/>
          </p:nvPr>
        </p:nvSpPr>
        <p:spPr/>
        <p:txBody>
          <a:bodyPr/>
          <a:lstStyle/>
          <a:p>
            <a:fld id="{044CDA46-E8DE-4A5B-9653-E7DED6EEDE94}" type="slidenum">
              <a:rPr lang="fr-FR" smtClean="0"/>
              <a:t>‹N°›</a:t>
            </a:fld>
            <a:endParaRPr lang="fr-FR"/>
          </a:p>
        </p:txBody>
      </p:sp>
    </p:spTree>
    <p:extLst>
      <p:ext uri="{BB962C8B-B14F-4D97-AF65-F5344CB8AC3E}">
        <p14:creationId xmlns:p14="http://schemas.microsoft.com/office/powerpoint/2010/main" val="32511174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Derniere">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6E4698-0CBF-7706-56A4-548FCD96F48F}"/>
              </a:ext>
            </a:extLst>
          </p:cNvPr>
          <p:cNvSpPr/>
          <p:nvPr userDrawn="1"/>
        </p:nvSpPr>
        <p:spPr>
          <a:xfrm>
            <a:off x="0" y="5769380"/>
            <a:ext cx="12192000" cy="10886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p:cNvSpPr>
            <a:spLocks noGrp="1"/>
          </p:cNvSpPr>
          <p:nvPr>
            <p:ph type="dt" sz="half" idx="12"/>
          </p:nvPr>
        </p:nvSpPr>
        <p:spPr>
          <a:xfrm>
            <a:off x="5058768" y="6218807"/>
            <a:ext cx="1965280" cy="267822"/>
          </a:xfrm>
          <a:prstGeom prst="rect">
            <a:avLst/>
          </a:prstGeom>
        </p:spPr>
        <p:txBody>
          <a:bodyPr lIns="0" tIns="0" rIns="0" bIns="0"/>
          <a:lstStyle>
            <a:lvl1pPr algn="ctr">
              <a:defRPr sz="1000">
                <a:solidFill>
                  <a:schemeClr val="accent1"/>
                </a:solidFill>
                <a:latin typeface="Figtree Black" panose="020B0604020202020204" charset="0"/>
              </a:defRPr>
            </a:lvl1pPr>
          </a:lstStyle>
          <a:p>
            <a:fld id="{DBA35CEB-0DC9-4562-971F-9E39569A9E77}" type="datetime1">
              <a:rPr lang="fr-FR" smtClean="0"/>
              <a:pPr/>
              <a:t>11/03/2026</a:t>
            </a:fld>
            <a:endParaRPr lang="fr-FR"/>
          </a:p>
        </p:txBody>
      </p:sp>
      <p:pic>
        <p:nvPicPr>
          <p:cNvPr id="2" name="Picture 4" descr="Au Crédit Agricole, engagez-vous pour la transition environnementale –  L'interview d'Eric Campos">
            <a:extLst>
              <a:ext uri="{FF2B5EF4-FFF2-40B4-BE49-F238E27FC236}">
                <a16:creationId xmlns:a16="http://schemas.microsoft.com/office/drawing/2014/main" id="{EEA45F42-B27B-F60B-AB33-D1DE310F94B4}"/>
              </a:ext>
            </a:extLst>
          </p:cNvPr>
          <p:cNvPicPr>
            <a:picLocks noChangeAspect="1" noChangeArrowheads="1"/>
          </p:cNvPicPr>
          <p:nvPr userDrawn="1"/>
        </p:nvPicPr>
        <p:blipFill>
          <a:blip r:embed="rId2">
            <a:alphaModFix/>
            <a:extLst>
              <a:ext uri="{28A0092B-C50C-407E-A947-70E740481C1C}">
                <a14:useLocalDpi xmlns:a14="http://schemas.microsoft.com/office/drawing/2010/main"/>
              </a:ext>
            </a:extLst>
          </a:blip>
          <a:srcRect/>
          <a:stretch>
            <a:fillRect/>
          </a:stretch>
        </p:blipFill>
        <p:spPr bwMode="auto">
          <a:xfrm>
            <a:off x="5833939" y="1467224"/>
            <a:ext cx="5885328" cy="3923552"/>
          </a:xfrm>
          <a:prstGeom prst="roundRect">
            <a:avLst>
              <a:gd name="adj" fmla="val 16667"/>
            </a:avLst>
          </a:prstGeom>
          <a:noFill/>
          <a:ln>
            <a:noFill/>
          </a:ln>
          <a:effectLst>
            <a:outerShdw blurRad="50800" dist="381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grpSp>
        <p:nvGrpSpPr>
          <p:cNvPr id="6" name="Groupe 5">
            <a:extLst>
              <a:ext uri="{FF2B5EF4-FFF2-40B4-BE49-F238E27FC236}">
                <a16:creationId xmlns:a16="http://schemas.microsoft.com/office/drawing/2014/main" id="{61ACB645-AF80-8ECB-06E5-8884DCFA9B8A}"/>
              </a:ext>
            </a:extLst>
          </p:cNvPr>
          <p:cNvGrpSpPr/>
          <p:nvPr/>
        </p:nvGrpSpPr>
        <p:grpSpPr>
          <a:xfrm>
            <a:off x="806294" y="1918302"/>
            <a:ext cx="3240392" cy="1032492"/>
            <a:chOff x="300586" y="1729217"/>
            <a:chExt cx="3240392" cy="1032492"/>
          </a:xfrm>
        </p:grpSpPr>
        <p:sp>
          <p:nvSpPr>
            <p:cNvPr id="7" name="Google Shape;177;p123">
              <a:extLst>
                <a:ext uri="{FF2B5EF4-FFF2-40B4-BE49-F238E27FC236}">
                  <a16:creationId xmlns:a16="http://schemas.microsoft.com/office/drawing/2014/main" id="{56108279-2B2B-96A5-352A-175D72A465CA}"/>
                </a:ext>
              </a:extLst>
            </p:cNvPr>
            <p:cNvSpPr/>
            <p:nvPr/>
          </p:nvSpPr>
          <p:spPr>
            <a:xfrm>
              <a:off x="300586" y="1729217"/>
              <a:ext cx="3240392" cy="1032492"/>
            </a:xfrm>
            <a:prstGeom prst="roundRect">
              <a:avLst>
                <a:gd name="adj" fmla="val 10088"/>
              </a:avLst>
            </a:prstGeom>
            <a:solidFill>
              <a:schemeClr val="lt1"/>
            </a:solidFill>
            <a:ln>
              <a:noFill/>
            </a:ln>
            <a:effectLst>
              <a:outerShdw blurRad="428625" dist="285750" dir="5400000" algn="bl" rotWithShape="0">
                <a:srgbClr val="000000">
                  <a:alpha val="7843"/>
                </a:srgbClr>
              </a:outerShdw>
            </a:effectLst>
          </p:spPr>
          <p:txBody>
            <a:bodyPr spcFirstLastPara="1" wrap="square" lIns="121900" tIns="121900" rIns="121900" bIns="121900"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endParaRPr kumimoji="0" lang="fr-FR" sz="1200" b="0" i="0" u="none" strike="noStrike" kern="0" cap="none" spc="0" normalizeH="0" baseline="0" noProof="0">
                <a:ln>
                  <a:noFill/>
                </a:ln>
                <a:solidFill>
                  <a:srgbClr val="FFFFFF"/>
                </a:solidFill>
                <a:effectLst/>
                <a:uLnTx/>
                <a:uFillTx/>
                <a:latin typeface="Figtree Medium"/>
                <a:ea typeface="Figtree Medium"/>
                <a:cs typeface="Figtree Medium"/>
                <a:sym typeface="Figtree Medium"/>
              </a:endParaRPr>
            </a:p>
          </p:txBody>
        </p:sp>
        <p:pic>
          <p:nvPicPr>
            <p:cNvPr id="8" name="Picture 8" descr="Crédit Agricole SA logo">
              <a:extLst>
                <a:ext uri="{FF2B5EF4-FFF2-40B4-BE49-F238E27FC236}">
                  <a16:creationId xmlns:a16="http://schemas.microsoft.com/office/drawing/2014/main" id="{BAA849C1-E358-AB9B-00F5-DC1B331C26C5}"/>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55700" y="1729217"/>
              <a:ext cx="2530165" cy="1032492"/>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itre 11">
            <a:extLst>
              <a:ext uri="{FF2B5EF4-FFF2-40B4-BE49-F238E27FC236}">
                <a16:creationId xmlns:a16="http://schemas.microsoft.com/office/drawing/2014/main" id="{4EDF1780-13B0-3100-93EA-A36CF615D529}"/>
              </a:ext>
            </a:extLst>
          </p:cNvPr>
          <p:cNvSpPr>
            <a:spLocks noGrp="1"/>
          </p:cNvSpPr>
          <p:nvPr>
            <p:ph type="title" hasCustomPrompt="1"/>
          </p:nvPr>
        </p:nvSpPr>
        <p:spPr>
          <a:xfrm>
            <a:off x="806295" y="3329399"/>
            <a:ext cx="3240392" cy="763600"/>
          </a:xfrm>
          <a:prstGeom prst="rect">
            <a:avLst/>
          </a:prstGeom>
        </p:spPr>
        <p:txBody>
          <a:bodyPr/>
          <a:lstStyle>
            <a:lvl1pPr>
              <a:defRPr b="1">
                <a:solidFill>
                  <a:schemeClr val="bg1"/>
                </a:solidFill>
                <a:latin typeface="Figtree Black" panose="020B0604020202020204" charset="0"/>
              </a:defRPr>
            </a:lvl1pPr>
          </a:lstStyle>
          <a:p>
            <a:r>
              <a:rPr lang="fr-FR" dirty="0"/>
              <a:t>Titre de la présentation</a:t>
            </a:r>
            <a:endParaRPr lang="en-US" dirty="0"/>
          </a:p>
        </p:txBody>
      </p:sp>
      <p:pic>
        <p:nvPicPr>
          <p:cNvPr id="3" name="Image 2">
            <a:extLst>
              <a:ext uri="{FF2B5EF4-FFF2-40B4-BE49-F238E27FC236}">
                <a16:creationId xmlns:a16="http://schemas.microsoft.com/office/drawing/2014/main" id="{BBBCB122-291F-7C22-3DA5-EC77B21C64B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70595" y="5994400"/>
            <a:ext cx="2295824" cy="617209"/>
          </a:xfrm>
          <a:prstGeom prst="rect">
            <a:avLst/>
          </a:prstGeom>
        </p:spPr>
      </p:pic>
    </p:spTree>
    <p:extLst>
      <p:ext uri="{BB962C8B-B14F-4D97-AF65-F5344CB8AC3E}">
        <p14:creationId xmlns:p14="http://schemas.microsoft.com/office/powerpoint/2010/main" val="39292450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Shape 416"/>
        <p:cNvGrpSpPr/>
        <p:nvPr/>
      </p:nvGrpSpPr>
      <p:grpSpPr>
        <a:xfrm>
          <a:off x="0" y="0"/>
          <a:ext cx="0" cy="0"/>
          <a:chOff x="0" y="0"/>
          <a:chExt cx="0" cy="0"/>
        </a:xfrm>
      </p:grpSpPr>
      <p:sp>
        <p:nvSpPr>
          <p:cNvPr id="417" name="Google Shape;417;p2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N°›</a:t>
            </a:fld>
            <a:endParaRPr lang="en-US"/>
          </a:p>
        </p:txBody>
      </p:sp>
      <p:sp>
        <p:nvSpPr>
          <p:cNvPr id="8" name="Titre 7">
            <a:extLst>
              <a:ext uri="{FF2B5EF4-FFF2-40B4-BE49-F238E27FC236}">
                <a16:creationId xmlns:a16="http://schemas.microsoft.com/office/drawing/2014/main" id="{9C886580-4A06-763F-44AB-FAC9A9599852}"/>
              </a:ext>
            </a:extLst>
          </p:cNvPr>
          <p:cNvSpPr>
            <a:spLocks noGrp="1"/>
          </p:cNvSpPr>
          <p:nvPr>
            <p:ph type="title"/>
          </p:nvPr>
        </p:nvSpPr>
        <p:spPr>
          <a:xfrm>
            <a:off x="0" y="190500"/>
            <a:ext cx="12201100" cy="565368"/>
          </a:xfrm>
          <a:prstGeom prst="rect">
            <a:avLst/>
          </a:prstGeom>
        </p:spPr>
        <p:txBody>
          <a:bodyPr>
            <a:normAutofit/>
          </a:bodyPr>
          <a:lstStyle>
            <a:lvl1pPr marL="268288" indent="0">
              <a:defRPr lang="en-US" sz="2000" b="0" i="0" u="none" strike="noStrike" cap="none" dirty="0">
                <a:solidFill>
                  <a:srgbClr val="017461"/>
                </a:solidFill>
                <a:latin typeface="Figtree Black"/>
                <a:ea typeface="Figtree Black"/>
                <a:cs typeface="Figtree Black"/>
                <a:sym typeface="Arial"/>
              </a:defRPr>
            </a:lvl1pPr>
          </a:lstStyle>
          <a:p>
            <a:endParaRPr lang="en-US" dirty="0"/>
          </a:p>
        </p:txBody>
      </p:sp>
    </p:spTree>
    <p:extLst>
      <p:ext uri="{BB962C8B-B14F-4D97-AF65-F5344CB8AC3E}">
        <p14:creationId xmlns:p14="http://schemas.microsoft.com/office/powerpoint/2010/main" val="313334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preserve="1" userDrawn="1">
  <p:cSld name="1_Blank">
    <p:spTree>
      <p:nvGrpSpPr>
        <p:cNvPr id="1" name="Shape 416"/>
        <p:cNvGrpSpPr/>
        <p:nvPr/>
      </p:nvGrpSpPr>
      <p:grpSpPr>
        <a:xfrm>
          <a:off x="0" y="0"/>
          <a:ext cx="0" cy="0"/>
          <a:chOff x="0" y="0"/>
          <a:chExt cx="0" cy="0"/>
        </a:xfrm>
      </p:grpSpPr>
      <p:sp>
        <p:nvSpPr>
          <p:cNvPr id="7" name="Rectangle 6">
            <a:extLst>
              <a:ext uri="{FF2B5EF4-FFF2-40B4-BE49-F238E27FC236}">
                <a16:creationId xmlns:a16="http://schemas.microsoft.com/office/drawing/2014/main" id="{F40C40EC-0200-D6E3-E8B7-93E1499B7689}"/>
              </a:ext>
            </a:extLst>
          </p:cNvPr>
          <p:cNvSpPr/>
          <p:nvPr userDrawn="1"/>
        </p:nvSpPr>
        <p:spPr>
          <a:xfrm>
            <a:off x="0" y="5305425"/>
            <a:ext cx="12192000" cy="1552575"/>
          </a:xfrm>
          <a:prstGeom prst="rect">
            <a:avLst/>
          </a:prstGeom>
          <a:solidFill>
            <a:schemeClr val="accent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7" name="Google Shape;417;p2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N°›</a:t>
            </a:fld>
            <a:endParaRPr lang="en-US"/>
          </a:p>
        </p:txBody>
      </p:sp>
      <p:sp>
        <p:nvSpPr>
          <p:cNvPr id="8" name="Titre 7">
            <a:extLst>
              <a:ext uri="{FF2B5EF4-FFF2-40B4-BE49-F238E27FC236}">
                <a16:creationId xmlns:a16="http://schemas.microsoft.com/office/drawing/2014/main" id="{9C886580-4A06-763F-44AB-FAC9A9599852}"/>
              </a:ext>
            </a:extLst>
          </p:cNvPr>
          <p:cNvSpPr>
            <a:spLocks noGrp="1"/>
          </p:cNvSpPr>
          <p:nvPr>
            <p:ph type="title"/>
          </p:nvPr>
        </p:nvSpPr>
        <p:spPr>
          <a:xfrm>
            <a:off x="0" y="190500"/>
            <a:ext cx="12201100" cy="565368"/>
          </a:xfrm>
          <a:prstGeom prst="rect">
            <a:avLst/>
          </a:prstGeom>
        </p:spPr>
        <p:txBody>
          <a:bodyPr>
            <a:normAutofit/>
          </a:bodyPr>
          <a:lstStyle>
            <a:lvl1pPr marL="268288" indent="0">
              <a:defRPr lang="en-US" sz="2000" b="0" i="0" u="none" strike="noStrike" cap="none" dirty="0">
                <a:solidFill>
                  <a:srgbClr val="017461"/>
                </a:solidFill>
                <a:latin typeface="Figtree Black"/>
                <a:ea typeface="Figtree Black"/>
                <a:cs typeface="Figtree Black"/>
                <a:sym typeface="Arial"/>
              </a:defRPr>
            </a:lvl1pPr>
          </a:lstStyle>
          <a:p>
            <a:endParaRPr lang="en-US" dirty="0"/>
          </a:p>
        </p:txBody>
      </p:sp>
      <p:cxnSp>
        <p:nvCxnSpPr>
          <p:cNvPr id="6" name="Connecteur droit 5">
            <a:extLst>
              <a:ext uri="{FF2B5EF4-FFF2-40B4-BE49-F238E27FC236}">
                <a16:creationId xmlns:a16="http://schemas.microsoft.com/office/drawing/2014/main" id="{3961B831-5A23-58CF-9588-3A3F9996584F}"/>
              </a:ext>
            </a:extLst>
          </p:cNvPr>
          <p:cNvCxnSpPr/>
          <p:nvPr userDrawn="1"/>
        </p:nvCxnSpPr>
        <p:spPr>
          <a:xfrm>
            <a:off x="10286943" y="6552670"/>
            <a:ext cx="650081" cy="0"/>
          </a:xfrm>
          <a:prstGeom prst="line">
            <a:avLst/>
          </a:prstGeom>
          <a:ln>
            <a:solidFill>
              <a:schemeClr val="accent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90493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 preserve="1" userDrawn="1">
  <p:cSld name="1_Blank">
    <p:spTree>
      <p:nvGrpSpPr>
        <p:cNvPr id="1" name="Shape 416"/>
        <p:cNvGrpSpPr/>
        <p:nvPr/>
      </p:nvGrpSpPr>
      <p:grpSpPr>
        <a:xfrm>
          <a:off x="0" y="0"/>
          <a:ext cx="0" cy="0"/>
          <a:chOff x="0" y="0"/>
          <a:chExt cx="0" cy="0"/>
        </a:xfrm>
      </p:grpSpPr>
      <p:sp>
        <p:nvSpPr>
          <p:cNvPr id="7" name="Rectangle 6">
            <a:extLst>
              <a:ext uri="{FF2B5EF4-FFF2-40B4-BE49-F238E27FC236}">
                <a16:creationId xmlns:a16="http://schemas.microsoft.com/office/drawing/2014/main" id="{F40C40EC-0200-D6E3-E8B7-93E1499B7689}"/>
              </a:ext>
            </a:extLst>
          </p:cNvPr>
          <p:cNvSpPr/>
          <p:nvPr userDrawn="1"/>
        </p:nvSpPr>
        <p:spPr>
          <a:xfrm>
            <a:off x="0" y="5305425"/>
            <a:ext cx="12192000" cy="1552575"/>
          </a:xfrm>
          <a:prstGeom prst="rect">
            <a:avLst/>
          </a:prstGeom>
          <a:solidFill>
            <a:schemeClr val="accent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7" name="Google Shape;417;p2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N°›</a:t>
            </a:fld>
            <a:endParaRPr lang="en-US"/>
          </a:p>
        </p:txBody>
      </p:sp>
      <p:sp>
        <p:nvSpPr>
          <p:cNvPr id="5" name="Rectangle : coins arrondis 4">
            <a:extLst>
              <a:ext uri="{FF2B5EF4-FFF2-40B4-BE49-F238E27FC236}">
                <a16:creationId xmlns:a16="http://schemas.microsoft.com/office/drawing/2014/main" id="{5760F59F-C3D8-5BE7-4082-636DEBBEE7A7}"/>
              </a:ext>
            </a:extLst>
          </p:cNvPr>
          <p:cNvSpPr/>
          <p:nvPr userDrawn="1"/>
        </p:nvSpPr>
        <p:spPr>
          <a:xfrm>
            <a:off x="490854" y="974573"/>
            <a:ext cx="11210292" cy="5505450"/>
          </a:xfrm>
          <a:prstGeom prst="roundRect">
            <a:avLst>
              <a:gd name="adj" fmla="val 6775"/>
            </a:avLst>
          </a:prstGeom>
          <a:solidFill>
            <a:schemeClr val="bg1"/>
          </a:solidFill>
          <a:ln w="3175">
            <a:solidFill>
              <a:schemeClr val="tx2"/>
            </a:solidFill>
          </a:ln>
          <a:effectLst>
            <a:outerShdw blurRad="50800" dist="12700" dir="5400000" algn="t" rotWithShape="0">
              <a:schemeClr val="accent3">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re 7">
            <a:extLst>
              <a:ext uri="{FF2B5EF4-FFF2-40B4-BE49-F238E27FC236}">
                <a16:creationId xmlns:a16="http://schemas.microsoft.com/office/drawing/2014/main" id="{9C886580-4A06-763F-44AB-FAC9A9599852}"/>
              </a:ext>
            </a:extLst>
          </p:cNvPr>
          <p:cNvSpPr>
            <a:spLocks noGrp="1"/>
          </p:cNvSpPr>
          <p:nvPr>
            <p:ph type="title"/>
          </p:nvPr>
        </p:nvSpPr>
        <p:spPr>
          <a:xfrm>
            <a:off x="0" y="190500"/>
            <a:ext cx="12201100" cy="565368"/>
          </a:xfrm>
          <a:prstGeom prst="rect">
            <a:avLst/>
          </a:prstGeom>
        </p:spPr>
        <p:txBody>
          <a:bodyPr>
            <a:normAutofit/>
          </a:bodyPr>
          <a:lstStyle>
            <a:lvl1pPr marL="268288" indent="0">
              <a:defRPr lang="en-US" sz="2000" b="0" i="0" u="none" strike="noStrike" cap="none" dirty="0">
                <a:solidFill>
                  <a:srgbClr val="017461"/>
                </a:solidFill>
                <a:latin typeface="Figtree Black"/>
                <a:ea typeface="Figtree Black"/>
                <a:cs typeface="Figtree Black"/>
                <a:sym typeface="Arial"/>
              </a:defRPr>
            </a:lvl1pPr>
          </a:lstStyle>
          <a:p>
            <a:endParaRPr lang="en-US" dirty="0"/>
          </a:p>
        </p:txBody>
      </p:sp>
      <p:cxnSp>
        <p:nvCxnSpPr>
          <p:cNvPr id="3" name="Connecteur droit 2">
            <a:extLst>
              <a:ext uri="{FF2B5EF4-FFF2-40B4-BE49-F238E27FC236}">
                <a16:creationId xmlns:a16="http://schemas.microsoft.com/office/drawing/2014/main" id="{19A10F7A-77C2-4D89-5A32-25D739EA8BB2}"/>
              </a:ext>
            </a:extLst>
          </p:cNvPr>
          <p:cNvCxnSpPr/>
          <p:nvPr userDrawn="1"/>
        </p:nvCxnSpPr>
        <p:spPr>
          <a:xfrm>
            <a:off x="10286943" y="6552670"/>
            <a:ext cx="650081" cy="0"/>
          </a:xfrm>
          <a:prstGeom prst="line">
            <a:avLst/>
          </a:prstGeom>
          <a:ln>
            <a:solidFill>
              <a:schemeClr val="accent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5558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 preserve="1" userDrawn="1">
  <p:cSld name="1_Blank">
    <p:spTree>
      <p:nvGrpSpPr>
        <p:cNvPr id="1" name="Shape 416"/>
        <p:cNvGrpSpPr/>
        <p:nvPr/>
      </p:nvGrpSpPr>
      <p:grpSpPr>
        <a:xfrm>
          <a:off x="0" y="0"/>
          <a:ext cx="0" cy="0"/>
          <a:chOff x="0" y="0"/>
          <a:chExt cx="0" cy="0"/>
        </a:xfrm>
      </p:grpSpPr>
      <p:sp>
        <p:nvSpPr>
          <p:cNvPr id="15" name="Rectangle 14">
            <a:extLst>
              <a:ext uri="{FF2B5EF4-FFF2-40B4-BE49-F238E27FC236}">
                <a16:creationId xmlns:a16="http://schemas.microsoft.com/office/drawing/2014/main" id="{8C660148-07B8-40CE-F5D8-994E809BEB51}"/>
              </a:ext>
            </a:extLst>
          </p:cNvPr>
          <p:cNvSpPr/>
          <p:nvPr userDrawn="1"/>
        </p:nvSpPr>
        <p:spPr>
          <a:xfrm>
            <a:off x="0" y="5305425"/>
            <a:ext cx="12192000" cy="1552575"/>
          </a:xfrm>
          <a:prstGeom prst="rect">
            <a:avLst/>
          </a:prstGeom>
          <a:solidFill>
            <a:schemeClr val="accent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7" name="Google Shape;417;p2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N°›</a:t>
            </a:fld>
            <a:endParaRPr lang="en-US"/>
          </a:p>
        </p:txBody>
      </p:sp>
      <p:sp>
        <p:nvSpPr>
          <p:cNvPr id="4" name="Rectangle 3">
            <a:extLst>
              <a:ext uri="{FF2B5EF4-FFF2-40B4-BE49-F238E27FC236}">
                <a16:creationId xmlns:a16="http://schemas.microsoft.com/office/drawing/2014/main" id="{7B19AAEE-8E1E-E056-9A7C-9C5D671CDA2A}"/>
              </a:ext>
            </a:extLst>
          </p:cNvPr>
          <p:cNvSpPr/>
          <p:nvPr userDrawn="1"/>
        </p:nvSpPr>
        <p:spPr>
          <a:xfrm>
            <a:off x="0" y="898868"/>
            <a:ext cx="12201100" cy="843226"/>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 coins arrondis 4">
            <a:extLst>
              <a:ext uri="{FF2B5EF4-FFF2-40B4-BE49-F238E27FC236}">
                <a16:creationId xmlns:a16="http://schemas.microsoft.com/office/drawing/2014/main" id="{5760F59F-C3D8-5BE7-4082-636DEBBEE7A7}"/>
              </a:ext>
            </a:extLst>
          </p:cNvPr>
          <p:cNvSpPr/>
          <p:nvPr userDrawn="1"/>
        </p:nvSpPr>
        <p:spPr>
          <a:xfrm>
            <a:off x="351698" y="2001616"/>
            <a:ext cx="5657217" cy="4475383"/>
          </a:xfrm>
          <a:prstGeom prst="roundRect">
            <a:avLst>
              <a:gd name="adj" fmla="val 9907"/>
            </a:avLst>
          </a:prstGeom>
          <a:solidFill>
            <a:schemeClr val="bg1"/>
          </a:solidFill>
          <a:ln w="3175">
            <a:solidFill>
              <a:schemeClr val="tx2"/>
            </a:solidFill>
          </a:ln>
          <a:effectLst>
            <a:outerShdw blurRad="50800" dist="12700" dir="5400000" algn="t" rotWithShape="0">
              <a:schemeClr val="accent3">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 coins arrondis 5">
            <a:extLst>
              <a:ext uri="{FF2B5EF4-FFF2-40B4-BE49-F238E27FC236}">
                <a16:creationId xmlns:a16="http://schemas.microsoft.com/office/drawing/2014/main" id="{B91ADD8F-1AB1-4B6F-42BC-4386A2F1B7A3}"/>
              </a:ext>
            </a:extLst>
          </p:cNvPr>
          <p:cNvSpPr/>
          <p:nvPr userDrawn="1"/>
        </p:nvSpPr>
        <p:spPr>
          <a:xfrm>
            <a:off x="6114723" y="2001616"/>
            <a:ext cx="5657217" cy="4475383"/>
          </a:xfrm>
          <a:prstGeom prst="roundRect">
            <a:avLst>
              <a:gd name="adj" fmla="val 9907"/>
            </a:avLst>
          </a:prstGeom>
          <a:solidFill>
            <a:schemeClr val="bg1"/>
          </a:solidFill>
          <a:ln w="3175">
            <a:solidFill>
              <a:schemeClr val="tx2"/>
            </a:solidFill>
          </a:ln>
          <a:effectLst>
            <a:outerShdw blurRad="50800" dist="12700" dir="5400000" algn="t" rotWithShape="0">
              <a:schemeClr val="accent3">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re 7">
            <a:extLst>
              <a:ext uri="{FF2B5EF4-FFF2-40B4-BE49-F238E27FC236}">
                <a16:creationId xmlns:a16="http://schemas.microsoft.com/office/drawing/2014/main" id="{9C886580-4A06-763F-44AB-FAC9A9599852}"/>
              </a:ext>
            </a:extLst>
          </p:cNvPr>
          <p:cNvSpPr>
            <a:spLocks noGrp="1"/>
          </p:cNvSpPr>
          <p:nvPr>
            <p:ph type="title"/>
          </p:nvPr>
        </p:nvSpPr>
        <p:spPr>
          <a:xfrm>
            <a:off x="0" y="190500"/>
            <a:ext cx="12201100" cy="565368"/>
          </a:xfrm>
          <a:prstGeom prst="rect">
            <a:avLst/>
          </a:prstGeom>
        </p:spPr>
        <p:txBody>
          <a:bodyPr>
            <a:normAutofit/>
          </a:bodyPr>
          <a:lstStyle>
            <a:lvl1pPr marL="268288" indent="0">
              <a:defRPr lang="en-US" sz="2000" b="0" i="0" u="none" strike="noStrike" cap="none" dirty="0">
                <a:solidFill>
                  <a:srgbClr val="017461"/>
                </a:solidFill>
                <a:latin typeface="Figtree Black"/>
                <a:ea typeface="Figtree Black"/>
                <a:cs typeface="Figtree Black"/>
                <a:sym typeface="Arial"/>
              </a:defRPr>
            </a:lvl1pPr>
          </a:lstStyle>
          <a:p>
            <a:endParaRPr lang="en-US" dirty="0"/>
          </a:p>
        </p:txBody>
      </p:sp>
      <p:sp>
        <p:nvSpPr>
          <p:cNvPr id="14" name="Espace réservé du texte 13">
            <a:extLst>
              <a:ext uri="{FF2B5EF4-FFF2-40B4-BE49-F238E27FC236}">
                <a16:creationId xmlns:a16="http://schemas.microsoft.com/office/drawing/2014/main" id="{4F30A34F-5D73-1402-3225-CF712CC58678}"/>
              </a:ext>
            </a:extLst>
          </p:cNvPr>
          <p:cNvSpPr>
            <a:spLocks noGrp="1"/>
          </p:cNvSpPr>
          <p:nvPr>
            <p:ph type="body" sz="quarter" idx="13"/>
          </p:nvPr>
        </p:nvSpPr>
        <p:spPr>
          <a:xfrm>
            <a:off x="0" y="895350"/>
            <a:ext cx="12192000" cy="847725"/>
          </a:xfrm>
          <a:prstGeom prst="rect">
            <a:avLst/>
          </a:prstGeom>
        </p:spPr>
        <p:txBody>
          <a:bodyPr/>
          <a:lstStyle>
            <a:lvl1pPr marL="114300" indent="0" algn="ctr">
              <a:buNone/>
              <a:defRPr b="1">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lvl="0"/>
            <a:r>
              <a:rPr lang="fr-FR" dirty="0"/>
              <a:t>Cliquez pour modifier les styles du texte du masque</a:t>
            </a:r>
          </a:p>
        </p:txBody>
      </p:sp>
    </p:spTree>
    <p:extLst>
      <p:ext uri="{BB962C8B-B14F-4D97-AF65-F5344CB8AC3E}">
        <p14:creationId xmlns:p14="http://schemas.microsoft.com/office/powerpoint/2010/main" val="652078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preserve="1" userDrawn="1">
  <p:cSld name="1_Blank">
    <p:bg>
      <p:bgPr>
        <a:blipFill>
          <a:blip r:embed="rId2">
            <a:alphaModFix/>
          </a:blip>
          <a:stretch>
            <a:fillRect/>
          </a:stretch>
        </a:blipFill>
        <a:effectLst/>
      </p:bgPr>
    </p:bg>
    <p:spTree>
      <p:nvGrpSpPr>
        <p:cNvPr id="1" name="Shape 416"/>
        <p:cNvGrpSpPr/>
        <p:nvPr/>
      </p:nvGrpSpPr>
      <p:grpSpPr>
        <a:xfrm>
          <a:off x="0" y="0"/>
          <a:ext cx="0" cy="0"/>
          <a:chOff x="0" y="0"/>
          <a:chExt cx="0" cy="0"/>
        </a:xfrm>
      </p:grpSpPr>
      <p:sp>
        <p:nvSpPr>
          <p:cNvPr id="7" name="Rectangle 6">
            <a:extLst>
              <a:ext uri="{FF2B5EF4-FFF2-40B4-BE49-F238E27FC236}">
                <a16:creationId xmlns:a16="http://schemas.microsoft.com/office/drawing/2014/main" id="{F40C40EC-0200-D6E3-E8B7-93E1499B7689}"/>
              </a:ext>
            </a:extLst>
          </p:cNvPr>
          <p:cNvSpPr/>
          <p:nvPr userDrawn="1"/>
        </p:nvSpPr>
        <p:spPr>
          <a:xfrm>
            <a:off x="0" y="5305425"/>
            <a:ext cx="12192000" cy="1552575"/>
          </a:xfrm>
          <a:prstGeom prst="rect">
            <a:avLst/>
          </a:prstGeom>
          <a:solidFill>
            <a:schemeClr val="accent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7" name="Google Shape;417;p2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N°›</a:t>
            </a:fld>
            <a:endParaRPr lang="en-US"/>
          </a:p>
        </p:txBody>
      </p:sp>
      <p:sp>
        <p:nvSpPr>
          <p:cNvPr id="8" name="Titre 7">
            <a:extLst>
              <a:ext uri="{FF2B5EF4-FFF2-40B4-BE49-F238E27FC236}">
                <a16:creationId xmlns:a16="http://schemas.microsoft.com/office/drawing/2014/main" id="{9C886580-4A06-763F-44AB-FAC9A9599852}"/>
              </a:ext>
            </a:extLst>
          </p:cNvPr>
          <p:cNvSpPr>
            <a:spLocks noGrp="1"/>
          </p:cNvSpPr>
          <p:nvPr>
            <p:ph type="title"/>
          </p:nvPr>
        </p:nvSpPr>
        <p:spPr>
          <a:xfrm>
            <a:off x="0" y="190500"/>
            <a:ext cx="12201100" cy="565368"/>
          </a:xfrm>
          <a:prstGeom prst="rect">
            <a:avLst/>
          </a:prstGeom>
        </p:spPr>
        <p:txBody>
          <a:bodyPr>
            <a:normAutofit/>
          </a:bodyPr>
          <a:lstStyle>
            <a:lvl1pPr marL="268288" indent="0">
              <a:defRPr lang="en-US" sz="2000" b="0" i="0" u="none" strike="noStrike" cap="none" dirty="0">
                <a:solidFill>
                  <a:srgbClr val="017461"/>
                </a:solidFill>
                <a:latin typeface="Figtree Black"/>
                <a:ea typeface="Figtree Black"/>
                <a:cs typeface="Figtree Black"/>
                <a:sym typeface="Arial"/>
              </a:defRPr>
            </a:lvl1pPr>
          </a:lstStyle>
          <a:p>
            <a:endParaRPr lang="en-US" dirty="0"/>
          </a:p>
        </p:txBody>
      </p:sp>
      <p:sp>
        <p:nvSpPr>
          <p:cNvPr id="2" name="Rectangle : coins arrondis 1">
            <a:extLst>
              <a:ext uri="{FF2B5EF4-FFF2-40B4-BE49-F238E27FC236}">
                <a16:creationId xmlns:a16="http://schemas.microsoft.com/office/drawing/2014/main" id="{CE7AE61A-538D-7C5F-5F25-55F9E4E5C4E7}"/>
              </a:ext>
            </a:extLst>
          </p:cNvPr>
          <p:cNvSpPr/>
          <p:nvPr userDrawn="1"/>
        </p:nvSpPr>
        <p:spPr>
          <a:xfrm>
            <a:off x="575943" y="984796"/>
            <a:ext cx="5300982" cy="2622771"/>
          </a:xfrm>
          <a:prstGeom prst="roundRect">
            <a:avLst>
              <a:gd name="adj" fmla="val 4823"/>
            </a:avLst>
          </a:prstGeom>
          <a:solidFill>
            <a:schemeClr val="bg1"/>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 coins arrondis 11">
            <a:extLst>
              <a:ext uri="{FF2B5EF4-FFF2-40B4-BE49-F238E27FC236}">
                <a16:creationId xmlns:a16="http://schemas.microsoft.com/office/drawing/2014/main" id="{4E38E119-9B2C-C01F-65B3-078814ACC48F}"/>
              </a:ext>
            </a:extLst>
          </p:cNvPr>
          <p:cNvSpPr/>
          <p:nvPr userDrawn="1"/>
        </p:nvSpPr>
        <p:spPr>
          <a:xfrm>
            <a:off x="575943" y="3896382"/>
            <a:ext cx="5300982" cy="2622771"/>
          </a:xfrm>
          <a:prstGeom prst="roundRect">
            <a:avLst>
              <a:gd name="adj" fmla="val 4823"/>
            </a:avLst>
          </a:prstGeom>
          <a:solidFill>
            <a:schemeClr val="bg1"/>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 coins arrondis 12">
            <a:extLst>
              <a:ext uri="{FF2B5EF4-FFF2-40B4-BE49-F238E27FC236}">
                <a16:creationId xmlns:a16="http://schemas.microsoft.com/office/drawing/2014/main" id="{1124162D-F25C-F640-93A6-9AC586FE070F}"/>
              </a:ext>
            </a:extLst>
          </p:cNvPr>
          <p:cNvSpPr/>
          <p:nvPr userDrawn="1"/>
        </p:nvSpPr>
        <p:spPr>
          <a:xfrm>
            <a:off x="6315077" y="984796"/>
            <a:ext cx="5300982" cy="2622771"/>
          </a:xfrm>
          <a:prstGeom prst="roundRect">
            <a:avLst>
              <a:gd name="adj" fmla="val 4823"/>
            </a:avLst>
          </a:prstGeom>
          <a:solidFill>
            <a:schemeClr val="bg1"/>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 coins arrondis 13">
            <a:extLst>
              <a:ext uri="{FF2B5EF4-FFF2-40B4-BE49-F238E27FC236}">
                <a16:creationId xmlns:a16="http://schemas.microsoft.com/office/drawing/2014/main" id="{08619B94-0E4C-29B7-74D9-1DF21C71B9B0}"/>
              </a:ext>
            </a:extLst>
          </p:cNvPr>
          <p:cNvSpPr/>
          <p:nvPr userDrawn="1"/>
        </p:nvSpPr>
        <p:spPr>
          <a:xfrm>
            <a:off x="6315077" y="3896382"/>
            <a:ext cx="5300982" cy="2622771"/>
          </a:xfrm>
          <a:prstGeom prst="roundRect">
            <a:avLst>
              <a:gd name="adj" fmla="val 4823"/>
            </a:avLst>
          </a:prstGeom>
          <a:solidFill>
            <a:schemeClr val="bg1"/>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00739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lank" preserve="1" userDrawn="1">
  <p:cSld name="1_Blank">
    <p:bg>
      <p:bgPr>
        <a:blipFill>
          <a:blip r:embed="rId2">
            <a:alphaModFix/>
          </a:blip>
          <a:stretch>
            <a:fillRect/>
          </a:stretch>
        </a:blipFill>
        <a:effectLst/>
      </p:bgPr>
    </p:bg>
    <p:spTree>
      <p:nvGrpSpPr>
        <p:cNvPr id="1" name="Shape 416"/>
        <p:cNvGrpSpPr/>
        <p:nvPr/>
      </p:nvGrpSpPr>
      <p:grpSpPr>
        <a:xfrm>
          <a:off x="0" y="0"/>
          <a:ext cx="0" cy="0"/>
          <a:chOff x="0" y="0"/>
          <a:chExt cx="0" cy="0"/>
        </a:xfrm>
      </p:grpSpPr>
      <p:sp>
        <p:nvSpPr>
          <p:cNvPr id="4" name="Rectangle 3">
            <a:extLst>
              <a:ext uri="{FF2B5EF4-FFF2-40B4-BE49-F238E27FC236}">
                <a16:creationId xmlns:a16="http://schemas.microsoft.com/office/drawing/2014/main" id="{C00FF01E-F6E0-3A04-09D1-7B1A0C2422D4}"/>
              </a:ext>
            </a:extLst>
          </p:cNvPr>
          <p:cNvSpPr/>
          <p:nvPr userDrawn="1"/>
        </p:nvSpPr>
        <p:spPr>
          <a:xfrm>
            <a:off x="0" y="5305425"/>
            <a:ext cx="12192000" cy="1552575"/>
          </a:xfrm>
          <a:prstGeom prst="rect">
            <a:avLst/>
          </a:prstGeom>
          <a:solidFill>
            <a:schemeClr val="accent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7" name="Google Shape;417;p2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N°›</a:t>
            </a:fld>
            <a:endParaRPr lang="en-US"/>
          </a:p>
        </p:txBody>
      </p:sp>
      <p:sp>
        <p:nvSpPr>
          <p:cNvPr id="8" name="Titre 7">
            <a:extLst>
              <a:ext uri="{FF2B5EF4-FFF2-40B4-BE49-F238E27FC236}">
                <a16:creationId xmlns:a16="http://schemas.microsoft.com/office/drawing/2014/main" id="{9C886580-4A06-763F-44AB-FAC9A9599852}"/>
              </a:ext>
            </a:extLst>
          </p:cNvPr>
          <p:cNvSpPr>
            <a:spLocks noGrp="1"/>
          </p:cNvSpPr>
          <p:nvPr>
            <p:ph type="title"/>
          </p:nvPr>
        </p:nvSpPr>
        <p:spPr>
          <a:xfrm>
            <a:off x="0" y="190500"/>
            <a:ext cx="12201100" cy="565368"/>
          </a:xfrm>
          <a:prstGeom prst="rect">
            <a:avLst/>
          </a:prstGeom>
        </p:spPr>
        <p:txBody>
          <a:bodyPr>
            <a:normAutofit/>
          </a:bodyPr>
          <a:lstStyle>
            <a:lvl1pPr marL="268288" indent="0">
              <a:defRPr lang="en-US" sz="2000" b="0" i="0" u="none" strike="noStrike" cap="none" dirty="0">
                <a:solidFill>
                  <a:srgbClr val="017461"/>
                </a:solidFill>
                <a:latin typeface="Figtree Black"/>
                <a:ea typeface="Figtree Black"/>
                <a:cs typeface="Figtree Black"/>
                <a:sym typeface="Arial"/>
              </a:defRPr>
            </a:lvl1pPr>
          </a:lstStyle>
          <a:p>
            <a:endParaRPr lang="en-US" dirty="0"/>
          </a:p>
        </p:txBody>
      </p:sp>
      <p:sp>
        <p:nvSpPr>
          <p:cNvPr id="2" name="Rectangle : coins arrondis 1">
            <a:extLst>
              <a:ext uri="{FF2B5EF4-FFF2-40B4-BE49-F238E27FC236}">
                <a16:creationId xmlns:a16="http://schemas.microsoft.com/office/drawing/2014/main" id="{CE7AE61A-538D-7C5F-5F25-55F9E4E5C4E7}"/>
              </a:ext>
            </a:extLst>
          </p:cNvPr>
          <p:cNvSpPr/>
          <p:nvPr userDrawn="1"/>
        </p:nvSpPr>
        <p:spPr>
          <a:xfrm>
            <a:off x="575943" y="984796"/>
            <a:ext cx="5300982" cy="2622771"/>
          </a:xfrm>
          <a:prstGeom prst="roundRect">
            <a:avLst>
              <a:gd name="adj" fmla="val 4823"/>
            </a:avLst>
          </a:prstGeom>
          <a:solidFill>
            <a:schemeClr val="bg1"/>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 coins arrondis 11">
            <a:extLst>
              <a:ext uri="{FF2B5EF4-FFF2-40B4-BE49-F238E27FC236}">
                <a16:creationId xmlns:a16="http://schemas.microsoft.com/office/drawing/2014/main" id="{4E38E119-9B2C-C01F-65B3-078814ACC48F}"/>
              </a:ext>
            </a:extLst>
          </p:cNvPr>
          <p:cNvSpPr/>
          <p:nvPr userDrawn="1"/>
        </p:nvSpPr>
        <p:spPr>
          <a:xfrm>
            <a:off x="575943" y="3896382"/>
            <a:ext cx="5300982" cy="2622771"/>
          </a:xfrm>
          <a:prstGeom prst="roundRect">
            <a:avLst>
              <a:gd name="adj" fmla="val 4823"/>
            </a:avLst>
          </a:prstGeom>
          <a:solidFill>
            <a:schemeClr val="bg1"/>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 coins arrondis 2">
            <a:extLst>
              <a:ext uri="{FF2B5EF4-FFF2-40B4-BE49-F238E27FC236}">
                <a16:creationId xmlns:a16="http://schemas.microsoft.com/office/drawing/2014/main" id="{9C6339ED-8DDD-A1AC-0BA8-EF6BDFDA846F}"/>
              </a:ext>
            </a:extLst>
          </p:cNvPr>
          <p:cNvSpPr/>
          <p:nvPr userDrawn="1"/>
        </p:nvSpPr>
        <p:spPr>
          <a:xfrm>
            <a:off x="6315075" y="984796"/>
            <a:ext cx="5300982" cy="5534357"/>
          </a:xfrm>
          <a:prstGeom prst="roundRect">
            <a:avLst>
              <a:gd name="adj" fmla="val 2188"/>
            </a:avLst>
          </a:prstGeom>
          <a:solidFill>
            <a:schemeClr val="bg1"/>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272602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Blank" preserve="1" userDrawn="1">
  <p:cSld name="1_Blank">
    <p:bg>
      <p:bgPr>
        <a:blipFill>
          <a:blip r:embed="rId2">
            <a:alphaModFix/>
          </a:blip>
          <a:stretch>
            <a:fillRect/>
          </a:stretch>
        </a:blipFill>
        <a:effectLst/>
      </p:bgPr>
    </p:bg>
    <p:spTree>
      <p:nvGrpSpPr>
        <p:cNvPr id="1" name="Shape 416"/>
        <p:cNvGrpSpPr/>
        <p:nvPr/>
      </p:nvGrpSpPr>
      <p:grpSpPr>
        <a:xfrm>
          <a:off x="0" y="0"/>
          <a:ext cx="0" cy="0"/>
          <a:chOff x="0" y="0"/>
          <a:chExt cx="0" cy="0"/>
        </a:xfrm>
      </p:grpSpPr>
      <p:sp>
        <p:nvSpPr>
          <p:cNvPr id="4" name="Rectangle 3">
            <a:extLst>
              <a:ext uri="{FF2B5EF4-FFF2-40B4-BE49-F238E27FC236}">
                <a16:creationId xmlns:a16="http://schemas.microsoft.com/office/drawing/2014/main" id="{C00FF01E-F6E0-3A04-09D1-7B1A0C2422D4}"/>
              </a:ext>
            </a:extLst>
          </p:cNvPr>
          <p:cNvSpPr/>
          <p:nvPr userDrawn="1"/>
        </p:nvSpPr>
        <p:spPr>
          <a:xfrm>
            <a:off x="0" y="5305425"/>
            <a:ext cx="12192000" cy="1552575"/>
          </a:xfrm>
          <a:prstGeom prst="rect">
            <a:avLst/>
          </a:prstGeom>
          <a:solidFill>
            <a:schemeClr val="accent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7" name="Google Shape;417;p2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N°›</a:t>
            </a:fld>
            <a:endParaRPr lang="en-US"/>
          </a:p>
        </p:txBody>
      </p:sp>
      <p:sp>
        <p:nvSpPr>
          <p:cNvPr id="8" name="Titre 7">
            <a:extLst>
              <a:ext uri="{FF2B5EF4-FFF2-40B4-BE49-F238E27FC236}">
                <a16:creationId xmlns:a16="http://schemas.microsoft.com/office/drawing/2014/main" id="{9C886580-4A06-763F-44AB-FAC9A9599852}"/>
              </a:ext>
            </a:extLst>
          </p:cNvPr>
          <p:cNvSpPr>
            <a:spLocks noGrp="1"/>
          </p:cNvSpPr>
          <p:nvPr>
            <p:ph type="title"/>
          </p:nvPr>
        </p:nvSpPr>
        <p:spPr>
          <a:xfrm>
            <a:off x="0" y="190500"/>
            <a:ext cx="12201100" cy="565368"/>
          </a:xfrm>
          <a:prstGeom prst="rect">
            <a:avLst/>
          </a:prstGeom>
        </p:spPr>
        <p:txBody>
          <a:bodyPr>
            <a:normAutofit/>
          </a:bodyPr>
          <a:lstStyle>
            <a:lvl1pPr marL="268288" indent="0">
              <a:defRPr lang="en-US" sz="2000" b="0" i="0" u="none" strike="noStrike" cap="none" dirty="0">
                <a:solidFill>
                  <a:srgbClr val="017461"/>
                </a:solidFill>
                <a:latin typeface="Figtree Black"/>
                <a:ea typeface="Figtree Black"/>
                <a:cs typeface="Figtree Black"/>
                <a:sym typeface="Arial"/>
              </a:defRPr>
            </a:lvl1pPr>
          </a:lstStyle>
          <a:p>
            <a:endParaRPr lang="en-US" dirty="0"/>
          </a:p>
        </p:txBody>
      </p:sp>
      <p:sp>
        <p:nvSpPr>
          <p:cNvPr id="2" name="Rectangle : coins arrondis 1">
            <a:extLst>
              <a:ext uri="{FF2B5EF4-FFF2-40B4-BE49-F238E27FC236}">
                <a16:creationId xmlns:a16="http://schemas.microsoft.com/office/drawing/2014/main" id="{CE7AE61A-538D-7C5F-5F25-55F9E4E5C4E7}"/>
              </a:ext>
            </a:extLst>
          </p:cNvPr>
          <p:cNvSpPr/>
          <p:nvPr userDrawn="1"/>
        </p:nvSpPr>
        <p:spPr>
          <a:xfrm>
            <a:off x="6316343" y="984796"/>
            <a:ext cx="5300982" cy="2622771"/>
          </a:xfrm>
          <a:prstGeom prst="roundRect">
            <a:avLst>
              <a:gd name="adj" fmla="val 4823"/>
            </a:avLst>
          </a:prstGeom>
          <a:solidFill>
            <a:schemeClr val="bg1"/>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 coins arrondis 11">
            <a:extLst>
              <a:ext uri="{FF2B5EF4-FFF2-40B4-BE49-F238E27FC236}">
                <a16:creationId xmlns:a16="http://schemas.microsoft.com/office/drawing/2014/main" id="{4E38E119-9B2C-C01F-65B3-078814ACC48F}"/>
              </a:ext>
            </a:extLst>
          </p:cNvPr>
          <p:cNvSpPr/>
          <p:nvPr userDrawn="1"/>
        </p:nvSpPr>
        <p:spPr>
          <a:xfrm>
            <a:off x="6316343" y="3896382"/>
            <a:ext cx="5300982" cy="2622771"/>
          </a:xfrm>
          <a:prstGeom prst="roundRect">
            <a:avLst>
              <a:gd name="adj" fmla="val 4823"/>
            </a:avLst>
          </a:prstGeom>
          <a:solidFill>
            <a:schemeClr val="tx2"/>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 coins arrondis 2">
            <a:extLst>
              <a:ext uri="{FF2B5EF4-FFF2-40B4-BE49-F238E27FC236}">
                <a16:creationId xmlns:a16="http://schemas.microsoft.com/office/drawing/2014/main" id="{9C6339ED-8DDD-A1AC-0BA8-EF6BDFDA846F}"/>
              </a:ext>
            </a:extLst>
          </p:cNvPr>
          <p:cNvSpPr/>
          <p:nvPr userDrawn="1"/>
        </p:nvSpPr>
        <p:spPr>
          <a:xfrm>
            <a:off x="574675" y="984796"/>
            <a:ext cx="5300982" cy="5534357"/>
          </a:xfrm>
          <a:prstGeom prst="roundRect">
            <a:avLst>
              <a:gd name="adj" fmla="val 4823"/>
            </a:avLst>
          </a:prstGeom>
          <a:solidFill>
            <a:schemeClr val="bg1"/>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08904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4_Disposition personnalisée" userDrawn="1">
  <p:cSld name="4_Disposition personnalisée">
    <p:spTree>
      <p:nvGrpSpPr>
        <p:cNvPr id="1" name="Shape 153"/>
        <p:cNvGrpSpPr/>
        <p:nvPr/>
      </p:nvGrpSpPr>
      <p:grpSpPr>
        <a:xfrm>
          <a:off x="0" y="0"/>
          <a:ext cx="0" cy="0"/>
          <a:chOff x="0" y="0"/>
          <a:chExt cx="0" cy="0"/>
        </a:xfrm>
      </p:grpSpPr>
      <p:grpSp>
        <p:nvGrpSpPr>
          <p:cNvPr id="154" name="Google Shape;154;p24"/>
          <p:cNvGrpSpPr/>
          <p:nvPr/>
        </p:nvGrpSpPr>
        <p:grpSpPr>
          <a:xfrm>
            <a:off x="0" y="0"/>
            <a:ext cx="12192000" cy="6849464"/>
            <a:chOff x="0" y="0"/>
            <a:chExt cx="12192000" cy="6849464"/>
          </a:xfrm>
        </p:grpSpPr>
        <p:sp>
          <p:nvSpPr>
            <p:cNvPr id="155" name="Google Shape;155;p24"/>
            <p:cNvSpPr/>
            <p:nvPr/>
          </p:nvSpPr>
          <p:spPr>
            <a:xfrm>
              <a:off x="0" y="0"/>
              <a:ext cx="12192000" cy="6849464"/>
            </a:xfrm>
            <a:prstGeom prst="rect">
              <a:avLst/>
            </a:prstGeom>
            <a:gradFill>
              <a:gsLst>
                <a:gs pos="0">
                  <a:srgbClr val="FCFDFD"/>
                </a:gs>
                <a:gs pos="74000">
                  <a:srgbClr val="ECF4F1"/>
                </a:gs>
                <a:gs pos="83000">
                  <a:srgbClr val="ECF4F1"/>
                </a:gs>
                <a:gs pos="100000">
                  <a:srgbClr val="F2F8F6"/>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pic>
          <p:nvPicPr>
            <p:cNvPr id="156" name="Google Shape;156;p24"/>
            <p:cNvPicPr preferRelativeResize="0"/>
            <p:nvPr/>
          </p:nvPicPr>
          <p:blipFill rotWithShape="1">
            <a:blip r:embed="rId2">
              <a:alphaModFix amt="35000"/>
            </a:blip>
            <a:srcRect l="3778" t="3412" r="853" b="17325"/>
            <a:stretch/>
          </p:blipFill>
          <p:spPr>
            <a:xfrm rot="10800000">
              <a:off x="0" y="8536"/>
              <a:ext cx="12192000" cy="5651501"/>
            </a:xfrm>
            <a:prstGeom prst="rect">
              <a:avLst/>
            </a:prstGeom>
            <a:noFill/>
            <a:ln>
              <a:noFill/>
            </a:ln>
          </p:spPr>
        </p:pic>
      </p:grpSp>
      <p:sp>
        <p:nvSpPr>
          <p:cNvPr id="160" name="Google Shape;160;p24"/>
          <p:cNvSpPr/>
          <p:nvPr/>
        </p:nvSpPr>
        <p:spPr>
          <a:xfrm>
            <a:off x="6316343" y="984796"/>
            <a:ext cx="5300982" cy="2622771"/>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161" name="Google Shape;161;p24"/>
          <p:cNvSpPr/>
          <p:nvPr/>
        </p:nvSpPr>
        <p:spPr>
          <a:xfrm>
            <a:off x="6316343" y="3896382"/>
            <a:ext cx="5300982" cy="2622771"/>
          </a:xfrm>
          <a:prstGeom prst="roundRect">
            <a:avLst>
              <a:gd name="adj" fmla="val 4823"/>
            </a:avLst>
          </a:prstGeom>
          <a:solidFill>
            <a:schemeClr val="lt2"/>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162" name="Google Shape;162;p24"/>
          <p:cNvSpPr/>
          <p:nvPr/>
        </p:nvSpPr>
        <p:spPr>
          <a:xfrm>
            <a:off x="574675" y="984796"/>
            <a:ext cx="5300982" cy="5534357"/>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2" name="Google Shape;409;p49">
            <a:extLst>
              <a:ext uri="{FF2B5EF4-FFF2-40B4-BE49-F238E27FC236}">
                <a16:creationId xmlns:a16="http://schemas.microsoft.com/office/drawing/2014/main" id="{C701E2D0-1E64-7961-D5BC-20285CD094E7}"/>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1210279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lank" preserve="1" userDrawn="1">
  <p:cSld name="1_Blank">
    <p:bg>
      <p:bgPr>
        <a:blipFill>
          <a:blip r:embed="rId2">
            <a:alphaModFix/>
          </a:blip>
          <a:stretch>
            <a:fillRect/>
          </a:stretch>
        </a:blipFill>
        <a:effectLst/>
      </p:bgPr>
    </p:bg>
    <p:spTree>
      <p:nvGrpSpPr>
        <p:cNvPr id="1" name="Shape 416"/>
        <p:cNvGrpSpPr/>
        <p:nvPr/>
      </p:nvGrpSpPr>
      <p:grpSpPr>
        <a:xfrm>
          <a:off x="0" y="0"/>
          <a:ext cx="0" cy="0"/>
          <a:chOff x="0" y="0"/>
          <a:chExt cx="0" cy="0"/>
        </a:xfrm>
      </p:grpSpPr>
      <p:sp>
        <p:nvSpPr>
          <p:cNvPr id="417" name="Google Shape;417;p2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N°›</a:t>
            </a:fld>
            <a:endParaRPr lang="en-US"/>
          </a:p>
        </p:txBody>
      </p:sp>
      <p:sp>
        <p:nvSpPr>
          <p:cNvPr id="8" name="Titre 7">
            <a:extLst>
              <a:ext uri="{FF2B5EF4-FFF2-40B4-BE49-F238E27FC236}">
                <a16:creationId xmlns:a16="http://schemas.microsoft.com/office/drawing/2014/main" id="{9C886580-4A06-763F-44AB-FAC9A9599852}"/>
              </a:ext>
            </a:extLst>
          </p:cNvPr>
          <p:cNvSpPr>
            <a:spLocks noGrp="1"/>
          </p:cNvSpPr>
          <p:nvPr>
            <p:ph type="title"/>
          </p:nvPr>
        </p:nvSpPr>
        <p:spPr>
          <a:xfrm>
            <a:off x="0" y="190500"/>
            <a:ext cx="12201100" cy="565368"/>
          </a:xfrm>
          <a:prstGeom prst="rect">
            <a:avLst/>
          </a:prstGeom>
        </p:spPr>
        <p:txBody>
          <a:bodyPr>
            <a:normAutofit/>
          </a:bodyPr>
          <a:lstStyle>
            <a:lvl1pPr marL="268288" indent="0">
              <a:defRPr lang="en-US" sz="2000" b="0" i="0" u="none" strike="noStrike" cap="none" dirty="0">
                <a:solidFill>
                  <a:srgbClr val="017461"/>
                </a:solidFill>
                <a:latin typeface="Figtree Black"/>
                <a:ea typeface="Figtree Black"/>
                <a:cs typeface="Figtree Black"/>
                <a:sym typeface="Arial"/>
              </a:defRPr>
            </a:lvl1pPr>
          </a:lstStyle>
          <a:p>
            <a:endParaRPr lang="en-US" dirty="0"/>
          </a:p>
        </p:txBody>
      </p:sp>
      <p:sp>
        <p:nvSpPr>
          <p:cNvPr id="3" name="Rectangle : coins arrondis 2">
            <a:extLst>
              <a:ext uri="{FF2B5EF4-FFF2-40B4-BE49-F238E27FC236}">
                <a16:creationId xmlns:a16="http://schemas.microsoft.com/office/drawing/2014/main" id="{9C6339ED-8DDD-A1AC-0BA8-EF6BDFDA846F}"/>
              </a:ext>
            </a:extLst>
          </p:cNvPr>
          <p:cNvSpPr/>
          <p:nvPr userDrawn="1"/>
        </p:nvSpPr>
        <p:spPr>
          <a:xfrm>
            <a:off x="7975600" y="1016000"/>
            <a:ext cx="4216400" cy="5067300"/>
          </a:xfrm>
          <a:prstGeom prst="roundRect">
            <a:avLst>
              <a:gd name="adj" fmla="val 0"/>
            </a:avLst>
          </a:prstGeom>
          <a:solidFill>
            <a:schemeClr val="accent4">
              <a:lumMod val="20000"/>
              <a:lumOff val="80000"/>
              <a:alpha val="89000"/>
            </a:schemeClr>
          </a:solidFill>
          <a:ln w="3175">
            <a:solidFill>
              <a:schemeClr val="tx2"/>
            </a:solidFill>
          </a:ln>
          <a:effectLst>
            <a:outerShdw blurRad="50800" dist="12700" dir="5400000" algn="t" rotWithShape="0">
              <a:schemeClr val="accent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 coins arrondis 4">
            <a:extLst>
              <a:ext uri="{FF2B5EF4-FFF2-40B4-BE49-F238E27FC236}">
                <a16:creationId xmlns:a16="http://schemas.microsoft.com/office/drawing/2014/main" id="{E51B7598-EEE6-A4E2-6D14-C5BF7420FA77}"/>
              </a:ext>
            </a:extLst>
          </p:cNvPr>
          <p:cNvSpPr/>
          <p:nvPr userDrawn="1"/>
        </p:nvSpPr>
        <p:spPr>
          <a:xfrm>
            <a:off x="351154" y="974573"/>
            <a:ext cx="7256146" cy="5108727"/>
          </a:xfrm>
          <a:prstGeom prst="roundRect">
            <a:avLst>
              <a:gd name="adj" fmla="val 6775"/>
            </a:avLst>
          </a:prstGeom>
          <a:solidFill>
            <a:schemeClr val="bg1"/>
          </a:solidFill>
          <a:ln w="3175">
            <a:solidFill>
              <a:schemeClr val="tx2"/>
            </a:solidFill>
          </a:ln>
          <a:effectLst>
            <a:outerShdw blurRad="50800" dist="12700" dir="5400000" algn="t" rotWithShape="0">
              <a:schemeClr val="accent3">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9687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Disposition personnalisée" userDrawn="1">
  <p:cSld name="1_Disposition personnalisée">
    <p:spTree>
      <p:nvGrpSpPr>
        <p:cNvPr id="1" name="Shape 163"/>
        <p:cNvGrpSpPr/>
        <p:nvPr/>
      </p:nvGrpSpPr>
      <p:grpSpPr>
        <a:xfrm>
          <a:off x="0" y="0"/>
          <a:ext cx="0" cy="0"/>
          <a:chOff x="0" y="0"/>
          <a:chExt cx="0" cy="0"/>
        </a:xfrm>
      </p:grpSpPr>
      <p:grpSp>
        <p:nvGrpSpPr>
          <p:cNvPr id="164" name="Google Shape;164;p25"/>
          <p:cNvGrpSpPr/>
          <p:nvPr/>
        </p:nvGrpSpPr>
        <p:grpSpPr>
          <a:xfrm>
            <a:off x="0" y="0"/>
            <a:ext cx="12192000" cy="6849464"/>
            <a:chOff x="0" y="0"/>
            <a:chExt cx="12192000" cy="6849464"/>
          </a:xfrm>
        </p:grpSpPr>
        <p:sp>
          <p:nvSpPr>
            <p:cNvPr id="165" name="Google Shape;165;p25"/>
            <p:cNvSpPr/>
            <p:nvPr/>
          </p:nvSpPr>
          <p:spPr>
            <a:xfrm>
              <a:off x="0" y="0"/>
              <a:ext cx="12192000" cy="6849464"/>
            </a:xfrm>
            <a:prstGeom prst="rect">
              <a:avLst/>
            </a:prstGeom>
            <a:gradFill>
              <a:gsLst>
                <a:gs pos="0">
                  <a:srgbClr val="FCFDFD"/>
                </a:gs>
                <a:gs pos="74000">
                  <a:srgbClr val="ECF4F1"/>
                </a:gs>
                <a:gs pos="83000">
                  <a:srgbClr val="ECF4F1"/>
                </a:gs>
                <a:gs pos="100000">
                  <a:srgbClr val="F2F8F6"/>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pic>
          <p:nvPicPr>
            <p:cNvPr id="166" name="Google Shape;166;p25"/>
            <p:cNvPicPr preferRelativeResize="0"/>
            <p:nvPr/>
          </p:nvPicPr>
          <p:blipFill rotWithShape="1">
            <a:blip r:embed="rId2">
              <a:alphaModFix amt="35000"/>
            </a:blip>
            <a:srcRect l="3778" t="3412" r="853" b="17325"/>
            <a:stretch/>
          </p:blipFill>
          <p:spPr>
            <a:xfrm rot="10800000">
              <a:off x="0" y="8536"/>
              <a:ext cx="12192000" cy="5651501"/>
            </a:xfrm>
            <a:prstGeom prst="rect">
              <a:avLst/>
            </a:prstGeom>
            <a:noFill/>
            <a:ln>
              <a:noFill/>
            </a:ln>
          </p:spPr>
        </p:pic>
      </p:grpSp>
      <p:pic>
        <p:nvPicPr>
          <p:cNvPr id="2" name="Image 1" descr="Une image contenant texte, Police, logo, Graphique&#10;&#10;Description générée automatiquement">
            <a:extLst>
              <a:ext uri="{FF2B5EF4-FFF2-40B4-BE49-F238E27FC236}">
                <a16:creationId xmlns:a16="http://schemas.microsoft.com/office/drawing/2014/main" id="{818BA54B-46F3-2948-BD02-E36CDAC2271D}"/>
              </a:ext>
            </a:extLst>
          </p:cNvPr>
          <p:cNvPicPr>
            <a:picLocks noChangeAspect="1"/>
          </p:cNvPicPr>
          <p:nvPr userDrawn="1"/>
        </p:nvPicPr>
        <p:blipFill>
          <a:blip r:embed="rId3">
            <a:clrChange>
              <a:clrFrom>
                <a:srgbClr val="FEFEFE"/>
              </a:clrFrom>
              <a:clrTo>
                <a:srgbClr val="FEFEFE">
                  <a:alpha val="0"/>
                </a:srgbClr>
              </a:clrTo>
            </a:clrChange>
            <a:biLevel thresh="25000"/>
          </a:blip>
          <a:stretch>
            <a:fillRect/>
          </a:stretch>
        </p:blipFill>
        <p:spPr>
          <a:xfrm>
            <a:off x="10904189" y="6310831"/>
            <a:ext cx="1156978" cy="431592"/>
          </a:xfrm>
          <a:prstGeom prst="rect">
            <a:avLst/>
          </a:prstGeom>
        </p:spPr>
      </p:pic>
      <p:sp>
        <p:nvSpPr>
          <p:cNvPr id="3" name="Google Shape;409;p49">
            <a:extLst>
              <a:ext uri="{FF2B5EF4-FFF2-40B4-BE49-F238E27FC236}">
                <a16:creationId xmlns:a16="http://schemas.microsoft.com/office/drawing/2014/main" id="{F25C32FC-39FD-548A-6A27-BE39EFA79C36}"/>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4306481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8_Disposition personnalisée" userDrawn="1">
  <p:cSld name="8_Disposition personnalisée">
    <p:spTree>
      <p:nvGrpSpPr>
        <p:cNvPr id="1" name="Shape 170"/>
        <p:cNvGrpSpPr/>
        <p:nvPr/>
      </p:nvGrpSpPr>
      <p:grpSpPr>
        <a:xfrm>
          <a:off x="0" y="0"/>
          <a:ext cx="0" cy="0"/>
          <a:chOff x="0" y="0"/>
          <a:chExt cx="0" cy="0"/>
        </a:xfrm>
      </p:grpSpPr>
      <p:grpSp>
        <p:nvGrpSpPr>
          <p:cNvPr id="171" name="Google Shape;171;p26"/>
          <p:cNvGrpSpPr/>
          <p:nvPr/>
        </p:nvGrpSpPr>
        <p:grpSpPr>
          <a:xfrm>
            <a:off x="0" y="0"/>
            <a:ext cx="12192000" cy="6849464"/>
            <a:chOff x="0" y="0"/>
            <a:chExt cx="12192000" cy="6849464"/>
          </a:xfrm>
        </p:grpSpPr>
        <p:sp>
          <p:nvSpPr>
            <p:cNvPr id="172" name="Google Shape;172;p26"/>
            <p:cNvSpPr/>
            <p:nvPr/>
          </p:nvSpPr>
          <p:spPr>
            <a:xfrm>
              <a:off x="0" y="0"/>
              <a:ext cx="12192000" cy="6849464"/>
            </a:xfrm>
            <a:prstGeom prst="rect">
              <a:avLst/>
            </a:prstGeom>
            <a:gradFill>
              <a:gsLst>
                <a:gs pos="0">
                  <a:srgbClr val="FCFDFD"/>
                </a:gs>
                <a:gs pos="74000">
                  <a:srgbClr val="ECF4F1"/>
                </a:gs>
                <a:gs pos="83000">
                  <a:srgbClr val="ECF4F1"/>
                </a:gs>
                <a:gs pos="100000">
                  <a:srgbClr val="F2F8F6"/>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pic>
          <p:nvPicPr>
            <p:cNvPr id="173" name="Google Shape;173;p26"/>
            <p:cNvPicPr preferRelativeResize="0"/>
            <p:nvPr/>
          </p:nvPicPr>
          <p:blipFill rotWithShape="1">
            <a:blip r:embed="rId2">
              <a:alphaModFix amt="35000"/>
            </a:blip>
            <a:srcRect l="3778" t="3412" r="853" b="17325"/>
            <a:stretch/>
          </p:blipFill>
          <p:spPr>
            <a:xfrm rot="10800000">
              <a:off x="0" y="8536"/>
              <a:ext cx="12192000" cy="5651501"/>
            </a:xfrm>
            <a:prstGeom prst="rect">
              <a:avLst/>
            </a:prstGeom>
            <a:noFill/>
            <a:ln>
              <a:noFill/>
            </a:ln>
          </p:spPr>
        </p:pic>
      </p:grpSp>
      <p:sp>
        <p:nvSpPr>
          <p:cNvPr id="174" name="Google Shape;174;p26"/>
          <p:cNvSpPr/>
          <p:nvPr/>
        </p:nvSpPr>
        <p:spPr>
          <a:xfrm>
            <a:off x="9100" y="3947436"/>
            <a:ext cx="12192000" cy="126304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175" name="Google Shape;175;p26"/>
          <p:cNvSpPr/>
          <p:nvPr/>
        </p:nvSpPr>
        <p:spPr>
          <a:xfrm>
            <a:off x="9100" y="5221293"/>
            <a:ext cx="12192000" cy="126304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176" name="Google Shape;176;p26"/>
          <p:cNvSpPr/>
          <p:nvPr/>
        </p:nvSpPr>
        <p:spPr>
          <a:xfrm>
            <a:off x="9100" y="2673580"/>
            <a:ext cx="12192000" cy="126304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177" name="Google Shape;177;p26"/>
          <p:cNvSpPr/>
          <p:nvPr/>
        </p:nvSpPr>
        <p:spPr>
          <a:xfrm>
            <a:off x="9100" y="1399724"/>
            <a:ext cx="12192000" cy="126304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182" name="Google Shape;182;p26"/>
          <p:cNvSpPr/>
          <p:nvPr/>
        </p:nvSpPr>
        <p:spPr>
          <a:xfrm>
            <a:off x="-1" y="1059206"/>
            <a:ext cx="11967097" cy="305296"/>
          </a:xfrm>
          <a:prstGeom prst="homePlate">
            <a:avLst>
              <a:gd name="adj" fmla="val 62961"/>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Medium"/>
              <a:ea typeface="Figtree Medium"/>
              <a:cs typeface="Figtree Medium"/>
              <a:sym typeface="Figtree Medium"/>
            </a:endParaRPr>
          </a:p>
        </p:txBody>
      </p:sp>
      <p:sp>
        <p:nvSpPr>
          <p:cNvPr id="196" name="Google Shape;196;p26"/>
          <p:cNvSpPr/>
          <p:nvPr/>
        </p:nvSpPr>
        <p:spPr>
          <a:xfrm>
            <a:off x="6929340" y="1364502"/>
            <a:ext cx="828877" cy="5493501"/>
          </a:xfrm>
          <a:prstGeom prst="rect">
            <a:avLst/>
          </a:prstGeom>
          <a:solidFill>
            <a:schemeClr val="dk1">
              <a:alpha val="588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EEEEEE"/>
              </a:solidFill>
              <a:latin typeface="Figtree"/>
              <a:ea typeface="Figtree"/>
              <a:cs typeface="Figtree"/>
              <a:sym typeface="Figtree"/>
            </a:endParaRPr>
          </a:p>
        </p:txBody>
      </p:sp>
      <p:cxnSp>
        <p:nvCxnSpPr>
          <p:cNvPr id="197" name="Google Shape;197;p26"/>
          <p:cNvCxnSpPr/>
          <p:nvPr/>
        </p:nvCxnSpPr>
        <p:spPr>
          <a:xfrm flipH="1">
            <a:off x="1348470" y="1621022"/>
            <a:ext cx="42153" cy="4920198"/>
          </a:xfrm>
          <a:prstGeom prst="straightConnector1">
            <a:avLst/>
          </a:prstGeom>
          <a:noFill/>
          <a:ln w="19050" cap="flat" cmpd="sng">
            <a:solidFill>
              <a:schemeClr val="accent1"/>
            </a:solidFill>
            <a:prstDash val="solid"/>
            <a:miter lim="800000"/>
            <a:headEnd type="none" w="sm" len="sm"/>
            <a:tailEnd type="none" w="sm" len="sm"/>
          </a:ln>
        </p:spPr>
      </p:cxnSp>
      <p:sp>
        <p:nvSpPr>
          <p:cNvPr id="198" name="Google Shape;198;p26"/>
          <p:cNvSpPr txBox="1"/>
          <p:nvPr/>
        </p:nvSpPr>
        <p:spPr>
          <a:xfrm>
            <a:off x="386144" y="1090328"/>
            <a:ext cx="576181"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chemeClr val="lt1"/>
                </a:solidFill>
                <a:latin typeface="Figtree Medium"/>
                <a:ea typeface="Figtree Medium"/>
                <a:cs typeface="Figtree Medium"/>
                <a:sym typeface="Figtree Medium"/>
              </a:rPr>
              <a:t>2026</a:t>
            </a:r>
            <a:endParaRPr sz="1000" b="1">
              <a:solidFill>
                <a:schemeClr val="lt1"/>
              </a:solidFill>
              <a:latin typeface="Figtree Medium"/>
              <a:ea typeface="Figtree Medium"/>
              <a:cs typeface="Figtree Medium"/>
              <a:sym typeface="Figtree Medium"/>
            </a:endParaRPr>
          </a:p>
        </p:txBody>
      </p:sp>
      <p:pic>
        <p:nvPicPr>
          <p:cNvPr id="2" name="Image 1" descr="Une image contenant texte, Police, logo, Graphique&#10;&#10;Description générée automatiquement">
            <a:extLst>
              <a:ext uri="{FF2B5EF4-FFF2-40B4-BE49-F238E27FC236}">
                <a16:creationId xmlns:a16="http://schemas.microsoft.com/office/drawing/2014/main" id="{BBEBF48B-1017-D195-445A-B8DF361B7EE7}"/>
              </a:ext>
            </a:extLst>
          </p:cNvPr>
          <p:cNvPicPr>
            <a:picLocks noChangeAspect="1"/>
          </p:cNvPicPr>
          <p:nvPr userDrawn="1"/>
        </p:nvPicPr>
        <p:blipFill>
          <a:blip r:embed="rId3">
            <a:clrChange>
              <a:clrFrom>
                <a:srgbClr val="FEFEFE"/>
              </a:clrFrom>
              <a:clrTo>
                <a:srgbClr val="FEFEFE">
                  <a:alpha val="0"/>
                </a:srgbClr>
              </a:clrTo>
            </a:clrChange>
            <a:biLevel thresh="25000"/>
          </a:blip>
          <a:stretch>
            <a:fillRect/>
          </a:stretch>
        </p:blipFill>
        <p:spPr>
          <a:xfrm>
            <a:off x="10904189" y="6310831"/>
            <a:ext cx="1156978" cy="431592"/>
          </a:xfrm>
          <a:prstGeom prst="rect">
            <a:avLst/>
          </a:prstGeom>
        </p:spPr>
      </p:pic>
      <p:sp>
        <p:nvSpPr>
          <p:cNvPr id="3" name="Google Shape;409;p49">
            <a:extLst>
              <a:ext uri="{FF2B5EF4-FFF2-40B4-BE49-F238E27FC236}">
                <a16:creationId xmlns:a16="http://schemas.microsoft.com/office/drawing/2014/main" id="{857614C1-A211-53BB-E59D-EEF50B4FC67C}"/>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797134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0_Disposition personnalisée">
  <p:cSld name="10_Disposition personnalisée">
    <p:spTree>
      <p:nvGrpSpPr>
        <p:cNvPr id="1" name="Shape 333"/>
        <p:cNvGrpSpPr/>
        <p:nvPr/>
      </p:nvGrpSpPr>
      <p:grpSpPr>
        <a:xfrm>
          <a:off x="0" y="0"/>
          <a:ext cx="0" cy="0"/>
          <a:chOff x="0" y="0"/>
          <a:chExt cx="0" cy="0"/>
        </a:xfrm>
      </p:grpSpPr>
      <p:pic>
        <p:nvPicPr>
          <p:cNvPr id="334" name="Google Shape;334;p42"/>
          <p:cNvPicPr preferRelativeResize="0"/>
          <p:nvPr/>
        </p:nvPicPr>
        <p:blipFill rotWithShape="1">
          <a:blip r:embed="rId2">
            <a:alphaModFix/>
          </a:blip>
          <a:srcRect t="2154" r="53" b="1392"/>
          <a:stretch/>
        </p:blipFill>
        <p:spPr>
          <a:xfrm>
            <a:off x="0" y="8536"/>
            <a:ext cx="12532093" cy="6849464"/>
          </a:xfrm>
          <a:prstGeom prst="rect">
            <a:avLst/>
          </a:prstGeom>
          <a:noFill/>
          <a:ln>
            <a:noFill/>
          </a:ln>
        </p:spPr>
      </p:pic>
      <p:sp>
        <p:nvSpPr>
          <p:cNvPr id="337" name="Google Shape;337;p42"/>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a:ea typeface="Calibri"/>
                <a:cs typeface="Calibri"/>
                <a:sym typeface="Calibri"/>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78790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11_Disposition personnalisée" userDrawn="1">
  <p:cSld name="11_Disposition personnalisée">
    <p:spTree>
      <p:nvGrpSpPr>
        <p:cNvPr id="1" name="Shape 338"/>
        <p:cNvGrpSpPr/>
        <p:nvPr/>
      </p:nvGrpSpPr>
      <p:grpSpPr>
        <a:xfrm>
          <a:off x="0" y="0"/>
          <a:ext cx="0" cy="0"/>
          <a:chOff x="0" y="0"/>
          <a:chExt cx="0" cy="0"/>
        </a:xfrm>
      </p:grpSpPr>
      <p:sp>
        <p:nvSpPr>
          <p:cNvPr id="342" name="Google Shape;342;p43"/>
          <p:cNvSpPr/>
          <p:nvPr/>
        </p:nvSpPr>
        <p:spPr>
          <a:xfrm>
            <a:off x="6316343" y="984796"/>
            <a:ext cx="5300982" cy="2622771"/>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343" name="Google Shape;343;p43"/>
          <p:cNvSpPr/>
          <p:nvPr/>
        </p:nvSpPr>
        <p:spPr>
          <a:xfrm>
            <a:off x="6316343" y="3896382"/>
            <a:ext cx="5300982" cy="2622771"/>
          </a:xfrm>
          <a:prstGeom prst="roundRect">
            <a:avLst>
              <a:gd name="adj" fmla="val 4823"/>
            </a:avLst>
          </a:prstGeom>
          <a:solidFill>
            <a:schemeClr val="lt2"/>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344" name="Google Shape;344;p43"/>
          <p:cNvSpPr/>
          <p:nvPr/>
        </p:nvSpPr>
        <p:spPr>
          <a:xfrm>
            <a:off x="574675" y="984796"/>
            <a:ext cx="5300982" cy="5534357"/>
          </a:xfrm>
          <a:prstGeom prst="roundRect">
            <a:avLst>
              <a:gd name="adj" fmla="val 4823"/>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chemeClr val="accent2">
                <a:alpha val="40000"/>
              </a:scheme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2" name="Google Shape;409;p49">
            <a:extLst>
              <a:ext uri="{FF2B5EF4-FFF2-40B4-BE49-F238E27FC236}">
                <a16:creationId xmlns:a16="http://schemas.microsoft.com/office/drawing/2014/main" id="{BDE812DA-72E1-A8ED-8699-5830B5E0B361}"/>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5895099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2_Disposition personnalisée" userDrawn="1">
  <p:cSld name="12_Disposition personnalisée">
    <p:spTree>
      <p:nvGrpSpPr>
        <p:cNvPr id="1" name="Shape 345"/>
        <p:cNvGrpSpPr/>
        <p:nvPr/>
      </p:nvGrpSpPr>
      <p:grpSpPr>
        <a:xfrm>
          <a:off x="0" y="0"/>
          <a:ext cx="0" cy="0"/>
          <a:chOff x="0" y="0"/>
          <a:chExt cx="0" cy="0"/>
        </a:xfrm>
      </p:grpSpPr>
      <p:grpSp>
        <p:nvGrpSpPr>
          <p:cNvPr id="346" name="Google Shape;346;p44"/>
          <p:cNvGrpSpPr/>
          <p:nvPr/>
        </p:nvGrpSpPr>
        <p:grpSpPr>
          <a:xfrm>
            <a:off x="0" y="0"/>
            <a:ext cx="12192000" cy="6849464"/>
            <a:chOff x="0" y="0"/>
            <a:chExt cx="12192000" cy="6849464"/>
          </a:xfrm>
        </p:grpSpPr>
        <p:sp>
          <p:nvSpPr>
            <p:cNvPr id="347" name="Google Shape;347;p44"/>
            <p:cNvSpPr/>
            <p:nvPr/>
          </p:nvSpPr>
          <p:spPr>
            <a:xfrm>
              <a:off x="0" y="0"/>
              <a:ext cx="12192000" cy="6849464"/>
            </a:xfrm>
            <a:prstGeom prst="rect">
              <a:avLst/>
            </a:prstGeom>
            <a:gradFill>
              <a:gsLst>
                <a:gs pos="0">
                  <a:srgbClr val="FCFDFD"/>
                </a:gs>
                <a:gs pos="74000">
                  <a:srgbClr val="ECF4F1"/>
                </a:gs>
                <a:gs pos="83000">
                  <a:srgbClr val="ECF4F1"/>
                </a:gs>
                <a:gs pos="100000">
                  <a:srgbClr val="F2F8F6"/>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pic>
          <p:nvPicPr>
            <p:cNvPr id="348" name="Google Shape;348;p44"/>
            <p:cNvPicPr preferRelativeResize="0"/>
            <p:nvPr/>
          </p:nvPicPr>
          <p:blipFill rotWithShape="1">
            <a:blip r:embed="rId2">
              <a:alphaModFix amt="35000"/>
            </a:blip>
            <a:srcRect l="3778" t="3412" r="853" b="17325"/>
            <a:stretch/>
          </p:blipFill>
          <p:spPr>
            <a:xfrm rot="10800000">
              <a:off x="0" y="8536"/>
              <a:ext cx="12192000" cy="5651501"/>
            </a:xfrm>
            <a:prstGeom prst="rect">
              <a:avLst/>
            </a:prstGeom>
            <a:noFill/>
            <a:ln>
              <a:noFill/>
            </a:ln>
          </p:spPr>
        </p:pic>
      </p:grpSp>
      <p:sp>
        <p:nvSpPr>
          <p:cNvPr id="349" name="Google Shape;349;p44"/>
          <p:cNvSpPr/>
          <p:nvPr/>
        </p:nvSpPr>
        <p:spPr>
          <a:xfrm>
            <a:off x="0" y="5524501"/>
            <a:ext cx="12192000" cy="1333500"/>
          </a:xfrm>
          <a:prstGeom prst="rect">
            <a:avLst/>
          </a:prstGeom>
          <a:solidFill>
            <a:srgbClr val="BBD8C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350" name="Google Shape;350;p44"/>
          <p:cNvSpPr/>
          <p:nvPr/>
        </p:nvSpPr>
        <p:spPr>
          <a:xfrm>
            <a:off x="490854" y="755868"/>
            <a:ext cx="11210292" cy="5387956"/>
          </a:xfrm>
          <a:prstGeom prst="roundRect">
            <a:avLst>
              <a:gd name="adj" fmla="val 6775"/>
            </a:avLst>
          </a:prstGeom>
          <a:solidFill>
            <a:schemeClr val="lt1"/>
          </a:solidFill>
          <a:ln w="9525" cap="flat" cmpd="sng">
            <a:solidFill>
              <a:schemeClr val="lt2"/>
            </a:solidFill>
            <a:prstDash val="solid"/>
            <a:miter lim="800000"/>
            <a:headEnd type="none" w="sm" len="sm"/>
            <a:tailEnd type="none" w="sm" len="sm"/>
          </a:ln>
          <a:effectLst>
            <a:outerShdw blurRad="50800" dist="12700" dir="5400000" algn="t" rotWithShape="0">
              <a:srgbClr val="DAE8E9">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igtree"/>
              <a:ea typeface="Figtree"/>
              <a:cs typeface="Figtree"/>
              <a:sym typeface="Figtree"/>
            </a:endParaRPr>
          </a:p>
        </p:txBody>
      </p:sp>
      <p:sp>
        <p:nvSpPr>
          <p:cNvPr id="3" name="Google Shape;409;p49">
            <a:extLst>
              <a:ext uri="{FF2B5EF4-FFF2-40B4-BE49-F238E27FC236}">
                <a16:creationId xmlns:a16="http://schemas.microsoft.com/office/drawing/2014/main" id="{D6015F6D-AA34-F8CB-2B16-A8E5A3C10292}"/>
              </a:ext>
            </a:extLst>
          </p:cNvPr>
          <p:cNvSpPr txBox="1">
            <a:spLocks noGrp="1"/>
          </p:cNvSpPr>
          <p:nvPr>
            <p:ph type="title"/>
          </p:nvPr>
        </p:nvSpPr>
        <p:spPr>
          <a:xfrm>
            <a:off x="0" y="190500"/>
            <a:ext cx="12201100" cy="565368"/>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SzPts val="1400"/>
              <a:buNone/>
              <a:defRPr sz="2000" b="1" i="0" u="none" strike="noStrike"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064143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21_Disposition personnalisée">
  <p:cSld name="21_Disposition personnalisée">
    <p:spTree>
      <p:nvGrpSpPr>
        <p:cNvPr id="1" name="Shape 448"/>
        <p:cNvGrpSpPr/>
        <p:nvPr/>
      </p:nvGrpSpPr>
      <p:grpSpPr>
        <a:xfrm>
          <a:off x="0" y="0"/>
          <a:ext cx="0" cy="0"/>
          <a:chOff x="0" y="0"/>
          <a:chExt cx="0" cy="0"/>
        </a:xfrm>
      </p:grpSpPr>
      <p:pic>
        <p:nvPicPr>
          <p:cNvPr id="449" name="Google Shape;449;p53"/>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52" name="Google Shape;452;p53"/>
          <p:cNvSpPr txBox="1">
            <a:spLocks noGrp="1"/>
          </p:cNvSpPr>
          <p:nvPr>
            <p:ph type="title"/>
          </p:nvPr>
        </p:nvSpPr>
        <p:spPr>
          <a:xfrm>
            <a:off x="654011" y="3733800"/>
            <a:ext cx="4773122" cy="132556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3200" b="1" i="0" u="none" strike="noStrike" cap="none">
                <a:solidFill>
                  <a:schemeClr val="accent1"/>
                </a:solidFill>
                <a:latin typeface="+mn-lt"/>
                <a:ea typeface="Figtree Black"/>
                <a:cs typeface="Figtree Black"/>
                <a:sym typeface="Figtree Black"/>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3848121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1.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18.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2.xml"/><Relationship Id="rId5" Type="http://schemas.openxmlformats.org/officeDocument/2006/relationships/slideLayout" Target="../slideLayouts/slideLayout26.xml"/><Relationship Id="rId15" Type="http://schemas.openxmlformats.org/officeDocument/2006/relationships/image" Target="../media/image20.png"/><Relationship Id="rId10"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3">
            <a:lum/>
          </a:blip>
          <a:srcRect/>
          <a:stretch>
            <a:fillRect/>
          </a:stretch>
        </a:blipFill>
        <a:effectLst/>
      </p:bgPr>
    </p:bg>
    <p:spTree>
      <p:nvGrpSpPr>
        <p:cNvPr id="1" name="Shape 5"/>
        <p:cNvGrpSpPr/>
        <p:nvPr/>
      </p:nvGrpSpPr>
      <p:grpSpPr>
        <a:xfrm>
          <a:off x="0" y="0"/>
          <a:ext cx="0" cy="0"/>
          <a:chOff x="0" y="0"/>
          <a:chExt cx="0" cy="0"/>
        </a:xfrm>
      </p:grpSpPr>
    </p:spTree>
    <p:extLst>
      <p:ext uri="{BB962C8B-B14F-4D97-AF65-F5344CB8AC3E}">
        <p14:creationId xmlns:p14="http://schemas.microsoft.com/office/powerpoint/2010/main" val="2436653346"/>
      </p:ext>
    </p:extLst>
  </p:cSld>
  <p:clrMap bg1="lt1" tx1="dk1" bg2="lt2" tx2="dk2" accent1="accent1" accent2="accent2" accent3="accent3" accent4="accent4" accent5="accent5" accent6="accent6" hlink="hlink" folHlink="folHlink"/>
  <p:sldLayoutIdLst>
    <p:sldLayoutId id="2147483924" r:id="rId1"/>
    <p:sldLayoutId id="2147483898" r:id="rId2"/>
    <p:sldLayoutId id="2147483899" r:id="rId3"/>
    <p:sldLayoutId id="2147483900" r:id="rId4"/>
    <p:sldLayoutId id="2147483901" r:id="rId5"/>
    <p:sldLayoutId id="2147483917" r:id="rId6"/>
    <p:sldLayoutId id="2147483918" r:id="rId7"/>
    <p:sldLayoutId id="2147483919" r:id="rId8"/>
    <p:sldLayoutId id="2147483928" r:id="rId9"/>
    <p:sldLayoutId id="2147483930" r:id="rId10"/>
    <p:sldLayoutId id="2147483931" r:id="rId11"/>
    <p:sldLayoutId id="2147483932" r:id="rId12"/>
    <p:sldLayoutId id="2147483933" r:id="rId13"/>
    <p:sldLayoutId id="2147483935" r:id="rId14"/>
    <p:sldLayoutId id="2147483940" r:id="rId15"/>
    <p:sldLayoutId id="2147483942" r:id="rId16"/>
    <p:sldLayoutId id="2147483943" r:id="rId17"/>
    <p:sldLayoutId id="2147483944" r:id="rId18"/>
    <p:sldLayoutId id="2147483945" r:id="rId19"/>
    <p:sldLayoutId id="2147483948" r:id="rId20"/>
    <p:sldLayoutId id="2147483959"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12">
            <a:alphaModFix/>
          </a:blip>
          <a:stretch>
            <a:fillRect/>
          </a:stretch>
        </a:blipFill>
        <a:effectLst/>
      </p:bgPr>
    </p:bg>
    <p:spTree>
      <p:nvGrpSpPr>
        <p:cNvPr id="1" name="Shape 37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05B7944-F51F-A39A-0D60-9FFA7CE034AF}"/>
              </a:ext>
            </a:extLst>
          </p:cNvPr>
          <p:cNvGraphicFramePr>
            <a:graphicFrameLocks noChangeAspect="1"/>
          </p:cNvGraphicFramePr>
          <p:nvPr userDrawn="1">
            <p:custDataLst>
              <p:tags r:id="rId11"/>
            </p:custDataLst>
            <p:extLst>
              <p:ext uri="{D42A27DB-BD31-4B8C-83A1-F6EECF244321}">
                <p14:modId xmlns:p14="http://schemas.microsoft.com/office/powerpoint/2010/main" val="248910298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13" imgW="416" imgH="416" progId="TCLayout.ActiveDocument.1">
                  <p:embed/>
                </p:oleObj>
              </mc:Choice>
              <mc:Fallback>
                <p:oleObj name="Diapositive think-cell" r:id="rId13" imgW="416" imgH="416" progId="TCLayout.ActiveDocument.1">
                  <p:embed/>
                  <p:pic>
                    <p:nvPicPr>
                      <p:cNvPr id="2" name="think-cell data - do not delete" hidden="1">
                        <a:extLst>
                          <a:ext uri="{FF2B5EF4-FFF2-40B4-BE49-F238E27FC236}">
                            <a16:creationId xmlns:a16="http://schemas.microsoft.com/office/drawing/2014/main" id="{E05B7944-F51F-A39A-0D60-9FFA7CE034AF}"/>
                          </a:ext>
                        </a:extLst>
                      </p:cNvPr>
                      <p:cNvPicPr/>
                      <p:nvPr/>
                    </p:nvPicPr>
                    <p:blipFill>
                      <a:blip r:embed="rId14"/>
                      <a:stretch>
                        <a:fillRect/>
                      </a:stretch>
                    </p:blipFill>
                    <p:spPr>
                      <a:xfrm>
                        <a:off x="2118" y="2118"/>
                        <a:ext cx="2117" cy="2117"/>
                      </a:xfrm>
                      <a:prstGeom prst="rect">
                        <a:avLst/>
                      </a:prstGeom>
                    </p:spPr>
                  </p:pic>
                </p:oleObj>
              </mc:Fallback>
            </mc:AlternateContent>
          </a:graphicData>
        </a:graphic>
      </p:graphicFrame>
      <p:sp>
        <p:nvSpPr>
          <p:cNvPr id="376" name="Google Shape;376;p1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US" smtClean="0"/>
              <a:pPr/>
              <a:t>‹N°›</a:t>
            </a:fld>
            <a:endParaRPr lang="en-US"/>
          </a:p>
        </p:txBody>
      </p:sp>
      <p:pic>
        <p:nvPicPr>
          <p:cNvPr id="3" name="Image 2">
            <a:extLst>
              <a:ext uri="{FF2B5EF4-FFF2-40B4-BE49-F238E27FC236}">
                <a16:creationId xmlns:a16="http://schemas.microsoft.com/office/drawing/2014/main" id="{FA6911B6-648B-3190-1CCF-4D9A858C03FD}"/>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9919526" y="6316081"/>
            <a:ext cx="1384917" cy="372321"/>
          </a:xfrm>
          <a:prstGeom prst="rect">
            <a:avLst/>
          </a:prstGeom>
        </p:spPr>
      </p:pic>
      <p:sp>
        <p:nvSpPr>
          <p:cNvPr id="4" name="Espace réservé du pied de page 3">
            <a:extLst>
              <a:ext uri="{FF2B5EF4-FFF2-40B4-BE49-F238E27FC236}">
                <a16:creationId xmlns:a16="http://schemas.microsoft.com/office/drawing/2014/main" id="{193F4815-E7DE-DCA0-C2E2-43A77D965FB2}"/>
              </a:ext>
            </a:extLst>
          </p:cNvPr>
          <p:cNvSpPr>
            <a:spLocks noGrp="1"/>
          </p:cNvSpPr>
          <p:nvPr>
            <p:ph type="ftr" sz="quarter" idx="3"/>
          </p:nvPr>
        </p:nvSpPr>
        <p:spPr>
          <a:xfrm>
            <a:off x="533400" y="6280150"/>
            <a:ext cx="4114800" cy="365125"/>
          </a:xfrm>
          <a:prstGeom prst="rect">
            <a:avLst/>
          </a:prstGeom>
        </p:spPr>
        <p:txBody>
          <a:bodyPr vert="horz" lIns="91440" tIns="45720" rIns="91440" bIns="45720" rtlCol="0" anchor="ctr"/>
          <a:lstStyle>
            <a:lvl1pPr algn="l">
              <a:defRPr sz="1200">
                <a:solidFill>
                  <a:schemeClr val="tx1">
                    <a:tint val="82000"/>
                  </a:schemeClr>
                </a:solidFill>
                <a:latin typeface="+mj-lt"/>
              </a:defRPr>
            </a:lvl1pPr>
          </a:lstStyle>
          <a:p>
            <a:r>
              <a:rPr lang="fr-FR" dirty="0"/>
              <a:t>Titre de la présentation</a:t>
            </a:r>
            <a:endParaRPr lang="en-US" dirty="0"/>
          </a:p>
        </p:txBody>
      </p:sp>
    </p:spTree>
    <p:extLst>
      <p:ext uri="{BB962C8B-B14F-4D97-AF65-F5344CB8AC3E}">
        <p14:creationId xmlns:p14="http://schemas.microsoft.com/office/powerpoint/2010/main" val="2176847285"/>
      </p:ext>
    </p:extLst>
  </p:cSld>
  <p:clrMap bg1="lt1" tx1="dk1" bg2="dk2" tx2="lt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3" Type="http://schemas.openxmlformats.org/officeDocument/2006/relationships/image" Target="../media/image55.svg"/><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image" Target="../media/image54.png"/><Relationship Id="rId1" Type="http://schemas.openxmlformats.org/officeDocument/2006/relationships/slideLayout" Target="../slideLayouts/slideLayout20.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sv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jpeg"/><Relationship Id="rId14" Type="http://schemas.openxmlformats.org/officeDocument/2006/relationships/image" Target="../media/image66.svg"/></Relationships>
</file>

<file path=ppt/slides/_rels/slide12.xml.rels><?xml version="1.0" encoding="UTF-8" standalone="yes"?>
<Relationships xmlns="http://schemas.openxmlformats.org/package/2006/relationships"><Relationship Id="rId3" Type="http://schemas.openxmlformats.org/officeDocument/2006/relationships/image" Target="../media/image55.svg"/><Relationship Id="rId7" Type="http://schemas.openxmlformats.org/officeDocument/2006/relationships/image" Target="../media/image66.svg"/><Relationship Id="rId2" Type="http://schemas.openxmlformats.org/officeDocument/2006/relationships/image" Target="../media/image54.png"/><Relationship Id="rId1" Type="http://schemas.openxmlformats.org/officeDocument/2006/relationships/slideLayout" Target="../slideLayouts/slideLayout20.xml"/><Relationship Id="rId6" Type="http://schemas.openxmlformats.org/officeDocument/2006/relationships/image" Target="../media/image65.png"/><Relationship Id="rId5" Type="http://schemas.openxmlformats.org/officeDocument/2006/relationships/image" Target="../media/image57.svg"/><Relationship Id="rId4" Type="http://schemas.openxmlformats.org/officeDocument/2006/relationships/image" Target="../media/image56.pn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diagramColors" Target="../diagrams/colors1.xml"/><Relationship Id="rId12"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diagramQuickStyle" Target="../diagrams/quickStyle1.xml"/><Relationship Id="rId11" Type="http://schemas.openxmlformats.org/officeDocument/2006/relationships/image" Target="../media/image26.png"/><Relationship Id="rId5" Type="http://schemas.openxmlformats.org/officeDocument/2006/relationships/diagramLayout" Target="../diagrams/layout1.xml"/><Relationship Id="rId10" Type="http://schemas.openxmlformats.org/officeDocument/2006/relationships/image" Target="../media/image25.svg"/><Relationship Id="rId4" Type="http://schemas.openxmlformats.org/officeDocument/2006/relationships/diagramData" Target="../diagrams/data1.xml"/><Relationship Id="rId9" Type="http://schemas.openxmlformats.org/officeDocument/2006/relationships/image" Target="../media/image24.png"/></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svg"/><Relationship Id="rId12" Type="http://schemas.openxmlformats.org/officeDocument/2006/relationships/image" Target="../media/image39.png"/><Relationship Id="rId2" Type="http://schemas.openxmlformats.org/officeDocument/2006/relationships/image" Target="../media/image29.jpeg"/><Relationship Id="rId1" Type="http://schemas.openxmlformats.org/officeDocument/2006/relationships/slideLayout" Target="../slideLayouts/slideLayout8.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sv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 Id="rId14" Type="http://schemas.openxmlformats.org/officeDocument/2006/relationships/image" Target="../media/image41.png"/></Relationships>
</file>

<file path=ppt/slides/_rels/slide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hyperlink" Target="https://portail-univers.ca-ifcam.fr/fr/plans/owYpO/" TargetMode="External"/><Relationship Id="rId1" Type="http://schemas.openxmlformats.org/officeDocument/2006/relationships/slideLayout" Target="../slideLayouts/slideLayout18.xml"/><Relationship Id="rId6" Type="http://schemas.openxmlformats.org/officeDocument/2006/relationships/image" Target="../media/image30.png"/><Relationship Id="rId5" Type="http://schemas.openxmlformats.org/officeDocument/2006/relationships/image" Target="../media/image38.png"/><Relationship Id="rId4" Type="http://schemas.openxmlformats.org/officeDocument/2006/relationships/image" Target="../media/image44.png"/></Relationships>
</file>

<file path=ppt/slides/_rels/slide7.xml.rels><?xml version="1.0" encoding="UTF-8" standalone="yes"?>
<Relationships xmlns="http://schemas.openxmlformats.org/package/2006/relationships"><Relationship Id="rId8" Type="http://schemas.openxmlformats.org/officeDocument/2006/relationships/hyperlink" Target="https://www.youtube.com/watch?v=Aj8MAos6WAA" TargetMode="External"/><Relationship Id="rId3" Type="http://schemas.openxmlformats.org/officeDocument/2006/relationships/image" Target="../media/image48.png"/><Relationship Id="rId7" Type="http://schemas.microsoft.com/office/2007/relationships/hdphoto" Target="../media/hdphoto1.wdp"/><Relationship Id="rId2" Type="http://schemas.openxmlformats.org/officeDocument/2006/relationships/image" Target="../media/image47.png"/><Relationship Id="rId1" Type="http://schemas.openxmlformats.org/officeDocument/2006/relationships/slideLayout" Target="../slideLayouts/slideLayout2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svg"/><Relationship Id="rId9" Type="http://schemas.openxmlformats.org/officeDocument/2006/relationships/hyperlink" Target="https://bcove.video/4l4a9sA"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1.png"/><Relationship Id="rId1" Type="http://schemas.openxmlformats.org/officeDocument/2006/relationships/slideLayout" Target="../slideLayouts/slideLayout8.xml"/><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E4700F-1B01-F3C6-BEA4-C618922DEA99}"/>
              </a:ext>
            </a:extLst>
          </p:cNvPr>
          <p:cNvSpPr>
            <a:spLocks noGrp="1"/>
          </p:cNvSpPr>
          <p:nvPr>
            <p:ph type="title"/>
          </p:nvPr>
        </p:nvSpPr>
        <p:spPr>
          <a:xfrm>
            <a:off x="806294" y="3329399"/>
            <a:ext cx="4517546" cy="763600"/>
          </a:xfrm>
        </p:spPr>
        <p:txBody>
          <a:bodyPr/>
          <a:lstStyle/>
          <a:p>
            <a:r>
              <a:rPr lang="en-US" dirty="0"/>
              <a:t>Human Resources Bank</a:t>
            </a:r>
            <a:br>
              <a:rPr lang="en-US" dirty="0"/>
            </a:br>
            <a:r>
              <a:rPr lang="en-US" dirty="0"/>
              <a:t> Entrepreneur Market</a:t>
            </a:r>
            <a:br>
              <a:rPr lang="en-US" dirty="0"/>
            </a:br>
            <a:r>
              <a:rPr lang="en-US" dirty="0"/>
              <a:t>Silhame REKIA </a:t>
            </a:r>
          </a:p>
        </p:txBody>
      </p:sp>
    </p:spTree>
    <p:extLst>
      <p:ext uri="{BB962C8B-B14F-4D97-AF65-F5344CB8AC3E}">
        <p14:creationId xmlns:p14="http://schemas.microsoft.com/office/powerpoint/2010/main" val="3339529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9412E2-1751-B061-9D38-1644171AFD44}"/>
              </a:ext>
            </a:extLst>
          </p:cNvPr>
          <p:cNvSpPr>
            <a:spLocks noGrp="1"/>
          </p:cNvSpPr>
          <p:nvPr>
            <p:ph type="title"/>
          </p:nvPr>
        </p:nvSpPr>
        <p:spPr>
          <a:xfrm>
            <a:off x="0" y="209013"/>
            <a:ext cx="10196073" cy="540000"/>
          </a:xfrm>
        </p:spPr>
        <p:txBody>
          <a:bodyPr>
            <a:noAutofit/>
          </a:bodyPr>
          <a:lstStyle/>
          <a:p>
            <a:r>
              <a:rPr lang="en-US" sz="2000" b="1" dirty="0">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rPr>
              <a:t>Identify the company's segment and industry</a:t>
            </a:r>
            <a:endParaRPr lang="fr-FR" sz="2000" b="1" dirty="0">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endParaRPr>
          </a:p>
        </p:txBody>
      </p:sp>
      <p:grpSp>
        <p:nvGrpSpPr>
          <p:cNvPr id="3" name="Groupe 2">
            <a:extLst>
              <a:ext uri="{FF2B5EF4-FFF2-40B4-BE49-F238E27FC236}">
                <a16:creationId xmlns:a16="http://schemas.microsoft.com/office/drawing/2014/main" id="{AA5EF2C9-6310-611C-1F08-4566E4E2A2A5}"/>
              </a:ext>
            </a:extLst>
          </p:cNvPr>
          <p:cNvGrpSpPr/>
          <p:nvPr/>
        </p:nvGrpSpPr>
        <p:grpSpPr>
          <a:xfrm>
            <a:off x="2688908" y="2091733"/>
            <a:ext cx="3302639" cy="3445615"/>
            <a:chOff x="1037589" y="1906676"/>
            <a:chExt cx="3302639" cy="3445615"/>
          </a:xfrm>
        </p:grpSpPr>
        <p:sp>
          <p:nvSpPr>
            <p:cNvPr id="4" name="Rectangle à coins arrondis 17">
              <a:extLst>
                <a:ext uri="{FF2B5EF4-FFF2-40B4-BE49-F238E27FC236}">
                  <a16:creationId xmlns:a16="http://schemas.microsoft.com/office/drawing/2014/main" id="{4593E3EB-0EB4-E647-D2D5-33B137D73142}"/>
                </a:ext>
              </a:extLst>
            </p:cNvPr>
            <p:cNvSpPr/>
            <p:nvPr/>
          </p:nvSpPr>
          <p:spPr bwMode="gray">
            <a:xfrm>
              <a:off x="1037589" y="2818723"/>
              <a:ext cx="3302639" cy="2533568"/>
            </a:xfrm>
            <a:prstGeom prst="roundRect">
              <a:avLst>
                <a:gd name="adj" fmla="val 10080"/>
              </a:avLst>
            </a:prstGeom>
            <a:solidFill>
              <a:schemeClr val="bg1"/>
            </a:solidFill>
            <a:ln w="19050">
              <a:gradFill flip="none" rotWithShape="1">
                <a:gsLst>
                  <a:gs pos="0">
                    <a:schemeClr val="accent1">
                      <a:lumMod val="5000"/>
                      <a:lumOff val="95000"/>
                      <a:alpha val="0"/>
                    </a:schemeClr>
                  </a:gs>
                  <a:gs pos="95000">
                    <a:srgbClr val="007071"/>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36000" tIns="180000" rIns="36000" rtlCol="0" anchor="t"/>
            <a:lstStyle/>
            <a:p>
              <a:pPr algn="ctr" defTabSz="914400">
                <a:spcAft>
                  <a:spcPts val="600"/>
                </a:spcAft>
                <a:defRPr/>
              </a:pPr>
              <a:r>
                <a:rPr lang="fr-FR" sz="1600" b="1" dirty="0">
                  <a:solidFill>
                    <a:srgbClr val="007071"/>
                  </a:solidFill>
                </a:rPr>
                <a:t>23 INDUSTRY OFFERINGS</a:t>
              </a:r>
            </a:p>
            <a:p>
              <a:pPr algn="ctr" defTabSz="914400">
                <a:spcAft>
                  <a:spcPts val="600"/>
                </a:spcAft>
                <a:defRPr/>
              </a:pPr>
              <a:endParaRPr lang="fr-FR" altLang="fr-FR" sz="1400" kern="0" dirty="0">
                <a:solidFill>
                  <a:srgbClr val="007071"/>
                </a:solidFill>
              </a:endParaRPr>
            </a:p>
          </p:txBody>
        </p:sp>
        <p:grpSp>
          <p:nvGrpSpPr>
            <p:cNvPr id="5" name="Groupe 4">
              <a:extLst>
                <a:ext uri="{FF2B5EF4-FFF2-40B4-BE49-F238E27FC236}">
                  <a16:creationId xmlns:a16="http://schemas.microsoft.com/office/drawing/2014/main" id="{2520BE0F-70DB-8EF5-88AA-0E1F5A67FB40}"/>
                </a:ext>
              </a:extLst>
            </p:cNvPr>
            <p:cNvGrpSpPr/>
            <p:nvPr/>
          </p:nvGrpSpPr>
          <p:grpSpPr>
            <a:xfrm>
              <a:off x="1043593" y="1906676"/>
              <a:ext cx="3290634" cy="2386506"/>
              <a:chOff x="1043593" y="1906676"/>
              <a:chExt cx="3290634" cy="2386506"/>
            </a:xfrm>
          </p:grpSpPr>
          <p:grpSp>
            <p:nvGrpSpPr>
              <p:cNvPr id="6" name="Groupe 5">
                <a:extLst>
                  <a:ext uri="{FF2B5EF4-FFF2-40B4-BE49-F238E27FC236}">
                    <a16:creationId xmlns:a16="http://schemas.microsoft.com/office/drawing/2014/main" id="{E9395313-13DC-6F91-1E7B-12BE1B4C2CFB}"/>
                  </a:ext>
                </a:extLst>
              </p:cNvPr>
              <p:cNvGrpSpPr/>
              <p:nvPr/>
            </p:nvGrpSpPr>
            <p:grpSpPr>
              <a:xfrm>
                <a:off x="2277428" y="1906676"/>
                <a:ext cx="822960" cy="822960"/>
                <a:chOff x="6426255" y="1216840"/>
                <a:chExt cx="822960" cy="822960"/>
              </a:xfrm>
            </p:grpSpPr>
            <p:sp>
              <p:nvSpPr>
                <p:cNvPr id="8" name="Oval 8">
                  <a:extLst>
                    <a:ext uri="{FF2B5EF4-FFF2-40B4-BE49-F238E27FC236}">
                      <a16:creationId xmlns:a16="http://schemas.microsoft.com/office/drawing/2014/main" id="{0BDDD590-8479-5085-E64B-D134CA659E50}"/>
                    </a:ext>
                  </a:extLst>
                </p:cNvPr>
                <p:cNvSpPr>
                  <a:spLocks noChangeArrowheads="1"/>
                </p:cNvSpPr>
                <p:nvPr/>
              </p:nvSpPr>
              <p:spPr bwMode="auto">
                <a:xfrm>
                  <a:off x="6426255" y="1216840"/>
                  <a:ext cx="822960" cy="822960"/>
                </a:xfrm>
                <a:prstGeom prst="ellipse">
                  <a:avLst/>
                </a:prstGeom>
                <a:solidFill>
                  <a:srgbClr val="007071"/>
                </a:solidFill>
                <a:ln>
                  <a:noFill/>
                </a:ln>
              </p:spPr>
              <p:txBody>
                <a:bodyPr vert="horz" wrap="square" lIns="68580" tIns="34290" rIns="68580" bIns="34290" numCol="1" anchor="t" anchorCtr="0" compatLnSpc="1">
                  <a:prstTxWarp prst="textNoShape">
                    <a:avLst/>
                  </a:prstTxWarp>
                </a:bodyPr>
                <a:lstStyle/>
                <a:p>
                  <a:pPr defTabSz="957925">
                    <a:defRPr/>
                  </a:pPr>
                  <a:endParaRPr lang="en-US" sz="1800" kern="0">
                    <a:solidFill>
                      <a:srgbClr val="575454"/>
                    </a:solidFill>
                  </a:endParaRPr>
                </a:p>
              </p:txBody>
            </p:sp>
            <p:sp>
              <p:nvSpPr>
                <p:cNvPr id="9" name="Freeform 128">
                  <a:extLst>
                    <a:ext uri="{FF2B5EF4-FFF2-40B4-BE49-F238E27FC236}">
                      <a16:creationId xmlns:a16="http://schemas.microsoft.com/office/drawing/2014/main" id="{898BD732-480F-3DFA-FFEE-D818799656DE}"/>
                    </a:ext>
                  </a:extLst>
                </p:cNvPr>
                <p:cNvSpPr>
                  <a:spLocks noEditPoints="1"/>
                </p:cNvSpPr>
                <p:nvPr/>
              </p:nvSpPr>
              <p:spPr bwMode="auto">
                <a:xfrm>
                  <a:off x="6665540" y="1409162"/>
                  <a:ext cx="344391" cy="428477"/>
                </a:xfrm>
                <a:custGeom>
                  <a:avLst/>
                  <a:gdLst>
                    <a:gd name="T0" fmla="*/ 438 w 445"/>
                    <a:gd name="T1" fmla="*/ 57 h 553"/>
                    <a:gd name="T2" fmla="*/ 388 w 445"/>
                    <a:gd name="T3" fmla="*/ 57 h 553"/>
                    <a:gd name="T4" fmla="*/ 388 w 445"/>
                    <a:gd name="T5" fmla="*/ 7 h 553"/>
                    <a:gd name="T6" fmla="*/ 381 w 445"/>
                    <a:gd name="T7" fmla="*/ 0 h 553"/>
                    <a:gd name="T8" fmla="*/ 7 w 445"/>
                    <a:gd name="T9" fmla="*/ 0 h 553"/>
                    <a:gd name="T10" fmla="*/ 0 w 445"/>
                    <a:gd name="T11" fmla="*/ 7 h 553"/>
                    <a:gd name="T12" fmla="*/ 0 w 445"/>
                    <a:gd name="T13" fmla="*/ 489 h 553"/>
                    <a:gd name="T14" fmla="*/ 7 w 445"/>
                    <a:gd name="T15" fmla="*/ 496 h 553"/>
                    <a:gd name="T16" fmla="*/ 57 w 445"/>
                    <a:gd name="T17" fmla="*/ 496 h 553"/>
                    <a:gd name="T18" fmla="*/ 57 w 445"/>
                    <a:gd name="T19" fmla="*/ 546 h 553"/>
                    <a:gd name="T20" fmla="*/ 64 w 445"/>
                    <a:gd name="T21" fmla="*/ 553 h 553"/>
                    <a:gd name="T22" fmla="*/ 438 w 445"/>
                    <a:gd name="T23" fmla="*/ 553 h 553"/>
                    <a:gd name="T24" fmla="*/ 445 w 445"/>
                    <a:gd name="T25" fmla="*/ 546 h 553"/>
                    <a:gd name="T26" fmla="*/ 445 w 445"/>
                    <a:gd name="T27" fmla="*/ 64 h 553"/>
                    <a:gd name="T28" fmla="*/ 438 w 445"/>
                    <a:gd name="T29" fmla="*/ 57 h 553"/>
                    <a:gd name="T30" fmla="*/ 14 w 445"/>
                    <a:gd name="T31" fmla="*/ 14 h 553"/>
                    <a:gd name="T32" fmla="*/ 374 w 445"/>
                    <a:gd name="T33" fmla="*/ 14 h 553"/>
                    <a:gd name="T34" fmla="*/ 374 w 445"/>
                    <a:gd name="T35" fmla="*/ 482 h 553"/>
                    <a:gd name="T36" fmla="*/ 14 w 445"/>
                    <a:gd name="T37" fmla="*/ 482 h 553"/>
                    <a:gd name="T38" fmla="*/ 14 w 445"/>
                    <a:gd name="T39" fmla="*/ 14 h 553"/>
                    <a:gd name="T40" fmla="*/ 431 w 445"/>
                    <a:gd name="T41" fmla="*/ 539 h 553"/>
                    <a:gd name="T42" fmla="*/ 71 w 445"/>
                    <a:gd name="T43" fmla="*/ 539 h 553"/>
                    <a:gd name="T44" fmla="*/ 71 w 445"/>
                    <a:gd name="T45" fmla="*/ 496 h 553"/>
                    <a:gd name="T46" fmla="*/ 381 w 445"/>
                    <a:gd name="T47" fmla="*/ 496 h 553"/>
                    <a:gd name="T48" fmla="*/ 388 w 445"/>
                    <a:gd name="T49" fmla="*/ 489 h 553"/>
                    <a:gd name="T50" fmla="*/ 388 w 445"/>
                    <a:gd name="T51" fmla="*/ 71 h 553"/>
                    <a:gd name="T52" fmla="*/ 431 w 445"/>
                    <a:gd name="T53" fmla="*/ 71 h 553"/>
                    <a:gd name="T54" fmla="*/ 431 w 445"/>
                    <a:gd name="T55" fmla="*/ 539 h 553"/>
                    <a:gd name="T56" fmla="*/ 75 w 445"/>
                    <a:gd name="T57" fmla="*/ 335 h 553"/>
                    <a:gd name="T58" fmla="*/ 75 w 445"/>
                    <a:gd name="T59" fmla="*/ 325 h 553"/>
                    <a:gd name="T60" fmla="*/ 145 w 445"/>
                    <a:gd name="T61" fmla="*/ 256 h 553"/>
                    <a:gd name="T62" fmla="*/ 155 w 445"/>
                    <a:gd name="T63" fmla="*/ 256 h 553"/>
                    <a:gd name="T64" fmla="*/ 194 w 445"/>
                    <a:gd name="T65" fmla="*/ 295 h 553"/>
                    <a:gd name="T66" fmla="*/ 288 w 445"/>
                    <a:gd name="T67" fmla="*/ 201 h 553"/>
                    <a:gd name="T68" fmla="*/ 210 w 445"/>
                    <a:gd name="T69" fmla="*/ 201 h 553"/>
                    <a:gd name="T70" fmla="*/ 203 w 445"/>
                    <a:gd name="T71" fmla="*/ 194 h 553"/>
                    <a:gd name="T72" fmla="*/ 210 w 445"/>
                    <a:gd name="T73" fmla="*/ 187 h 553"/>
                    <a:gd name="T74" fmla="*/ 304 w 445"/>
                    <a:gd name="T75" fmla="*/ 187 h 553"/>
                    <a:gd name="T76" fmla="*/ 310 w 445"/>
                    <a:gd name="T77" fmla="*/ 189 h 553"/>
                    <a:gd name="T78" fmla="*/ 310 w 445"/>
                    <a:gd name="T79" fmla="*/ 189 h 553"/>
                    <a:gd name="T80" fmla="*/ 311 w 445"/>
                    <a:gd name="T81" fmla="*/ 196 h 553"/>
                    <a:gd name="T82" fmla="*/ 311 w 445"/>
                    <a:gd name="T83" fmla="*/ 288 h 553"/>
                    <a:gd name="T84" fmla="*/ 304 w 445"/>
                    <a:gd name="T85" fmla="*/ 295 h 553"/>
                    <a:gd name="T86" fmla="*/ 297 w 445"/>
                    <a:gd name="T87" fmla="*/ 288 h 553"/>
                    <a:gd name="T88" fmla="*/ 297 w 445"/>
                    <a:gd name="T89" fmla="*/ 211 h 553"/>
                    <a:gd name="T90" fmla="*/ 199 w 445"/>
                    <a:gd name="T91" fmla="*/ 310 h 553"/>
                    <a:gd name="T92" fmla="*/ 189 w 445"/>
                    <a:gd name="T93" fmla="*/ 310 h 553"/>
                    <a:gd name="T94" fmla="*/ 150 w 445"/>
                    <a:gd name="T95" fmla="*/ 271 h 553"/>
                    <a:gd name="T96" fmla="*/ 85 w 445"/>
                    <a:gd name="T97" fmla="*/ 335 h 553"/>
                    <a:gd name="T98" fmla="*/ 80 w 445"/>
                    <a:gd name="T99" fmla="*/ 337 h 553"/>
                    <a:gd name="T100" fmla="*/ 75 w 445"/>
                    <a:gd name="T101" fmla="*/ 335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5" h="553">
                      <a:moveTo>
                        <a:pt x="438" y="57"/>
                      </a:moveTo>
                      <a:cubicBezTo>
                        <a:pt x="388" y="57"/>
                        <a:pt x="388" y="57"/>
                        <a:pt x="388" y="57"/>
                      </a:cubicBezTo>
                      <a:cubicBezTo>
                        <a:pt x="388" y="7"/>
                        <a:pt x="388" y="7"/>
                        <a:pt x="388" y="7"/>
                      </a:cubicBezTo>
                      <a:cubicBezTo>
                        <a:pt x="388" y="3"/>
                        <a:pt x="385" y="0"/>
                        <a:pt x="381" y="0"/>
                      </a:cubicBezTo>
                      <a:cubicBezTo>
                        <a:pt x="7" y="0"/>
                        <a:pt x="7" y="0"/>
                        <a:pt x="7" y="0"/>
                      </a:cubicBezTo>
                      <a:cubicBezTo>
                        <a:pt x="3" y="0"/>
                        <a:pt x="0" y="3"/>
                        <a:pt x="0" y="7"/>
                      </a:cubicBezTo>
                      <a:cubicBezTo>
                        <a:pt x="0" y="489"/>
                        <a:pt x="0" y="489"/>
                        <a:pt x="0" y="489"/>
                      </a:cubicBezTo>
                      <a:cubicBezTo>
                        <a:pt x="0" y="493"/>
                        <a:pt x="3" y="496"/>
                        <a:pt x="7" y="496"/>
                      </a:cubicBezTo>
                      <a:cubicBezTo>
                        <a:pt x="57" y="496"/>
                        <a:pt x="57" y="496"/>
                        <a:pt x="57" y="496"/>
                      </a:cubicBezTo>
                      <a:cubicBezTo>
                        <a:pt x="57" y="546"/>
                        <a:pt x="57" y="546"/>
                        <a:pt x="57" y="546"/>
                      </a:cubicBezTo>
                      <a:cubicBezTo>
                        <a:pt x="57" y="550"/>
                        <a:pt x="60" y="553"/>
                        <a:pt x="64" y="553"/>
                      </a:cubicBezTo>
                      <a:cubicBezTo>
                        <a:pt x="438" y="553"/>
                        <a:pt x="438" y="553"/>
                        <a:pt x="438" y="553"/>
                      </a:cubicBezTo>
                      <a:cubicBezTo>
                        <a:pt x="442" y="553"/>
                        <a:pt x="445" y="550"/>
                        <a:pt x="445" y="546"/>
                      </a:cubicBezTo>
                      <a:cubicBezTo>
                        <a:pt x="445" y="64"/>
                        <a:pt x="445" y="64"/>
                        <a:pt x="445" y="64"/>
                      </a:cubicBezTo>
                      <a:cubicBezTo>
                        <a:pt x="445" y="60"/>
                        <a:pt x="442" y="57"/>
                        <a:pt x="438" y="57"/>
                      </a:cubicBezTo>
                      <a:close/>
                      <a:moveTo>
                        <a:pt x="14" y="14"/>
                      </a:moveTo>
                      <a:cubicBezTo>
                        <a:pt x="374" y="14"/>
                        <a:pt x="374" y="14"/>
                        <a:pt x="374" y="14"/>
                      </a:cubicBezTo>
                      <a:cubicBezTo>
                        <a:pt x="374" y="482"/>
                        <a:pt x="374" y="482"/>
                        <a:pt x="374" y="482"/>
                      </a:cubicBezTo>
                      <a:cubicBezTo>
                        <a:pt x="14" y="482"/>
                        <a:pt x="14" y="482"/>
                        <a:pt x="14" y="482"/>
                      </a:cubicBezTo>
                      <a:lnTo>
                        <a:pt x="14" y="14"/>
                      </a:lnTo>
                      <a:close/>
                      <a:moveTo>
                        <a:pt x="431" y="539"/>
                      </a:moveTo>
                      <a:cubicBezTo>
                        <a:pt x="71" y="539"/>
                        <a:pt x="71" y="539"/>
                        <a:pt x="71" y="539"/>
                      </a:cubicBezTo>
                      <a:cubicBezTo>
                        <a:pt x="71" y="496"/>
                        <a:pt x="71" y="496"/>
                        <a:pt x="71" y="496"/>
                      </a:cubicBezTo>
                      <a:cubicBezTo>
                        <a:pt x="381" y="496"/>
                        <a:pt x="381" y="496"/>
                        <a:pt x="381" y="496"/>
                      </a:cubicBezTo>
                      <a:cubicBezTo>
                        <a:pt x="385" y="496"/>
                        <a:pt x="388" y="493"/>
                        <a:pt x="388" y="489"/>
                      </a:cubicBezTo>
                      <a:cubicBezTo>
                        <a:pt x="388" y="71"/>
                        <a:pt x="388" y="71"/>
                        <a:pt x="388" y="71"/>
                      </a:cubicBezTo>
                      <a:cubicBezTo>
                        <a:pt x="431" y="71"/>
                        <a:pt x="431" y="71"/>
                        <a:pt x="431" y="71"/>
                      </a:cubicBezTo>
                      <a:lnTo>
                        <a:pt x="431" y="539"/>
                      </a:lnTo>
                      <a:close/>
                      <a:moveTo>
                        <a:pt x="75" y="335"/>
                      </a:moveTo>
                      <a:cubicBezTo>
                        <a:pt x="72" y="333"/>
                        <a:pt x="72" y="328"/>
                        <a:pt x="75" y="325"/>
                      </a:cubicBezTo>
                      <a:cubicBezTo>
                        <a:pt x="145" y="256"/>
                        <a:pt x="145" y="256"/>
                        <a:pt x="145" y="256"/>
                      </a:cubicBezTo>
                      <a:cubicBezTo>
                        <a:pt x="147" y="253"/>
                        <a:pt x="152" y="253"/>
                        <a:pt x="155" y="256"/>
                      </a:cubicBezTo>
                      <a:cubicBezTo>
                        <a:pt x="194" y="295"/>
                        <a:pt x="194" y="295"/>
                        <a:pt x="194" y="295"/>
                      </a:cubicBezTo>
                      <a:cubicBezTo>
                        <a:pt x="288" y="201"/>
                        <a:pt x="288" y="201"/>
                        <a:pt x="288" y="201"/>
                      </a:cubicBezTo>
                      <a:cubicBezTo>
                        <a:pt x="210" y="201"/>
                        <a:pt x="210" y="201"/>
                        <a:pt x="210" y="201"/>
                      </a:cubicBezTo>
                      <a:cubicBezTo>
                        <a:pt x="207" y="201"/>
                        <a:pt x="203" y="198"/>
                        <a:pt x="203" y="194"/>
                      </a:cubicBezTo>
                      <a:cubicBezTo>
                        <a:pt x="203" y="190"/>
                        <a:pt x="207" y="187"/>
                        <a:pt x="210" y="187"/>
                      </a:cubicBezTo>
                      <a:cubicBezTo>
                        <a:pt x="304" y="187"/>
                        <a:pt x="304" y="187"/>
                        <a:pt x="304" y="187"/>
                      </a:cubicBezTo>
                      <a:cubicBezTo>
                        <a:pt x="306" y="187"/>
                        <a:pt x="308" y="188"/>
                        <a:pt x="310" y="189"/>
                      </a:cubicBezTo>
                      <a:cubicBezTo>
                        <a:pt x="310" y="189"/>
                        <a:pt x="310" y="189"/>
                        <a:pt x="310" y="189"/>
                      </a:cubicBezTo>
                      <a:cubicBezTo>
                        <a:pt x="312" y="191"/>
                        <a:pt x="312" y="194"/>
                        <a:pt x="311" y="196"/>
                      </a:cubicBezTo>
                      <a:cubicBezTo>
                        <a:pt x="311" y="288"/>
                        <a:pt x="311" y="288"/>
                        <a:pt x="311" y="288"/>
                      </a:cubicBezTo>
                      <a:cubicBezTo>
                        <a:pt x="311" y="292"/>
                        <a:pt x="308" y="295"/>
                        <a:pt x="304" y="295"/>
                      </a:cubicBezTo>
                      <a:cubicBezTo>
                        <a:pt x="301" y="295"/>
                        <a:pt x="297" y="292"/>
                        <a:pt x="297" y="288"/>
                      </a:cubicBezTo>
                      <a:cubicBezTo>
                        <a:pt x="297" y="211"/>
                        <a:pt x="297" y="211"/>
                        <a:pt x="297" y="211"/>
                      </a:cubicBezTo>
                      <a:cubicBezTo>
                        <a:pt x="199" y="310"/>
                        <a:pt x="199" y="310"/>
                        <a:pt x="199" y="310"/>
                      </a:cubicBezTo>
                      <a:cubicBezTo>
                        <a:pt x="196" y="313"/>
                        <a:pt x="192" y="313"/>
                        <a:pt x="189" y="310"/>
                      </a:cubicBezTo>
                      <a:cubicBezTo>
                        <a:pt x="150" y="271"/>
                        <a:pt x="150" y="271"/>
                        <a:pt x="150" y="271"/>
                      </a:cubicBezTo>
                      <a:cubicBezTo>
                        <a:pt x="85" y="335"/>
                        <a:pt x="85" y="335"/>
                        <a:pt x="85" y="335"/>
                      </a:cubicBezTo>
                      <a:cubicBezTo>
                        <a:pt x="84" y="337"/>
                        <a:pt x="82" y="337"/>
                        <a:pt x="80" y="337"/>
                      </a:cubicBezTo>
                      <a:cubicBezTo>
                        <a:pt x="78" y="337"/>
                        <a:pt x="76" y="337"/>
                        <a:pt x="75" y="335"/>
                      </a:cubicBezTo>
                      <a:close/>
                    </a:path>
                  </a:pathLst>
                </a:custGeom>
                <a:solidFill>
                  <a:srgbClr val="FFFFFF"/>
                </a:solidFill>
                <a:ln>
                  <a:solidFill>
                    <a:sysClr val="window" lastClr="FFFFFF"/>
                  </a:solidFill>
                </a:ln>
              </p:spPr>
              <p:txBody>
                <a:bodyPr vert="horz" wrap="square" lIns="68580" tIns="34290" rIns="68580" bIns="34290" numCol="1" anchor="t" anchorCtr="0" compatLnSpc="1">
                  <a:prstTxWarp prst="textNoShape">
                    <a:avLst/>
                  </a:prstTxWarp>
                </a:bodyPr>
                <a:lstStyle/>
                <a:p>
                  <a:pPr defTabSz="957925">
                    <a:defRPr/>
                  </a:pPr>
                  <a:endParaRPr lang="en-US" sz="1800" kern="0">
                    <a:solidFill>
                      <a:srgbClr val="575454"/>
                    </a:solidFill>
                  </a:endParaRPr>
                </a:p>
              </p:txBody>
            </p:sp>
          </p:grpSp>
          <p:sp>
            <p:nvSpPr>
              <p:cNvPr id="7" name="Rectangle 6">
                <a:extLst>
                  <a:ext uri="{FF2B5EF4-FFF2-40B4-BE49-F238E27FC236}">
                    <a16:creationId xmlns:a16="http://schemas.microsoft.com/office/drawing/2014/main" id="{3643DDBC-C47E-C74E-E3BE-E120CAD69B1F}"/>
                  </a:ext>
                </a:extLst>
              </p:cNvPr>
              <p:cNvSpPr/>
              <p:nvPr/>
            </p:nvSpPr>
            <p:spPr>
              <a:xfrm>
                <a:off x="1043593" y="3693018"/>
                <a:ext cx="3290634" cy="600164"/>
              </a:xfrm>
              <a:prstGeom prst="rect">
                <a:avLst/>
              </a:prstGeom>
            </p:spPr>
            <p:txBody>
              <a:bodyPr wrap="square" lIns="252000" rIns="108000">
                <a:spAutoFit/>
              </a:bodyPr>
              <a:lstStyle/>
              <a:p>
                <a:pPr marL="176213" indent="-176213" defTabSz="914400">
                  <a:spcBef>
                    <a:spcPts val="600"/>
                  </a:spcBef>
                  <a:buClr>
                    <a:schemeClr val="accent2">
                      <a:lumMod val="50000"/>
                    </a:schemeClr>
                  </a:buClr>
                  <a:buSzPct val="80000"/>
                  <a:buFont typeface="Wingdings 3" panose="05040102010807070707" pitchFamily="18" charset="2"/>
                  <a:buChar char="u"/>
                  <a:defRPr/>
                </a:pPr>
                <a:r>
                  <a:rPr lang="fr-FR" altLang="fr-FR" sz="1400">
                    <a:solidFill>
                      <a:schemeClr val="tx1">
                        <a:lumMod val="50000"/>
                      </a:schemeClr>
                    </a:solidFill>
                  </a:rPr>
                  <a:t>Legal compliance
Targets: Professional branches</a:t>
                </a:r>
                <a:endParaRPr lang="fr-FR" sz="1400" kern="0" dirty="0">
                  <a:solidFill>
                    <a:schemeClr val="tx1">
                      <a:lumMod val="50000"/>
                    </a:schemeClr>
                  </a:solidFill>
                </a:endParaRPr>
              </a:p>
            </p:txBody>
          </p:sp>
        </p:grpSp>
      </p:grpSp>
      <p:grpSp>
        <p:nvGrpSpPr>
          <p:cNvPr id="10" name="Groupe 9">
            <a:extLst>
              <a:ext uri="{FF2B5EF4-FFF2-40B4-BE49-F238E27FC236}">
                <a16:creationId xmlns:a16="http://schemas.microsoft.com/office/drawing/2014/main" id="{D43674EF-A040-6500-C791-C60214A6CA5D}"/>
              </a:ext>
            </a:extLst>
          </p:cNvPr>
          <p:cNvGrpSpPr/>
          <p:nvPr/>
        </p:nvGrpSpPr>
        <p:grpSpPr>
          <a:xfrm>
            <a:off x="6096000" y="2086813"/>
            <a:ext cx="3302639" cy="3450535"/>
            <a:chOff x="4444681" y="1901756"/>
            <a:chExt cx="3302639" cy="3450535"/>
          </a:xfrm>
        </p:grpSpPr>
        <p:sp>
          <p:nvSpPr>
            <p:cNvPr id="11" name="Rectangle à coins arrondis 17">
              <a:extLst>
                <a:ext uri="{FF2B5EF4-FFF2-40B4-BE49-F238E27FC236}">
                  <a16:creationId xmlns:a16="http://schemas.microsoft.com/office/drawing/2014/main" id="{17CCEDD4-4260-4D63-0CDB-AC06F66ED676}"/>
                </a:ext>
              </a:extLst>
            </p:cNvPr>
            <p:cNvSpPr/>
            <p:nvPr/>
          </p:nvSpPr>
          <p:spPr bwMode="gray">
            <a:xfrm>
              <a:off x="4444681" y="2818723"/>
              <a:ext cx="3302639" cy="2533568"/>
            </a:xfrm>
            <a:prstGeom prst="roundRect">
              <a:avLst>
                <a:gd name="adj" fmla="val 10080"/>
              </a:avLst>
            </a:prstGeom>
            <a:solidFill>
              <a:schemeClr val="bg1"/>
            </a:solidFill>
            <a:ln w="19050">
              <a:gradFill flip="none" rotWithShape="1">
                <a:gsLst>
                  <a:gs pos="0">
                    <a:schemeClr val="accent1">
                      <a:lumMod val="5000"/>
                      <a:lumOff val="95000"/>
                      <a:alpha val="0"/>
                    </a:schemeClr>
                  </a:gs>
                  <a:gs pos="95000">
                    <a:srgbClr val="007071"/>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36000" tIns="180000" rIns="36000" rtlCol="0" anchor="t"/>
            <a:lstStyle/>
            <a:p>
              <a:pPr algn="ctr" defTabSz="914400">
                <a:spcAft>
                  <a:spcPts val="600"/>
                </a:spcAft>
                <a:defRPr/>
              </a:pPr>
              <a:r>
                <a:rPr lang="fr-FR" sz="1600" b="1" dirty="0">
                  <a:solidFill>
                    <a:srgbClr val="007071"/>
                  </a:solidFill>
                </a:rPr>
                <a:t>STANDARD/MODULAR OFFERINGS</a:t>
              </a:r>
            </a:p>
          </p:txBody>
        </p:sp>
        <p:grpSp>
          <p:nvGrpSpPr>
            <p:cNvPr id="12" name="Groupe 11">
              <a:extLst>
                <a:ext uri="{FF2B5EF4-FFF2-40B4-BE49-F238E27FC236}">
                  <a16:creationId xmlns:a16="http://schemas.microsoft.com/office/drawing/2014/main" id="{E1FE3DF1-EEDC-1279-146A-6DB63C334E70}"/>
                </a:ext>
              </a:extLst>
            </p:cNvPr>
            <p:cNvGrpSpPr/>
            <p:nvPr/>
          </p:nvGrpSpPr>
          <p:grpSpPr>
            <a:xfrm>
              <a:off x="4450685" y="1901756"/>
              <a:ext cx="3290634" cy="2822313"/>
              <a:chOff x="4450685" y="1901756"/>
              <a:chExt cx="3290634" cy="2822313"/>
            </a:xfrm>
          </p:grpSpPr>
          <p:grpSp>
            <p:nvGrpSpPr>
              <p:cNvPr id="13" name="Groupe 12">
                <a:extLst>
                  <a:ext uri="{FF2B5EF4-FFF2-40B4-BE49-F238E27FC236}">
                    <a16:creationId xmlns:a16="http://schemas.microsoft.com/office/drawing/2014/main" id="{385713F7-7465-91B5-A599-4CD31AF0AA45}"/>
                  </a:ext>
                </a:extLst>
              </p:cNvPr>
              <p:cNvGrpSpPr/>
              <p:nvPr/>
            </p:nvGrpSpPr>
            <p:grpSpPr>
              <a:xfrm>
                <a:off x="5518002" y="1901756"/>
                <a:ext cx="822960" cy="822960"/>
                <a:chOff x="1824709" y="1256783"/>
                <a:chExt cx="822960" cy="822960"/>
              </a:xfrm>
            </p:grpSpPr>
            <p:sp>
              <p:nvSpPr>
                <p:cNvPr id="15" name="Oval 10">
                  <a:extLst>
                    <a:ext uri="{FF2B5EF4-FFF2-40B4-BE49-F238E27FC236}">
                      <a16:creationId xmlns:a16="http://schemas.microsoft.com/office/drawing/2014/main" id="{B7FA79E2-B671-4B00-14DA-65A200808C86}"/>
                    </a:ext>
                  </a:extLst>
                </p:cNvPr>
                <p:cNvSpPr>
                  <a:spLocks noChangeArrowheads="1"/>
                </p:cNvSpPr>
                <p:nvPr/>
              </p:nvSpPr>
              <p:spPr bwMode="auto">
                <a:xfrm>
                  <a:off x="1824709" y="1256783"/>
                  <a:ext cx="822960" cy="822960"/>
                </a:xfrm>
                <a:prstGeom prst="ellipse">
                  <a:avLst/>
                </a:prstGeom>
                <a:solidFill>
                  <a:srgbClr val="007071"/>
                </a:solidFill>
                <a:ln>
                  <a:noFill/>
                </a:ln>
              </p:spPr>
              <p:txBody>
                <a:bodyPr vert="horz" wrap="square" lIns="68580" tIns="34290" rIns="68580" bIns="34290" numCol="1" anchor="t" anchorCtr="0" compatLnSpc="1">
                  <a:prstTxWarp prst="textNoShape">
                    <a:avLst/>
                  </a:prstTxWarp>
                </a:bodyPr>
                <a:lstStyle/>
                <a:p>
                  <a:pPr defTabSz="957925">
                    <a:defRPr/>
                  </a:pPr>
                  <a:endParaRPr lang="en-US" sz="1800" kern="0">
                    <a:solidFill>
                      <a:srgbClr val="575454"/>
                    </a:solidFill>
                  </a:endParaRPr>
                </a:p>
              </p:txBody>
            </p:sp>
            <p:sp>
              <p:nvSpPr>
                <p:cNvPr id="16" name="Freeform 145">
                  <a:extLst>
                    <a:ext uri="{FF2B5EF4-FFF2-40B4-BE49-F238E27FC236}">
                      <a16:creationId xmlns:a16="http://schemas.microsoft.com/office/drawing/2014/main" id="{5F842B19-9F73-0E18-7E00-A63EE21D44CD}"/>
                    </a:ext>
                  </a:extLst>
                </p:cNvPr>
                <p:cNvSpPr>
                  <a:spLocks noEditPoints="1"/>
                </p:cNvSpPr>
                <p:nvPr/>
              </p:nvSpPr>
              <p:spPr bwMode="auto">
                <a:xfrm>
                  <a:off x="2050332" y="1428991"/>
                  <a:ext cx="370851" cy="496718"/>
                </a:xfrm>
                <a:custGeom>
                  <a:avLst/>
                  <a:gdLst>
                    <a:gd name="T0" fmla="*/ 472 w 479"/>
                    <a:gd name="T1" fmla="*/ 641 h 641"/>
                    <a:gd name="T2" fmla="*/ 0 w 479"/>
                    <a:gd name="T3" fmla="*/ 36 h 641"/>
                    <a:gd name="T4" fmla="*/ 57 w 479"/>
                    <a:gd name="T5" fmla="*/ 36 h 641"/>
                    <a:gd name="T6" fmla="*/ 14 w 479"/>
                    <a:gd name="T7" fmla="*/ 627 h 641"/>
                    <a:gd name="T8" fmla="*/ 406 w 479"/>
                    <a:gd name="T9" fmla="*/ 43 h 641"/>
                    <a:gd name="T10" fmla="*/ 392 w 479"/>
                    <a:gd name="T11" fmla="*/ 65 h 641"/>
                    <a:gd name="T12" fmla="*/ 406 w 479"/>
                    <a:gd name="T13" fmla="*/ 7 h 641"/>
                    <a:gd name="T14" fmla="*/ 479 w 479"/>
                    <a:gd name="T15" fmla="*/ 36 h 641"/>
                    <a:gd name="T16" fmla="*/ 244 w 479"/>
                    <a:gd name="T17" fmla="*/ 43 h 641"/>
                    <a:gd name="T18" fmla="*/ 266 w 479"/>
                    <a:gd name="T19" fmla="*/ 29 h 641"/>
                    <a:gd name="T20" fmla="*/ 237 w 479"/>
                    <a:gd name="T21" fmla="*/ 0 h 641"/>
                    <a:gd name="T22" fmla="*/ 237 w 479"/>
                    <a:gd name="T23" fmla="*/ 72 h 641"/>
                    <a:gd name="T24" fmla="*/ 190 w 479"/>
                    <a:gd name="T25" fmla="*/ 43 h 641"/>
                    <a:gd name="T26" fmla="*/ 212 w 479"/>
                    <a:gd name="T27" fmla="*/ 29 h 641"/>
                    <a:gd name="T28" fmla="*/ 183 w 479"/>
                    <a:gd name="T29" fmla="*/ 0 h 641"/>
                    <a:gd name="T30" fmla="*/ 183 w 479"/>
                    <a:gd name="T31" fmla="*/ 72 h 641"/>
                    <a:gd name="T32" fmla="*/ 135 w 479"/>
                    <a:gd name="T33" fmla="*/ 43 h 641"/>
                    <a:gd name="T34" fmla="*/ 157 w 479"/>
                    <a:gd name="T35" fmla="*/ 29 h 641"/>
                    <a:gd name="T36" fmla="*/ 128 w 479"/>
                    <a:gd name="T37" fmla="*/ 0 h 641"/>
                    <a:gd name="T38" fmla="*/ 128 w 479"/>
                    <a:gd name="T39" fmla="*/ 72 h 641"/>
                    <a:gd name="T40" fmla="*/ 81 w 479"/>
                    <a:gd name="T41" fmla="*/ 43 h 641"/>
                    <a:gd name="T42" fmla="*/ 103 w 479"/>
                    <a:gd name="T43" fmla="*/ 29 h 641"/>
                    <a:gd name="T44" fmla="*/ 74 w 479"/>
                    <a:gd name="T45" fmla="*/ 0 h 641"/>
                    <a:gd name="T46" fmla="*/ 74 w 479"/>
                    <a:gd name="T47" fmla="*/ 72 h 641"/>
                    <a:gd name="T48" fmla="*/ 352 w 479"/>
                    <a:gd name="T49" fmla="*/ 43 h 641"/>
                    <a:gd name="T50" fmla="*/ 374 w 479"/>
                    <a:gd name="T51" fmla="*/ 29 h 641"/>
                    <a:gd name="T52" fmla="*/ 345 w 479"/>
                    <a:gd name="T53" fmla="*/ 0 h 641"/>
                    <a:gd name="T54" fmla="*/ 345 w 479"/>
                    <a:gd name="T55" fmla="*/ 72 h 641"/>
                    <a:gd name="T56" fmla="*/ 298 w 479"/>
                    <a:gd name="T57" fmla="*/ 43 h 641"/>
                    <a:gd name="T58" fmla="*/ 320 w 479"/>
                    <a:gd name="T59" fmla="*/ 29 h 641"/>
                    <a:gd name="T60" fmla="*/ 291 w 479"/>
                    <a:gd name="T61" fmla="*/ 0 h 641"/>
                    <a:gd name="T62" fmla="*/ 291 w 479"/>
                    <a:gd name="T63" fmla="*/ 72 h 641"/>
                    <a:gd name="T64" fmla="*/ 73 w 479"/>
                    <a:gd name="T65" fmla="*/ 554 h 641"/>
                    <a:gd name="T66" fmla="*/ 406 w 479"/>
                    <a:gd name="T67" fmla="*/ 554 h 641"/>
                    <a:gd name="T68" fmla="*/ 80 w 479"/>
                    <a:gd name="T69" fmla="*/ 488 h 641"/>
                    <a:gd name="T70" fmla="*/ 399 w 479"/>
                    <a:gd name="T71" fmla="*/ 502 h 641"/>
                    <a:gd name="T72" fmla="*/ 399 w 479"/>
                    <a:gd name="T73" fmla="*/ 428 h 641"/>
                    <a:gd name="T74" fmla="*/ 80 w 479"/>
                    <a:gd name="T75" fmla="*/ 442 h 641"/>
                    <a:gd name="T76" fmla="*/ 399 w 479"/>
                    <a:gd name="T77" fmla="*/ 428 h 641"/>
                    <a:gd name="T78" fmla="*/ 73 w 479"/>
                    <a:gd name="T79" fmla="*/ 376 h 641"/>
                    <a:gd name="T80" fmla="*/ 406 w 479"/>
                    <a:gd name="T81" fmla="*/ 376 h 641"/>
                    <a:gd name="T82" fmla="*/ 80 w 479"/>
                    <a:gd name="T83" fmla="*/ 310 h 641"/>
                    <a:gd name="T84" fmla="*/ 399 w 479"/>
                    <a:gd name="T85" fmla="*/ 324 h 641"/>
                    <a:gd name="T86" fmla="*/ 399 w 479"/>
                    <a:gd name="T87" fmla="*/ 250 h 641"/>
                    <a:gd name="T88" fmla="*/ 80 w 479"/>
                    <a:gd name="T89" fmla="*/ 264 h 641"/>
                    <a:gd name="T90" fmla="*/ 399 w 479"/>
                    <a:gd name="T91" fmla="*/ 250 h 641"/>
                    <a:gd name="T92" fmla="*/ 73 w 479"/>
                    <a:gd name="T93" fmla="*/ 198 h 641"/>
                    <a:gd name="T94" fmla="*/ 406 w 479"/>
                    <a:gd name="T95" fmla="*/ 198 h 641"/>
                    <a:gd name="T96" fmla="*/ 80 w 479"/>
                    <a:gd name="T97" fmla="*/ 131 h 641"/>
                    <a:gd name="T98" fmla="*/ 399 w 479"/>
                    <a:gd name="T99" fmla="*/ 145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641">
                      <a:moveTo>
                        <a:pt x="479" y="36"/>
                      </a:moveTo>
                      <a:cubicBezTo>
                        <a:pt x="479" y="634"/>
                        <a:pt x="479" y="634"/>
                        <a:pt x="479" y="634"/>
                      </a:cubicBezTo>
                      <a:cubicBezTo>
                        <a:pt x="479" y="638"/>
                        <a:pt x="476" y="641"/>
                        <a:pt x="472" y="641"/>
                      </a:cubicBezTo>
                      <a:cubicBezTo>
                        <a:pt x="7" y="641"/>
                        <a:pt x="7" y="641"/>
                        <a:pt x="7" y="641"/>
                      </a:cubicBezTo>
                      <a:cubicBezTo>
                        <a:pt x="3" y="641"/>
                        <a:pt x="0" y="638"/>
                        <a:pt x="0" y="634"/>
                      </a:cubicBezTo>
                      <a:cubicBezTo>
                        <a:pt x="0" y="36"/>
                        <a:pt x="0" y="36"/>
                        <a:pt x="0" y="36"/>
                      </a:cubicBezTo>
                      <a:cubicBezTo>
                        <a:pt x="0" y="32"/>
                        <a:pt x="3" y="29"/>
                        <a:pt x="7" y="29"/>
                      </a:cubicBezTo>
                      <a:cubicBezTo>
                        <a:pt x="50" y="29"/>
                        <a:pt x="50" y="29"/>
                        <a:pt x="50" y="29"/>
                      </a:cubicBezTo>
                      <a:cubicBezTo>
                        <a:pt x="54" y="29"/>
                        <a:pt x="57" y="32"/>
                        <a:pt x="57" y="36"/>
                      </a:cubicBezTo>
                      <a:cubicBezTo>
                        <a:pt x="57" y="40"/>
                        <a:pt x="54" y="43"/>
                        <a:pt x="50" y="43"/>
                      </a:cubicBezTo>
                      <a:cubicBezTo>
                        <a:pt x="14" y="43"/>
                        <a:pt x="14" y="43"/>
                        <a:pt x="14" y="43"/>
                      </a:cubicBezTo>
                      <a:cubicBezTo>
                        <a:pt x="14" y="627"/>
                        <a:pt x="14" y="627"/>
                        <a:pt x="14" y="627"/>
                      </a:cubicBezTo>
                      <a:cubicBezTo>
                        <a:pt x="465" y="627"/>
                        <a:pt x="465" y="627"/>
                        <a:pt x="465" y="627"/>
                      </a:cubicBezTo>
                      <a:cubicBezTo>
                        <a:pt x="465" y="43"/>
                        <a:pt x="465" y="43"/>
                        <a:pt x="465" y="43"/>
                      </a:cubicBezTo>
                      <a:cubicBezTo>
                        <a:pt x="406" y="43"/>
                        <a:pt x="406" y="43"/>
                        <a:pt x="406" y="43"/>
                      </a:cubicBezTo>
                      <a:cubicBezTo>
                        <a:pt x="406" y="65"/>
                        <a:pt x="406" y="65"/>
                        <a:pt x="406" y="65"/>
                      </a:cubicBezTo>
                      <a:cubicBezTo>
                        <a:pt x="406" y="69"/>
                        <a:pt x="403" y="72"/>
                        <a:pt x="399" y="72"/>
                      </a:cubicBezTo>
                      <a:cubicBezTo>
                        <a:pt x="395" y="72"/>
                        <a:pt x="392" y="69"/>
                        <a:pt x="392" y="65"/>
                      </a:cubicBezTo>
                      <a:cubicBezTo>
                        <a:pt x="392" y="7"/>
                        <a:pt x="392" y="7"/>
                        <a:pt x="392" y="7"/>
                      </a:cubicBezTo>
                      <a:cubicBezTo>
                        <a:pt x="392" y="3"/>
                        <a:pt x="395" y="0"/>
                        <a:pt x="399" y="0"/>
                      </a:cubicBezTo>
                      <a:cubicBezTo>
                        <a:pt x="403" y="0"/>
                        <a:pt x="406" y="3"/>
                        <a:pt x="406" y="7"/>
                      </a:cubicBezTo>
                      <a:cubicBezTo>
                        <a:pt x="406" y="29"/>
                        <a:pt x="406" y="29"/>
                        <a:pt x="406" y="29"/>
                      </a:cubicBezTo>
                      <a:cubicBezTo>
                        <a:pt x="472" y="29"/>
                        <a:pt x="472" y="29"/>
                        <a:pt x="472" y="29"/>
                      </a:cubicBezTo>
                      <a:cubicBezTo>
                        <a:pt x="476" y="29"/>
                        <a:pt x="479" y="32"/>
                        <a:pt x="479" y="36"/>
                      </a:cubicBezTo>
                      <a:close/>
                      <a:moveTo>
                        <a:pt x="237" y="72"/>
                      </a:moveTo>
                      <a:cubicBezTo>
                        <a:pt x="241" y="72"/>
                        <a:pt x="244" y="69"/>
                        <a:pt x="244" y="65"/>
                      </a:cubicBezTo>
                      <a:cubicBezTo>
                        <a:pt x="244" y="43"/>
                        <a:pt x="244" y="43"/>
                        <a:pt x="244" y="43"/>
                      </a:cubicBezTo>
                      <a:cubicBezTo>
                        <a:pt x="266" y="43"/>
                        <a:pt x="266" y="43"/>
                        <a:pt x="266" y="43"/>
                      </a:cubicBezTo>
                      <a:cubicBezTo>
                        <a:pt x="269" y="43"/>
                        <a:pt x="273" y="40"/>
                        <a:pt x="273" y="36"/>
                      </a:cubicBezTo>
                      <a:cubicBezTo>
                        <a:pt x="273" y="32"/>
                        <a:pt x="269" y="29"/>
                        <a:pt x="266" y="29"/>
                      </a:cubicBezTo>
                      <a:cubicBezTo>
                        <a:pt x="244" y="29"/>
                        <a:pt x="244" y="29"/>
                        <a:pt x="244" y="29"/>
                      </a:cubicBezTo>
                      <a:cubicBezTo>
                        <a:pt x="244" y="7"/>
                        <a:pt x="244" y="7"/>
                        <a:pt x="244" y="7"/>
                      </a:cubicBezTo>
                      <a:cubicBezTo>
                        <a:pt x="244" y="3"/>
                        <a:pt x="241" y="0"/>
                        <a:pt x="237" y="0"/>
                      </a:cubicBezTo>
                      <a:cubicBezTo>
                        <a:pt x="233" y="0"/>
                        <a:pt x="230" y="3"/>
                        <a:pt x="230" y="7"/>
                      </a:cubicBezTo>
                      <a:cubicBezTo>
                        <a:pt x="230" y="65"/>
                        <a:pt x="230" y="65"/>
                        <a:pt x="230" y="65"/>
                      </a:cubicBezTo>
                      <a:cubicBezTo>
                        <a:pt x="230" y="69"/>
                        <a:pt x="233" y="72"/>
                        <a:pt x="237" y="72"/>
                      </a:cubicBezTo>
                      <a:close/>
                      <a:moveTo>
                        <a:pt x="183" y="72"/>
                      </a:moveTo>
                      <a:cubicBezTo>
                        <a:pt x="186" y="72"/>
                        <a:pt x="190" y="69"/>
                        <a:pt x="190" y="65"/>
                      </a:cubicBezTo>
                      <a:cubicBezTo>
                        <a:pt x="190" y="43"/>
                        <a:pt x="190" y="43"/>
                        <a:pt x="190" y="43"/>
                      </a:cubicBezTo>
                      <a:cubicBezTo>
                        <a:pt x="212" y="43"/>
                        <a:pt x="212" y="43"/>
                        <a:pt x="212" y="43"/>
                      </a:cubicBezTo>
                      <a:cubicBezTo>
                        <a:pt x="215" y="43"/>
                        <a:pt x="219" y="40"/>
                        <a:pt x="219" y="36"/>
                      </a:cubicBezTo>
                      <a:cubicBezTo>
                        <a:pt x="219" y="32"/>
                        <a:pt x="215" y="29"/>
                        <a:pt x="212" y="29"/>
                      </a:cubicBezTo>
                      <a:cubicBezTo>
                        <a:pt x="190" y="29"/>
                        <a:pt x="190" y="29"/>
                        <a:pt x="190" y="29"/>
                      </a:cubicBezTo>
                      <a:cubicBezTo>
                        <a:pt x="190" y="7"/>
                        <a:pt x="190" y="7"/>
                        <a:pt x="190" y="7"/>
                      </a:cubicBezTo>
                      <a:cubicBezTo>
                        <a:pt x="190" y="3"/>
                        <a:pt x="186" y="0"/>
                        <a:pt x="183" y="0"/>
                      </a:cubicBezTo>
                      <a:cubicBezTo>
                        <a:pt x="179" y="0"/>
                        <a:pt x="176" y="3"/>
                        <a:pt x="176" y="7"/>
                      </a:cubicBezTo>
                      <a:cubicBezTo>
                        <a:pt x="176" y="65"/>
                        <a:pt x="176" y="65"/>
                        <a:pt x="176" y="65"/>
                      </a:cubicBezTo>
                      <a:cubicBezTo>
                        <a:pt x="176" y="69"/>
                        <a:pt x="179" y="72"/>
                        <a:pt x="183" y="72"/>
                      </a:cubicBezTo>
                      <a:close/>
                      <a:moveTo>
                        <a:pt x="128" y="72"/>
                      </a:moveTo>
                      <a:cubicBezTo>
                        <a:pt x="132" y="72"/>
                        <a:pt x="135" y="69"/>
                        <a:pt x="135" y="65"/>
                      </a:cubicBezTo>
                      <a:cubicBezTo>
                        <a:pt x="135" y="43"/>
                        <a:pt x="135" y="43"/>
                        <a:pt x="135" y="43"/>
                      </a:cubicBezTo>
                      <a:cubicBezTo>
                        <a:pt x="157" y="43"/>
                        <a:pt x="157" y="43"/>
                        <a:pt x="157" y="43"/>
                      </a:cubicBezTo>
                      <a:cubicBezTo>
                        <a:pt x="161" y="43"/>
                        <a:pt x="164" y="40"/>
                        <a:pt x="164" y="36"/>
                      </a:cubicBezTo>
                      <a:cubicBezTo>
                        <a:pt x="164" y="32"/>
                        <a:pt x="161" y="29"/>
                        <a:pt x="157" y="29"/>
                      </a:cubicBezTo>
                      <a:cubicBezTo>
                        <a:pt x="135" y="29"/>
                        <a:pt x="135" y="29"/>
                        <a:pt x="135" y="29"/>
                      </a:cubicBezTo>
                      <a:cubicBezTo>
                        <a:pt x="135" y="7"/>
                        <a:pt x="135" y="7"/>
                        <a:pt x="135" y="7"/>
                      </a:cubicBezTo>
                      <a:cubicBezTo>
                        <a:pt x="135" y="3"/>
                        <a:pt x="132" y="0"/>
                        <a:pt x="128" y="0"/>
                      </a:cubicBezTo>
                      <a:cubicBezTo>
                        <a:pt x="125" y="0"/>
                        <a:pt x="121" y="3"/>
                        <a:pt x="121" y="7"/>
                      </a:cubicBezTo>
                      <a:cubicBezTo>
                        <a:pt x="121" y="65"/>
                        <a:pt x="121" y="65"/>
                        <a:pt x="121" y="65"/>
                      </a:cubicBezTo>
                      <a:cubicBezTo>
                        <a:pt x="121" y="69"/>
                        <a:pt x="125" y="72"/>
                        <a:pt x="128" y="72"/>
                      </a:cubicBezTo>
                      <a:close/>
                      <a:moveTo>
                        <a:pt x="74" y="72"/>
                      </a:moveTo>
                      <a:cubicBezTo>
                        <a:pt x="78" y="72"/>
                        <a:pt x="81" y="69"/>
                        <a:pt x="81" y="65"/>
                      </a:cubicBezTo>
                      <a:cubicBezTo>
                        <a:pt x="81" y="43"/>
                        <a:pt x="81" y="43"/>
                        <a:pt x="81" y="43"/>
                      </a:cubicBezTo>
                      <a:cubicBezTo>
                        <a:pt x="103" y="43"/>
                        <a:pt x="103" y="43"/>
                        <a:pt x="103" y="43"/>
                      </a:cubicBezTo>
                      <a:cubicBezTo>
                        <a:pt x="107" y="43"/>
                        <a:pt x="110" y="40"/>
                        <a:pt x="110" y="36"/>
                      </a:cubicBezTo>
                      <a:cubicBezTo>
                        <a:pt x="110" y="32"/>
                        <a:pt x="107" y="29"/>
                        <a:pt x="103" y="29"/>
                      </a:cubicBezTo>
                      <a:cubicBezTo>
                        <a:pt x="81" y="29"/>
                        <a:pt x="81" y="29"/>
                        <a:pt x="81" y="29"/>
                      </a:cubicBezTo>
                      <a:cubicBezTo>
                        <a:pt x="81" y="7"/>
                        <a:pt x="81" y="7"/>
                        <a:pt x="81" y="7"/>
                      </a:cubicBezTo>
                      <a:cubicBezTo>
                        <a:pt x="81" y="3"/>
                        <a:pt x="78" y="0"/>
                        <a:pt x="74" y="0"/>
                      </a:cubicBezTo>
                      <a:cubicBezTo>
                        <a:pt x="71" y="0"/>
                        <a:pt x="67" y="3"/>
                        <a:pt x="67" y="7"/>
                      </a:cubicBezTo>
                      <a:cubicBezTo>
                        <a:pt x="67" y="65"/>
                        <a:pt x="67" y="65"/>
                        <a:pt x="67" y="65"/>
                      </a:cubicBezTo>
                      <a:cubicBezTo>
                        <a:pt x="67" y="69"/>
                        <a:pt x="71" y="72"/>
                        <a:pt x="74" y="72"/>
                      </a:cubicBezTo>
                      <a:close/>
                      <a:moveTo>
                        <a:pt x="345" y="72"/>
                      </a:moveTo>
                      <a:cubicBezTo>
                        <a:pt x="349" y="72"/>
                        <a:pt x="352" y="69"/>
                        <a:pt x="352" y="65"/>
                      </a:cubicBezTo>
                      <a:cubicBezTo>
                        <a:pt x="352" y="43"/>
                        <a:pt x="352" y="43"/>
                        <a:pt x="352" y="43"/>
                      </a:cubicBezTo>
                      <a:cubicBezTo>
                        <a:pt x="374" y="43"/>
                        <a:pt x="374" y="43"/>
                        <a:pt x="374" y="43"/>
                      </a:cubicBezTo>
                      <a:cubicBezTo>
                        <a:pt x="378" y="43"/>
                        <a:pt x="381" y="40"/>
                        <a:pt x="381" y="36"/>
                      </a:cubicBezTo>
                      <a:cubicBezTo>
                        <a:pt x="381" y="32"/>
                        <a:pt x="378" y="29"/>
                        <a:pt x="374" y="29"/>
                      </a:cubicBezTo>
                      <a:cubicBezTo>
                        <a:pt x="352" y="29"/>
                        <a:pt x="352" y="29"/>
                        <a:pt x="352" y="29"/>
                      </a:cubicBezTo>
                      <a:cubicBezTo>
                        <a:pt x="352" y="7"/>
                        <a:pt x="352" y="7"/>
                        <a:pt x="352" y="7"/>
                      </a:cubicBezTo>
                      <a:cubicBezTo>
                        <a:pt x="352" y="3"/>
                        <a:pt x="349" y="0"/>
                        <a:pt x="345" y="0"/>
                      </a:cubicBezTo>
                      <a:cubicBezTo>
                        <a:pt x="341" y="0"/>
                        <a:pt x="338" y="3"/>
                        <a:pt x="338" y="7"/>
                      </a:cubicBezTo>
                      <a:cubicBezTo>
                        <a:pt x="338" y="65"/>
                        <a:pt x="338" y="65"/>
                        <a:pt x="338" y="65"/>
                      </a:cubicBezTo>
                      <a:cubicBezTo>
                        <a:pt x="338" y="69"/>
                        <a:pt x="341" y="72"/>
                        <a:pt x="345" y="72"/>
                      </a:cubicBezTo>
                      <a:close/>
                      <a:moveTo>
                        <a:pt x="291" y="72"/>
                      </a:moveTo>
                      <a:cubicBezTo>
                        <a:pt x="295" y="72"/>
                        <a:pt x="298" y="69"/>
                        <a:pt x="298" y="65"/>
                      </a:cubicBezTo>
                      <a:cubicBezTo>
                        <a:pt x="298" y="43"/>
                        <a:pt x="298" y="43"/>
                        <a:pt x="298" y="43"/>
                      </a:cubicBezTo>
                      <a:cubicBezTo>
                        <a:pt x="320" y="43"/>
                        <a:pt x="320" y="43"/>
                        <a:pt x="320" y="43"/>
                      </a:cubicBezTo>
                      <a:cubicBezTo>
                        <a:pt x="324" y="43"/>
                        <a:pt x="327" y="40"/>
                        <a:pt x="327" y="36"/>
                      </a:cubicBezTo>
                      <a:cubicBezTo>
                        <a:pt x="327" y="32"/>
                        <a:pt x="324" y="29"/>
                        <a:pt x="320" y="29"/>
                      </a:cubicBezTo>
                      <a:cubicBezTo>
                        <a:pt x="298" y="29"/>
                        <a:pt x="298" y="29"/>
                        <a:pt x="298" y="29"/>
                      </a:cubicBezTo>
                      <a:cubicBezTo>
                        <a:pt x="298" y="7"/>
                        <a:pt x="298" y="7"/>
                        <a:pt x="298" y="7"/>
                      </a:cubicBezTo>
                      <a:cubicBezTo>
                        <a:pt x="298" y="3"/>
                        <a:pt x="295" y="0"/>
                        <a:pt x="291" y="0"/>
                      </a:cubicBezTo>
                      <a:cubicBezTo>
                        <a:pt x="287" y="0"/>
                        <a:pt x="284" y="3"/>
                        <a:pt x="284" y="7"/>
                      </a:cubicBezTo>
                      <a:cubicBezTo>
                        <a:pt x="284" y="65"/>
                        <a:pt x="284" y="65"/>
                        <a:pt x="284" y="65"/>
                      </a:cubicBezTo>
                      <a:cubicBezTo>
                        <a:pt x="284" y="69"/>
                        <a:pt x="287" y="72"/>
                        <a:pt x="291" y="72"/>
                      </a:cubicBezTo>
                      <a:close/>
                      <a:moveTo>
                        <a:pt x="399" y="547"/>
                      </a:moveTo>
                      <a:cubicBezTo>
                        <a:pt x="80" y="547"/>
                        <a:pt x="80" y="547"/>
                        <a:pt x="80" y="547"/>
                      </a:cubicBezTo>
                      <a:cubicBezTo>
                        <a:pt x="76" y="547"/>
                        <a:pt x="73" y="550"/>
                        <a:pt x="73" y="554"/>
                      </a:cubicBezTo>
                      <a:cubicBezTo>
                        <a:pt x="73" y="558"/>
                        <a:pt x="76" y="561"/>
                        <a:pt x="80" y="561"/>
                      </a:cubicBezTo>
                      <a:cubicBezTo>
                        <a:pt x="399" y="561"/>
                        <a:pt x="399" y="561"/>
                        <a:pt x="399" y="561"/>
                      </a:cubicBezTo>
                      <a:cubicBezTo>
                        <a:pt x="403" y="561"/>
                        <a:pt x="406" y="558"/>
                        <a:pt x="406" y="554"/>
                      </a:cubicBezTo>
                      <a:cubicBezTo>
                        <a:pt x="406" y="550"/>
                        <a:pt x="403" y="547"/>
                        <a:pt x="399" y="547"/>
                      </a:cubicBezTo>
                      <a:close/>
                      <a:moveTo>
                        <a:pt x="399" y="488"/>
                      </a:moveTo>
                      <a:cubicBezTo>
                        <a:pt x="80" y="488"/>
                        <a:pt x="80" y="488"/>
                        <a:pt x="80" y="488"/>
                      </a:cubicBezTo>
                      <a:cubicBezTo>
                        <a:pt x="76" y="488"/>
                        <a:pt x="73" y="491"/>
                        <a:pt x="73" y="495"/>
                      </a:cubicBezTo>
                      <a:cubicBezTo>
                        <a:pt x="73" y="499"/>
                        <a:pt x="76" y="502"/>
                        <a:pt x="80" y="502"/>
                      </a:cubicBezTo>
                      <a:cubicBezTo>
                        <a:pt x="399" y="502"/>
                        <a:pt x="399" y="502"/>
                        <a:pt x="399" y="502"/>
                      </a:cubicBezTo>
                      <a:cubicBezTo>
                        <a:pt x="403" y="502"/>
                        <a:pt x="406" y="499"/>
                        <a:pt x="406" y="495"/>
                      </a:cubicBezTo>
                      <a:cubicBezTo>
                        <a:pt x="406" y="491"/>
                        <a:pt x="403" y="488"/>
                        <a:pt x="399" y="488"/>
                      </a:cubicBezTo>
                      <a:close/>
                      <a:moveTo>
                        <a:pt x="399" y="428"/>
                      </a:moveTo>
                      <a:cubicBezTo>
                        <a:pt x="80" y="428"/>
                        <a:pt x="80" y="428"/>
                        <a:pt x="80" y="428"/>
                      </a:cubicBezTo>
                      <a:cubicBezTo>
                        <a:pt x="76" y="428"/>
                        <a:pt x="73" y="431"/>
                        <a:pt x="73" y="435"/>
                      </a:cubicBezTo>
                      <a:cubicBezTo>
                        <a:pt x="73" y="439"/>
                        <a:pt x="76" y="442"/>
                        <a:pt x="80" y="442"/>
                      </a:cubicBezTo>
                      <a:cubicBezTo>
                        <a:pt x="399" y="442"/>
                        <a:pt x="399" y="442"/>
                        <a:pt x="399" y="442"/>
                      </a:cubicBezTo>
                      <a:cubicBezTo>
                        <a:pt x="403" y="442"/>
                        <a:pt x="406" y="439"/>
                        <a:pt x="406" y="435"/>
                      </a:cubicBezTo>
                      <a:cubicBezTo>
                        <a:pt x="406" y="431"/>
                        <a:pt x="403" y="428"/>
                        <a:pt x="399" y="428"/>
                      </a:cubicBezTo>
                      <a:close/>
                      <a:moveTo>
                        <a:pt x="399" y="369"/>
                      </a:moveTo>
                      <a:cubicBezTo>
                        <a:pt x="80" y="369"/>
                        <a:pt x="80" y="369"/>
                        <a:pt x="80" y="369"/>
                      </a:cubicBezTo>
                      <a:cubicBezTo>
                        <a:pt x="76" y="369"/>
                        <a:pt x="73" y="372"/>
                        <a:pt x="73" y="376"/>
                      </a:cubicBezTo>
                      <a:cubicBezTo>
                        <a:pt x="73" y="380"/>
                        <a:pt x="76" y="383"/>
                        <a:pt x="80" y="383"/>
                      </a:cubicBezTo>
                      <a:cubicBezTo>
                        <a:pt x="399" y="383"/>
                        <a:pt x="399" y="383"/>
                        <a:pt x="399" y="383"/>
                      </a:cubicBezTo>
                      <a:cubicBezTo>
                        <a:pt x="403" y="383"/>
                        <a:pt x="406" y="380"/>
                        <a:pt x="406" y="376"/>
                      </a:cubicBezTo>
                      <a:cubicBezTo>
                        <a:pt x="406" y="372"/>
                        <a:pt x="403" y="369"/>
                        <a:pt x="399" y="369"/>
                      </a:cubicBezTo>
                      <a:close/>
                      <a:moveTo>
                        <a:pt x="399" y="310"/>
                      </a:moveTo>
                      <a:cubicBezTo>
                        <a:pt x="80" y="310"/>
                        <a:pt x="80" y="310"/>
                        <a:pt x="80" y="310"/>
                      </a:cubicBezTo>
                      <a:cubicBezTo>
                        <a:pt x="76" y="310"/>
                        <a:pt x="73" y="313"/>
                        <a:pt x="73" y="317"/>
                      </a:cubicBezTo>
                      <a:cubicBezTo>
                        <a:pt x="73" y="320"/>
                        <a:pt x="76" y="324"/>
                        <a:pt x="80" y="324"/>
                      </a:cubicBezTo>
                      <a:cubicBezTo>
                        <a:pt x="399" y="324"/>
                        <a:pt x="399" y="324"/>
                        <a:pt x="399" y="324"/>
                      </a:cubicBezTo>
                      <a:cubicBezTo>
                        <a:pt x="403" y="324"/>
                        <a:pt x="406" y="320"/>
                        <a:pt x="406" y="317"/>
                      </a:cubicBezTo>
                      <a:cubicBezTo>
                        <a:pt x="406" y="313"/>
                        <a:pt x="403" y="310"/>
                        <a:pt x="399" y="310"/>
                      </a:cubicBezTo>
                      <a:close/>
                      <a:moveTo>
                        <a:pt x="399" y="250"/>
                      </a:moveTo>
                      <a:cubicBezTo>
                        <a:pt x="80" y="250"/>
                        <a:pt x="80" y="250"/>
                        <a:pt x="80" y="250"/>
                      </a:cubicBezTo>
                      <a:cubicBezTo>
                        <a:pt x="76" y="250"/>
                        <a:pt x="73" y="253"/>
                        <a:pt x="73" y="257"/>
                      </a:cubicBezTo>
                      <a:cubicBezTo>
                        <a:pt x="73" y="261"/>
                        <a:pt x="76" y="264"/>
                        <a:pt x="80" y="264"/>
                      </a:cubicBezTo>
                      <a:cubicBezTo>
                        <a:pt x="399" y="264"/>
                        <a:pt x="399" y="264"/>
                        <a:pt x="399" y="264"/>
                      </a:cubicBezTo>
                      <a:cubicBezTo>
                        <a:pt x="403" y="264"/>
                        <a:pt x="406" y="261"/>
                        <a:pt x="406" y="257"/>
                      </a:cubicBezTo>
                      <a:cubicBezTo>
                        <a:pt x="406" y="253"/>
                        <a:pt x="403" y="250"/>
                        <a:pt x="399" y="250"/>
                      </a:cubicBezTo>
                      <a:close/>
                      <a:moveTo>
                        <a:pt x="399" y="191"/>
                      </a:moveTo>
                      <a:cubicBezTo>
                        <a:pt x="80" y="191"/>
                        <a:pt x="80" y="191"/>
                        <a:pt x="80" y="191"/>
                      </a:cubicBezTo>
                      <a:cubicBezTo>
                        <a:pt x="76" y="191"/>
                        <a:pt x="73" y="194"/>
                        <a:pt x="73" y="198"/>
                      </a:cubicBezTo>
                      <a:cubicBezTo>
                        <a:pt x="73" y="202"/>
                        <a:pt x="76" y="205"/>
                        <a:pt x="80" y="205"/>
                      </a:cubicBezTo>
                      <a:cubicBezTo>
                        <a:pt x="399" y="205"/>
                        <a:pt x="399" y="205"/>
                        <a:pt x="399" y="205"/>
                      </a:cubicBezTo>
                      <a:cubicBezTo>
                        <a:pt x="403" y="205"/>
                        <a:pt x="406" y="202"/>
                        <a:pt x="406" y="198"/>
                      </a:cubicBezTo>
                      <a:cubicBezTo>
                        <a:pt x="406" y="194"/>
                        <a:pt x="403" y="191"/>
                        <a:pt x="399" y="191"/>
                      </a:cubicBezTo>
                      <a:close/>
                      <a:moveTo>
                        <a:pt x="399" y="131"/>
                      </a:moveTo>
                      <a:cubicBezTo>
                        <a:pt x="80" y="131"/>
                        <a:pt x="80" y="131"/>
                        <a:pt x="80" y="131"/>
                      </a:cubicBezTo>
                      <a:cubicBezTo>
                        <a:pt x="76" y="131"/>
                        <a:pt x="73" y="134"/>
                        <a:pt x="73" y="138"/>
                      </a:cubicBezTo>
                      <a:cubicBezTo>
                        <a:pt x="73" y="142"/>
                        <a:pt x="76" y="145"/>
                        <a:pt x="80" y="145"/>
                      </a:cubicBezTo>
                      <a:cubicBezTo>
                        <a:pt x="399" y="145"/>
                        <a:pt x="399" y="145"/>
                        <a:pt x="399" y="145"/>
                      </a:cubicBezTo>
                      <a:cubicBezTo>
                        <a:pt x="403" y="145"/>
                        <a:pt x="406" y="142"/>
                        <a:pt x="406" y="138"/>
                      </a:cubicBezTo>
                      <a:cubicBezTo>
                        <a:pt x="406" y="134"/>
                        <a:pt x="403" y="131"/>
                        <a:pt x="399" y="131"/>
                      </a:cubicBezTo>
                      <a:close/>
                    </a:path>
                  </a:pathLst>
                </a:custGeom>
                <a:solidFill>
                  <a:srgbClr val="FFFFFF"/>
                </a:solidFill>
                <a:ln>
                  <a:solidFill>
                    <a:sysClr val="window" lastClr="FFFFFF"/>
                  </a:solidFill>
                </a:ln>
              </p:spPr>
              <p:txBody>
                <a:bodyPr vert="horz" wrap="square" lIns="68580" tIns="34290" rIns="68580" bIns="34290" numCol="1" anchor="t" anchorCtr="0" compatLnSpc="1">
                  <a:prstTxWarp prst="textNoShape">
                    <a:avLst/>
                  </a:prstTxWarp>
                </a:bodyPr>
                <a:lstStyle/>
                <a:p>
                  <a:pPr defTabSz="957925">
                    <a:defRPr/>
                  </a:pPr>
                  <a:endParaRPr lang="en-US" sz="1800" kern="0">
                    <a:solidFill>
                      <a:srgbClr val="575454"/>
                    </a:solidFill>
                  </a:endParaRPr>
                </a:p>
              </p:txBody>
            </p:sp>
          </p:grpSp>
          <p:sp>
            <p:nvSpPr>
              <p:cNvPr id="14" name="Rectangle 13">
                <a:extLst>
                  <a:ext uri="{FF2B5EF4-FFF2-40B4-BE49-F238E27FC236}">
                    <a16:creationId xmlns:a16="http://schemas.microsoft.com/office/drawing/2014/main" id="{AFFA77F4-CE6F-E38D-90B1-394E308559A8}"/>
                  </a:ext>
                </a:extLst>
              </p:cNvPr>
              <p:cNvSpPr/>
              <p:nvPr/>
            </p:nvSpPr>
            <p:spPr>
              <a:xfrm>
                <a:off x="4450685" y="3693018"/>
                <a:ext cx="3290634" cy="1031051"/>
              </a:xfrm>
              <a:prstGeom prst="rect">
                <a:avLst/>
              </a:prstGeom>
            </p:spPr>
            <p:txBody>
              <a:bodyPr wrap="square" lIns="252000" rIns="108000">
                <a:spAutoFit/>
              </a:bodyPr>
              <a:lstStyle/>
              <a:p>
                <a:pPr marL="176213" indent="-176213" defTabSz="914400">
                  <a:spcBef>
                    <a:spcPts val="600"/>
                  </a:spcBef>
                  <a:buClr>
                    <a:schemeClr val="accent2">
                      <a:lumMod val="50000"/>
                    </a:schemeClr>
                  </a:buClr>
                  <a:buSzPct val="80000"/>
                  <a:buFont typeface="Wingdings 3" panose="05040102010807070707" pitchFamily="18" charset="2"/>
                  <a:buChar char="u"/>
                  <a:defRPr/>
                </a:pPr>
                <a:r>
                  <a:rPr lang="en-US" altLang="fr-FR" sz="1400" dirty="0">
                    <a:solidFill>
                      <a:schemeClr val="tx1">
                        <a:lumMod val="50000"/>
                      </a:schemeClr>
                    </a:solidFill>
                  </a:rPr>
                  <a:t>Open to as many people as possible
Targets: Companies outside the binding branch agreement</a:t>
                </a:r>
                <a:endParaRPr lang="fr-FR" sz="1400" kern="0" dirty="0">
                  <a:solidFill>
                    <a:schemeClr val="tx1">
                      <a:lumMod val="50000"/>
                    </a:schemeClr>
                  </a:solidFill>
                </a:endParaRPr>
              </a:p>
            </p:txBody>
          </p:sp>
        </p:grpSp>
      </p:grpSp>
      <p:sp>
        <p:nvSpPr>
          <p:cNvPr id="17" name="Double flèche horizontale 2">
            <a:extLst>
              <a:ext uri="{FF2B5EF4-FFF2-40B4-BE49-F238E27FC236}">
                <a16:creationId xmlns:a16="http://schemas.microsoft.com/office/drawing/2014/main" id="{A4096249-4573-1ACA-8264-56AC2C4619A1}"/>
              </a:ext>
            </a:extLst>
          </p:cNvPr>
          <p:cNvSpPr/>
          <p:nvPr/>
        </p:nvSpPr>
        <p:spPr>
          <a:xfrm>
            <a:off x="6043773" y="5436462"/>
            <a:ext cx="3407092" cy="672525"/>
          </a:xfrm>
          <a:prstGeom prst="leftRightArrow">
            <a:avLst/>
          </a:prstGeom>
          <a:solidFill>
            <a:srgbClr val="007071"/>
          </a:solidFill>
        </p:spPr>
        <p:txBody>
          <a:bodyPr wrap="square">
            <a:spAutoFit/>
          </a:bodyPr>
          <a:lstStyle/>
          <a:p>
            <a:pPr marL="182562" lvl="1" algn="ctr" defTabSz="914400">
              <a:spcAft>
                <a:spcPts val="1200"/>
              </a:spcAft>
              <a:buClr>
                <a:schemeClr val="accent1"/>
              </a:buClr>
              <a:buSzPct val="100000"/>
              <a:defRPr/>
            </a:pPr>
            <a:r>
              <a:rPr lang="en-US" sz="1600" b="1">
                <a:solidFill>
                  <a:schemeClr val="bg1"/>
                </a:solidFill>
              </a:rPr>
              <a:t>From 1 to 200 employees</a:t>
            </a:r>
            <a:endParaRPr lang="fr-FR" sz="1600" b="1" kern="0" dirty="0">
              <a:solidFill>
                <a:schemeClr val="bg1"/>
              </a:solidFill>
            </a:endParaRPr>
          </a:p>
        </p:txBody>
      </p:sp>
      <p:sp>
        <p:nvSpPr>
          <p:cNvPr id="18" name="ZoneTexte 17">
            <a:extLst>
              <a:ext uri="{FF2B5EF4-FFF2-40B4-BE49-F238E27FC236}">
                <a16:creationId xmlns:a16="http://schemas.microsoft.com/office/drawing/2014/main" id="{D059186D-A976-6C5A-7071-FDAC19730E8B}"/>
              </a:ext>
            </a:extLst>
          </p:cNvPr>
          <p:cNvSpPr txBox="1"/>
          <p:nvPr/>
        </p:nvSpPr>
        <p:spPr>
          <a:xfrm>
            <a:off x="970876" y="1492954"/>
            <a:ext cx="3541547" cy="707886"/>
          </a:xfrm>
          <a:prstGeom prst="homePlate">
            <a:avLst/>
          </a:prstGeom>
          <a:solidFill>
            <a:srgbClr val="009597">
              <a:lumMod val="75000"/>
            </a:srgbClr>
          </a:solidFill>
        </p:spPr>
        <p:txBody>
          <a:bodyPr wrap="square">
            <a:spAutoFit/>
          </a:bodyPr>
          <a:lstStyle/>
          <a:p>
            <a:pPr lvl="0" defTabSz="685800">
              <a:buClrTx/>
              <a:defRPr/>
            </a:pPr>
            <a:r>
              <a:rPr lang="en-US" sz="2000" b="1">
                <a:solidFill>
                  <a:srgbClr val="FFFFFF"/>
                </a:solidFill>
              </a:rPr>
              <a:t>What offers should be offered?</a:t>
            </a:r>
            <a:endParaRPr kumimoji="0" lang="fr-FR" sz="2000" b="1" i="0" u="none" strike="noStrike" kern="0" cap="none" spc="0" normalizeH="0" baseline="0" noProof="0" dirty="0">
              <a:ln>
                <a:noFill/>
              </a:ln>
              <a:solidFill>
                <a:srgbClr val="FFFFFF"/>
              </a:solidFill>
              <a:effectLst/>
              <a:uLnTx/>
              <a:uFillTx/>
              <a:latin typeface="Arial"/>
            </a:endParaRPr>
          </a:p>
        </p:txBody>
      </p:sp>
      <p:sp>
        <p:nvSpPr>
          <p:cNvPr id="19" name="Double flèche horizontale 2">
            <a:extLst>
              <a:ext uri="{FF2B5EF4-FFF2-40B4-BE49-F238E27FC236}">
                <a16:creationId xmlns:a16="http://schemas.microsoft.com/office/drawing/2014/main" id="{2192E54D-BF42-C04B-DD2C-C519579876C5}"/>
              </a:ext>
            </a:extLst>
          </p:cNvPr>
          <p:cNvSpPr/>
          <p:nvPr/>
        </p:nvSpPr>
        <p:spPr>
          <a:xfrm>
            <a:off x="2641663" y="4740814"/>
            <a:ext cx="3407092" cy="672525"/>
          </a:xfrm>
          <a:prstGeom prst="leftRightArrow">
            <a:avLst/>
          </a:prstGeom>
          <a:solidFill>
            <a:srgbClr val="007071"/>
          </a:solidFill>
        </p:spPr>
        <p:txBody>
          <a:bodyPr wrap="square">
            <a:spAutoFit/>
          </a:bodyPr>
          <a:lstStyle/>
          <a:p>
            <a:pPr marL="182562" lvl="1" algn="ctr">
              <a:spcAft>
                <a:spcPts val="1200"/>
              </a:spcAft>
              <a:buClr>
                <a:schemeClr val="accent1"/>
              </a:buClr>
              <a:buSzPct val="100000"/>
              <a:defRPr/>
            </a:pPr>
            <a:r>
              <a:rPr lang="fr-FR" sz="1600" b="1">
                <a:solidFill>
                  <a:schemeClr val="bg1"/>
                </a:solidFill>
              </a:rPr>
              <a:t>From 1 employee</a:t>
            </a:r>
            <a:endParaRPr lang="fr-FR" sz="1600" b="1" kern="0" dirty="0">
              <a:solidFill>
                <a:schemeClr val="bg1"/>
              </a:solidFill>
            </a:endParaRPr>
          </a:p>
        </p:txBody>
      </p:sp>
      <p:sp>
        <p:nvSpPr>
          <p:cNvPr id="23" name="Rectangle : coins arrondis 22">
            <a:extLst>
              <a:ext uri="{FF2B5EF4-FFF2-40B4-BE49-F238E27FC236}">
                <a16:creationId xmlns:a16="http://schemas.microsoft.com/office/drawing/2014/main" id="{EFC1F3C7-E84F-8D5E-B167-90F5B599A2E7}"/>
              </a:ext>
            </a:extLst>
          </p:cNvPr>
          <p:cNvSpPr/>
          <p:nvPr/>
        </p:nvSpPr>
        <p:spPr>
          <a:xfrm>
            <a:off x="3892535" y="2901470"/>
            <a:ext cx="901918" cy="204619"/>
          </a:xfrm>
          <a:prstGeom prst="roundRect">
            <a:avLst/>
          </a:prstGeom>
          <a:solidFill>
            <a:srgbClr val="0070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900" b="1" dirty="0"/>
              <a:t>à </a:t>
            </a:r>
            <a:r>
              <a:rPr lang="fr-FR" sz="1000" b="1" dirty="0"/>
              <a:t>privilégier</a:t>
            </a:r>
            <a:endParaRPr lang="fr-FR" sz="900" b="1" dirty="0"/>
          </a:p>
        </p:txBody>
      </p:sp>
    </p:spTree>
    <p:extLst>
      <p:ext uri="{BB962C8B-B14F-4D97-AF65-F5344CB8AC3E}">
        <p14:creationId xmlns:p14="http://schemas.microsoft.com/office/powerpoint/2010/main" val="938302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01098F-0469-F6E0-ADBC-785D9E707DA4}"/>
              </a:ext>
            </a:extLst>
          </p:cNvPr>
          <p:cNvSpPr>
            <a:spLocks noGrp="1"/>
          </p:cNvSpPr>
          <p:nvPr>
            <p:ph type="title"/>
          </p:nvPr>
        </p:nvSpPr>
        <p:spPr>
          <a:xfrm>
            <a:off x="0" y="212454"/>
            <a:ext cx="10196073" cy="540000"/>
          </a:xfrm>
        </p:spPr>
        <p:txBody>
          <a:bodyPr>
            <a:noAutofit/>
          </a:bodyPr>
          <a:lstStyle/>
          <a:p>
            <a:r>
              <a:rPr lang="fr-FR" sz="2000" b="1" dirty="0">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rPr>
              <a:t>Identifier le segment et le secteur d’activité de l’entreprise</a:t>
            </a:r>
          </a:p>
        </p:txBody>
      </p:sp>
      <p:sp>
        <p:nvSpPr>
          <p:cNvPr id="4" name="Rectangle à coins arrondis 4">
            <a:extLst>
              <a:ext uri="{FF2B5EF4-FFF2-40B4-BE49-F238E27FC236}">
                <a16:creationId xmlns:a16="http://schemas.microsoft.com/office/drawing/2014/main" id="{00CDEED7-01FF-0550-0696-63D0041A403B}"/>
              </a:ext>
            </a:extLst>
          </p:cNvPr>
          <p:cNvSpPr/>
          <p:nvPr/>
        </p:nvSpPr>
        <p:spPr>
          <a:xfrm>
            <a:off x="711195" y="2748849"/>
            <a:ext cx="4843527" cy="405405"/>
          </a:xfrm>
          <a:prstGeom prst="roundRect">
            <a:avLst/>
          </a:prstGeom>
          <a:solidFill>
            <a:srgbClr val="00959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SYNTE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1486</a:t>
            </a:r>
          </a:p>
        </p:txBody>
      </p:sp>
      <p:cxnSp>
        <p:nvCxnSpPr>
          <p:cNvPr id="5" name="Connecteur droit avec flèche 4">
            <a:extLst>
              <a:ext uri="{FF2B5EF4-FFF2-40B4-BE49-F238E27FC236}">
                <a16:creationId xmlns:a16="http://schemas.microsoft.com/office/drawing/2014/main" id="{588F899F-1E3F-0010-30AC-5618BD180798}"/>
              </a:ext>
            </a:extLst>
          </p:cNvPr>
          <p:cNvCxnSpPr>
            <a:cxnSpLocks/>
          </p:cNvCxnSpPr>
          <p:nvPr/>
        </p:nvCxnSpPr>
        <p:spPr>
          <a:xfrm>
            <a:off x="306899" y="2545520"/>
            <a:ext cx="10764188" cy="0"/>
          </a:xfrm>
          <a:prstGeom prst="straightConnector1">
            <a:avLst/>
          </a:prstGeom>
          <a:noFill/>
          <a:ln w="6350" cap="flat" cmpd="sng" algn="ctr">
            <a:solidFill>
              <a:srgbClr val="009597"/>
            </a:solidFill>
            <a:prstDash val="solid"/>
            <a:miter lim="800000"/>
            <a:headEnd type="triangle"/>
            <a:tailEnd type="triangle"/>
          </a:ln>
          <a:effectLst/>
        </p:spPr>
      </p:cxnSp>
      <p:sp>
        <p:nvSpPr>
          <p:cNvPr id="6" name="Rectangle à coins arrondis 4">
            <a:extLst>
              <a:ext uri="{FF2B5EF4-FFF2-40B4-BE49-F238E27FC236}">
                <a16:creationId xmlns:a16="http://schemas.microsoft.com/office/drawing/2014/main" id="{B740B3BF-F2F6-874D-F752-5ECC2089CAF7}"/>
              </a:ext>
            </a:extLst>
          </p:cNvPr>
          <p:cNvSpPr/>
          <p:nvPr/>
        </p:nvSpPr>
        <p:spPr>
          <a:xfrm>
            <a:off x="711196" y="3254450"/>
            <a:ext cx="4811040" cy="410455"/>
          </a:xfrm>
          <a:prstGeom prst="roundRect">
            <a:avLst/>
          </a:prstGeom>
          <a:solidFill>
            <a:srgbClr val="00959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HOTEL CAFE RESTAURA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1979</a:t>
            </a:r>
          </a:p>
        </p:txBody>
      </p:sp>
      <p:sp>
        <p:nvSpPr>
          <p:cNvPr id="7" name="Rectangle à coins arrondis 4">
            <a:extLst>
              <a:ext uri="{FF2B5EF4-FFF2-40B4-BE49-F238E27FC236}">
                <a16:creationId xmlns:a16="http://schemas.microsoft.com/office/drawing/2014/main" id="{0C3AAA88-1721-B312-13FC-DF922502A33A}"/>
              </a:ext>
            </a:extLst>
          </p:cNvPr>
          <p:cNvSpPr/>
          <p:nvPr/>
        </p:nvSpPr>
        <p:spPr>
          <a:xfrm>
            <a:off x="733384" y="3771966"/>
            <a:ext cx="4799148" cy="410455"/>
          </a:xfrm>
          <a:prstGeom prst="roundRect">
            <a:avLst/>
          </a:prstGeom>
          <a:solidFill>
            <a:srgbClr val="009597"/>
          </a:solidFill>
          <a:ln>
            <a:noFill/>
          </a:ln>
          <a:effectLst/>
        </p:spPr>
        <p:txBody>
          <a:bodyPr rtlCol="0" anchor="ctr"/>
          <a:lstStyle/>
          <a:p>
            <a:pPr lvl="0" algn="ctr">
              <a:buClrTx/>
              <a:defRPr/>
            </a:pPr>
            <a:r>
              <a:rPr lang="fr-FR" sz="1100" b="1">
                <a:solidFill>
                  <a:srgbClr val="FFFFFF"/>
                </a:solidFill>
                <a:ea typeface="+mn-ea"/>
                <a:cs typeface="+mn-cs"/>
              </a:rPr>
              <a:t>HAIRDRESSING
2596</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4" name="Rectangle à coins arrondis 4">
            <a:extLst>
              <a:ext uri="{FF2B5EF4-FFF2-40B4-BE49-F238E27FC236}">
                <a16:creationId xmlns:a16="http://schemas.microsoft.com/office/drawing/2014/main" id="{6995586C-146F-56DF-9C15-67DE04DB6EDA}"/>
              </a:ext>
            </a:extLst>
          </p:cNvPr>
          <p:cNvSpPr/>
          <p:nvPr/>
        </p:nvSpPr>
        <p:spPr>
          <a:xfrm>
            <a:off x="6032747" y="2733945"/>
            <a:ext cx="2740768" cy="405404"/>
          </a:xfrm>
          <a:prstGeom prst="roundRect">
            <a:avLst/>
          </a:prstGeom>
          <a:solidFill>
            <a:srgbClr val="00959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CODEN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1517</a:t>
            </a:r>
          </a:p>
        </p:txBody>
      </p:sp>
      <p:sp>
        <p:nvSpPr>
          <p:cNvPr id="15" name="Rectangle à coins arrondis 4">
            <a:extLst>
              <a:ext uri="{FF2B5EF4-FFF2-40B4-BE49-F238E27FC236}">
                <a16:creationId xmlns:a16="http://schemas.microsoft.com/office/drawing/2014/main" id="{DDE9D0AB-7230-1D4F-78A5-5D8869F70393}"/>
              </a:ext>
            </a:extLst>
          </p:cNvPr>
          <p:cNvSpPr/>
          <p:nvPr/>
        </p:nvSpPr>
        <p:spPr>
          <a:xfrm>
            <a:off x="6032747" y="3234972"/>
            <a:ext cx="2740768" cy="410454"/>
          </a:xfrm>
          <a:prstGeom prst="roundRect">
            <a:avLst/>
          </a:prstGeom>
          <a:solidFill>
            <a:srgbClr val="009597"/>
          </a:solidFill>
          <a:ln>
            <a:noFill/>
          </a:ln>
          <a:effectLst/>
        </p:spPr>
        <p:txBody>
          <a:bodyPr rtlCol="0" anchor="ctr"/>
          <a:lstStyle/>
          <a:p>
            <a:pPr lvl="0" algn="ctr">
              <a:buClrTx/>
              <a:defRPr/>
            </a:pPr>
            <a:r>
              <a:rPr lang="fr-FR" sz="1100" b="1">
                <a:solidFill>
                  <a:srgbClr val="FFFFFF"/>
                </a:solidFill>
                <a:ea typeface="+mn-ea"/>
                <a:cs typeface="+mn-cs"/>
              </a:rPr>
              <a:t>CLOTHING 
1483</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Rectangle à coins arrondis 4">
            <a:extLst>
              <a:ext uri="{FF2B5EF4-FFF2-40B4-BE49-F238E27FC236}">
                <a16:creationId xmlns:a16="http://schemas.microsoft.com/office/drawing/2014/main" id="{1818B887-176F-6618-6507-56F908957B80}"/>
              </a:ext>
            </a:extLst>
          </p:cNvPr>
          <p:cNvSpPr/>
          <p:nvPr/>
        </p:nvSpPr>
        <p:spPr>
          <a:xfrm>
            <a:off x="6032746" y="3741049"/>
            <a:ext cx="2740768" cy="410454"/>
          </a:xfrm>
          <a:prstGeom prst="roundRect">
            <a:avLst/>
          </a:prstGeom>
          <a:solidFill>
            <a:srgbClr val="009597"/>
          </a:solidFill>
          <a:ln>
            <a:noFill/>
          </a:ln>
          <a:effectLst/>
        </p:spPr>
        <p:txBody>
          <a:bodyPr rtlCol="0" anchor="ctr"/>
          <a:lstStyle/>
          <a:p>
            <a:pPr lvl="0" algn="ctr">
              <a:buClrTx/>
              <a:defRPr/>
            </a:pPr>
            <a:r>
              <a:rPr lang="fr-FR" sz="1100" b="1">
                <a:solidFill>
                  <a:srgbClr val="FFFFFF"/>
                </a:solidFill>
                <a:ea typeface="+mn-ea"/>
                <a:cs typeface="+mn-cs"/>
              </a:rPr>
              <a:t>REAL ESTATE
1527</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Rectangle à coins arrondis 4">
            <a:extLst>
              <a:ext uri="{FF2B5EF4-FFF2-40B4-BE49-F238E27FC236}">
                <a16:creationId xmlns:a16="http://schemas.microsoft.com/office/drawing/2014/main" id="{CA4998F3-FD0B-F607-A338-92404F74B32B}"/>
              </a:ext>
            </a:extLst>
          </p:cNvPr>
          <p:cNvSpPr/>
          <p:nvPr/>
        </p:nvSpPr>
        <p:spPr>
          <a:xfrm>
            <a:off x="6032746" y="4247126"/>
            <a:ext cx="2740768" cy="405404"/>
          </a:xfrm>
          <a:prstGeom prst="roundRect">
            <a:avLst/>
          </a:prstGeom>
          <a:solidFill>
            <a:srgbClr val="009597"/>
          </a:solidFill>
          <a:ln>
            <a:noFill/>
          </a:ln>
          <a:effectLst/>
        </p:spPr>
        <p:txBody>
          <a:bodyPr rtlCol="0" anchor="ctr"/>
          <a:lstStyle/>
          <a:p>
            <a:pPr lvl="0" algn="ctr">
              <a:buClrTx/>
              <a:defRPr/>
            </a:pPr>
            <a:r>
              <a:rPr lang="fr-FR" sz="1100" b="1">
                <a:solidFill>
                  <a:srgbClr val="FFFFFF"/>
                </a:solidFill>
                <a:ea typeface="+mn-ea"/>
                <a:cs typeface="+mn-cs"/>
              </a:rPr>
              <a:t>WINE AND SPIRITS
493</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53FF3C1-0AF3-A0A3-73A0-E5B978C0ABE9}"/>
              </a:ext>
            </a:extLst>
          </p:cNvPr>
          <p:cNvSpPr/>
          <p:nvPr/>
        </p:nvSpPr>
        <p:spPr>
          <a:xfrm>
            <a:off x="6048979" y="4748153"/>
            <a:ext cx="5693736" cy="705453"/>
          </a:xfrm>
          <a:prstGeom prst="rect">
            <a:avLst/>
          </a:prstGeom>
          <a:ln w="38100">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pPr lvl="0" algn="ctr">
              <a:defRPr/>
            </a:pPr>
            <a:endParaRPr lang="fr-FR" sz="1200" dirty="0"/>
          </a:p>
        </p:txBody>
      </p:sp>
      <p:sp>
        <p:nvSpPr>
          <p:cNvPr id="25" name="Rectangle 24">
            <a:extLst>
              <a:ext uri="{FF2B5EF4-FFF2-40B4-BE49-F238E27FC236}">
                <a16:creationId xmlns:a16="http://schemas.microsoft.com/office/drawing/2014/main" id="{80285A1C-3657-7BF3-8433-27155239CF29}"/>
              </a:ext>
            </a:extLst>
          </p:cNvPr>
          <p:cNvSpPr/>
          <p:nvPr/>
        </p:nvSpPr>
        <p:spPr>
          <a:xfrm>
            <a:off x="5952509" y="5225411"/>
            <a:ext cx="5578947" cy="247439"/>
          </a:xfrm>
          <a:prstGeom prst="rect">
            <a:avLst/>
          </a:prstGeom>
        </p:spPr>
        <p:txBody>
          <a:bodyPr wrap="square" lIns="252000" rIns="108000">
            <a:spAutoFit/>
          </a:bodyPr>
          <a:lstStyle/>
          <a:p>
            <a:pPr algn="ctr" defTabSz="914400">
              <a:spcBef>
                <a:spcPts val="600"/>
              </a:spcBef>
              <a:buClr>
                <a:schemeClr val="accent2">
                  <a:lumMod val="50000"/>
                </a:schemeClr>
              </a:buClr>
              <a:buSzPct val="80000"/>
              <a:defRPr/>
            </a:pPr>
            <a:r>
              <a:rPr lang="fr-FR" sz="900" kern="0" dirty="0">
                <a:solidFill>
                  <a:schemeClr val="tx1">
                    <a:lumMod val="50000"/>
                  </a:schemeClr>
                </a:solidFill>
              </a:rPr>
              <a:t>Santé et Prévoyance à partir de juillet 2026</a:t>
            </a:r>
          </a:p>
        </p:txBody>
      </p:sp>
      <p:cxnSp>
        <p:nvCxnSpPr>
          <p:cNvPr id="26" name="Connecteur droit avec flèche 25">
            <a:extLst>
              <a:ext uri="{FF2B5EF4-FFF2-40B4-BE49-F238E27FC236}">
                <a16:creationId xmlns:a16="http://schemas.microsoft.com/office/drawing/2014/main" id="{511C25A3-161E-81E9-025D-306E7528A608}"/>
              </a:ext>
            </a:extLst>
          </p:cNvPr>
          <p:cNvCxnSpPr>
            <a:cxnSpLocks/>
          </p:cNvCxnSpPr>
          <p:nvPr/>
        </p:nvCxnSpPr>
        <p:spPr>
          <a:xfrm flipV="1">
            <a:off x="5833286" y="1741142"/>
            <a:ext cx="0" cy="4027369"/>
          </a:xfrm>
          <a:prstGeom prst="straightConnector1">
            <a:avLst/>
          </a:prstGeom>
          <a:ln>
            <a:solidFill>
              <a:srgbClr val="009597"/>
            </a:solidFill>
            <a:tailEnd type="triangle"/>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0C615687-638E-7249-5C9F-43C19A71BC8C}"/>
              </a:ext>
            </a:extLst>
          </p:cNvPr>
          <p:cNvSpPr txBox="1"/>
          <p:nvPr/>
        </p:nvSpPr>
        <p:spPr>
          <a:xfrm>
            <a:off x="650340" y="1164058"/>
            <a:ext cx="5182946" cy="707886"/>
          </a:xfrm>
          <a:prstGeom prst="homePlate">
            <a:avLst/>
          </a:prstGeom>
          <a:solidFill>
            <a:srgbClr val="009597">
              <a:lumMod val="75000"/>
            </a:srgbClr>
          </a:solidFill>
        </p:spPr>
        <p:txBody>
          <a:bodyPr wrap="square">
            <a:spAutoFit/>
          </a:bodyPr>
          <a:lstStyle/>
          <a:p>
            <a:pPr lvl="0" defTabSz="685800">
              <a:buClrTx/>
              <a:defRPr/>
            </a:pPr>
            <a:r>
              <a:rPr kumimoji="0" lang="fr-FR" sz="2000" b="1" i="0" u="none" strike="noStrike" kern="0" cap="none" spc="0" normalizeH="0" baseline="0" noProof="0" dirty="0">
                <a:ln>
                  <a:noFill/>
                </a:ln>
                <a:solidFill>
                  <a:srgbClr val="FFFFFF"/>
                </a:solidFill>
                <a:effectLst/>
                <a:uLnTx/>
                <a:uFillTx/>
                <a:latin typeface="Arial"/>
              </a:rPr>
              <a:t>Cartographie des offres de branche</a:t>
            </a:r>
            <a:r>
              <a:rPr lang="fr-FR" sz="2000" b="1" dirty="0">
                <a:solidFill>
                  <a:srgbClr val="FFFFFF"/>
                </a:solidFill>
              </a:rPr>
              <a:t>Mapping of </a:t>
            </a:r>
            <a:r>
              <a:rPr lang="fr-FR" sz="2000" b="1" dirty="0" err="1">
                <a:solidFill>
                  <a:srgbClr val="FFFFFF"/>
                </a:solidFill>
              </a:rPr>
              <a:t>branch</a:t>
            </a:r>
            <a:r>
              <a:rPr lang="fr-FR" sz="2000" b="1" dirty="0">
                <a:solidFill>
                  <a:srgbClr val="FFFFFF"/>
                </a:solidFill>
              </a:rPr>
              <a:t> </a:t>
            </a:r>
            <a:r>
              <a:rPr lang="fr-FR" sz="2000" b="1" dirty="0" err="1">
                <a:solidFill>
                  <a:srgbClr val="FFFFFF"/>
                </a:solidFill>
              </a:rPr>
              <a:t>offers</a:t>
            </a:r>
            <a:endParaRPr kumimoji="0" lang="fr-FR" sz="2000" b="1" i="0" u="none" strike="noStrike" kern="0" cap="none" spc="0" normalizeH="0" baseline="0" noProof="0" dirty="0">
              <a:ln>
                <a:noFill/>
              </a:ln>
              <a:solidFill>
                <a:srgbClr val="FFFFFF"/>
              </a:solidFill>
              <a:effectLst/>
              <a:uLnTx/>
              <a:uFillTx/>
              <a:latin typeface="Arial"/>
            </a:endParaRPr>
          </a:p>
        </p:txBody>
      </p:sp>
      <p:sp>
        <p:nvSpPr>
          <p:cNvPr id="32" name="Rectangle : coins arrondis 31">
            <a:extLst>
              <a:ext uri="{FF2B5EF4-FFF2-40B4-BE49-F238E27FC236}">
                <a16:creationId xmlns:a16="http://schemas.microsoft.com/office/drawing/2014/main" id="{3285ACD0-B321-8A09-7F75-BF3F52FAF4E9}"/>
              </a:ext>
            </a:extLst>
          </p:cNvPr>
          <p:cNvSpPr/>
          <p:nvPr/>
        </p:nvSpPr>
        <p:spPr>
          <a:xfrm>
            <a:off x="2151554" y="2021599"/>
            <a:ext cx="1409279" cy="400110"/>
          </a:xfrm>
          <a:prstGeom prst="roundRect">
            <a:avLst/>
          </a:prstGeom>
          <a:noFill/>
          <a:ln>
            <a:solidFill>
              <a:srgbClr val="00707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300" b="1">
                <a:solidFill>
                  <a:srgbClr val="007071"/>
                </a:solidFill>
              </a:rPr>
              <a:t>Pension</a:t>
            </a:r>
            <a:endParaRPr lang="fr-FR" sz="1300" b="1" dirty="0">
              <a:solidFill>
                <a:srgbClr val="007071"/>
              </a:solidFill>
            </a:endParaRPr>
          </a:p>
        </p:txBody>
      </p:sp>
      <p:pic>
        <p:nvPicPr>
          <p:cNvPr id="39" name="Graphique 38">
            <a:extLst>
              <a:ext uri="{FF2B5EF4-FFF2-40B4-BE49-F238E27FC236}">
                <a16:creationId xmlns:a16="http://schemas.microsoft.com/office/drawing/2014/main" id="{FE1EA04D-FC67-52C0-6E23-B5AFCF6F79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86601" y="1790112"/>
            <a:ext cx="510766" cy="510766"/>
          </a:xfrm>
          <a:prstGeom prst="rect">
            <a:avLst/>
          </a:prstGeom>
        </p:spPr>
      </p:pic>
      <p:pic>
        <p:nvPicPr>
          <p:cNvPr id="41" name="Graphique 40">
            <a:extLst>
              <a:ext uri="{FF2B5EF4-FFF2-40B4-BE49-F238E27FC236}">
                <a16:creationId xmlns:a16="http://schemas.microsoft.com/office/drawing/2014/main" id="{B269CB09-35D4-ABA9-CE94-AF3E484C3E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60729" y="1767427"/>
            <a:ext cx="562509" cy="562509"/>
          </a:xfrm>
          <a:prstGeom prst="rect">
            <a:avLst/>
          </a:prstGeom>
        </p:spPr>
      </p:pic>
      <p:sp>
        <p:nvSpPr>
          <p:cNvPr id="49" name="Rectangle : coins arrondis 48">
            <a:extLst>
              <a:ext uri="{FF2B5EF4-FFF2-40B4-BE49-F238E27FC236}">
                <a16:creationId xmlns:a16="http://schemas.microsoft.com/office/drawing/2014/main" id="{A976DD97-D125-A53F-B2FF-83AB40DFD6E0}"/>
              </a:ext>
            </a:extLst>
          </p:cNvPr>
          <p:cNvSpPr/>
          <p:nvPr/>
        </p:nvSpPr>
        <p:spPr>
          <a:xfrm>
            <a:off x="3831286" y="2006852"/>
            <a:ext cx="1619371" cy="400110"/>
          </a:xfrm>
          <a:prstGeom prst="roundRect">
            <a:avLst/>
          </a:prstGeom>
          <a:noFill/>
          <a:ln>
            <a:solidFill>
              <a:srgbClr val="00707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300" b="1">
                <a:solidFill>
                  <a:srgbClr val="009597"/>
                </a:solidFill>
              </a:rPr>
              <a:t>Salary maintenance</a:t>
            </a:r>
            <a:endParaRPr lang="fr-FR" sz="1300" b="1" dirty="0">
              <a:solidFill>
                <a:srgbClr val="009597"/>
              </a:solidFill>
            </a:endParaRPr>
          </a:p>
        </p:txBody>
      </p:sp>
      <p:pic>
        <p:nvPicPr>
          <p:cNvPr id="51" name="Image 50">
            <a:extLst>
              <a:ext uri="{FF2B5EF4-FFF2-40B4-BE49-F238E27FC236}">
                <a16:creationId xmlns:a16="http://schemas.microsoft.com/office/drawing/2014/main" id="{98EBF28B-56D8-3798-DB86-EC4B35CC8ED2}"/>
              </a:ext>
            </a:extLst>
          </p:cNvPr>
          <p:cNvPicPr>
            <a:picLocks noChangeAspect="1"/>
          </p:cNvPicPr>
          <p:nvPr/>
        </p:nvPicPr>
        <p:blipFill>
          <a:blip r:embed="rId6"/>
          <a:stretch>
            <a:fillRect/>
          </a:stretch>
        </p:blipFill>
        <p:spPr>
          <a:xfrm>
            <a:off x="3743632" y="1776948"/>
            <a:ext cx="408444" cy="352748"/>
          </a:xfrm>
          <a:prstGeom prst="rect">
            <a:avLst/>
          </a:prstGeom>
        </p:spPr>
      </p:pic>
      <p:pic>
        <p:nvPicPr>
          <p:cNvPr id="48" name="Graphique 47">
            <a:extLst>
              <a:ext uri="{FF2B5EF4-FFF2-40B4-BE49-F238E27FC236}">
                <a16:creationId xmlns:a16="http://schemas.microsoft.com/office/drawing/2014/main" id="{083C9A25-31C9-10F6-0337-C7C03A4601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73486" y="1809443"/>
            <a:ext cx="560179" cy="560179"/>
          </a:xfrm>
          <a:prstGeom prst="rect">
            <a:avLst/>
          </a:prstGeom>
        </p:spPr>
      </p:pic>
      <p:sp>
        <p:nvSpPr>
          <p:cNvPr id="54" name="Rectangle : coins arrondis 53">
            <a:extLst>
              <a:ext uri="{FF2B5EF4-FFF2-40B4-BE49-F238E27FC236}">
                <a16:creationId xmlns:a16="http://schemas.microsoft.com/office/drawing/2014/main" id="{A3EF2760-A50B-AAC9-AD20-657C8DC783FE}"/>
              </a:ext>
            </a:extLst>
          </p:cNvPr>
          <p:cNvSpPr/>
          <p:nvPr/>
        </p:nvSpPr>
        <p:spPr>
          <a:xfrm>
            <a:off x="7975522" y="2019544"/>
            <a:ext cx="1409279" cy="400110"/>
          </a:xfrm>
          <a:prstGeom prst="roundRect">
            <a:avLst/>
          </a:prstGeom>
          <a:noFill/>
          <a:ln>
            <a:solidFill>
              <a:srgbClr val="00707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300" b="1">
                <a:solidFill>
                  <a:srgbClr val="007071"/>
                </a:solidFill>
              </a:rPr>
              <a:t>Pension</a:t>
            </a:r>
            <a:endParaRPr lang="fr-FR" sz="1300" b="1" dirty="0">
              <a:solidFill>
                <a:srgbClr val="007071"/>
              </a:solidFill>
            </a:endParaRPr>
          </a:p>
        </p:txBody>
      </p:sp>
      <p:pic>
        <p:nvPicPr>
          <p:cNvPr id="55" name="Graphique 54">
            <a:extLst>
              <a:ext uri="{FF2B5EF4-FFF2-40B4-BE49-F238E27FC236}">
                <a16:creationId xmlns:a16="http://schemas.microsoft.com/office/drawing/2014/main" id="{2AA5E11E-8120-B6BB-CAB0-02632C9112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10569" y="1788057"/>
            <a:ext cx="510766" cy="510766"/>
          </a:xfrm>
          <a:prstGeom prst="rect">
            <a:avLst/>
          </a:prstGeom>
        </p:spPr>
      </p:pic>
      <p:pic>
        <p:nvPicPr>
          <p:cNvPr id="56" name="Graphique 55">
            <a:extLst>
              <a:ext uri="{FF2B5EF4-FFF2-40B4-BE49-F238E27FC236}">
                <a16:creationId xmlns:a16="http://schemas.microsoft.com/office/drawing/2014/main" id="{2FF62660-A0A2-1622-8867-BF95B2283F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84697" y="1765372"/>
            <a:ext cx="562509" cy="562509"/>
          </a:xfrm>
          <a:prstGeom prst="rect">
            <a:avLst/>
          </a:prstGeom>
        </p:spPr>
      </p:pic>
      <p:grpSp>
        <p:nvGrpSpPr>
          <p:cNvPr id="59" name="Groupe 58">
            <a:extLst>
              <a:ext uri="{FF2B5EF4-FFF2-40B4-BE49-F238E27FC236}">
                <a16:creationId xmlns:a16="http://schemas.microsoft.com/office/drawing/2014/main" id="{CB7EC6F8-35F1-F496-AF0B-646FFF41EB2C}"/>
              </a:ext>
            </a:extLst>
          </p:cNvPr>
          <p:cNvGrpSpPr/>
          <p:nvPr/>
        </p:nvGrpSpPr>
        <p:grpSpPr>
          <a:xfrm>
            <a:off x="9057742" y="2736229"/>
            <a:ext cx="2668740" cy="1916301"/>
            <a:chOff x="9316529" y="2804844"/>
            <a:chExt cx="2668740" cy="1916301"/>
          </a:xfrm>
        </p:grpSpPr>
        <p:sp>
          <p:nvSpPr>
            <p:cNvPr id="3" name="Rectangle 2">
              <a:extLst>
                <a:ext uri="{FF2B5EF4-FFF2-40B4-BE49-F238E27FC236}">
                  <a16:creationId xmlns:a16="http://schemas.microsoft.com/office/drawing/2014/main" id="{E7B1EF32-9891-C75E-C84E-21A046D30FCF}"/>
                </a:ext>
              </a:extLst>
            </p:cNvPr>
            <p:cNvSpPr/>
            <p:nvPr/>
          </p:nvSpPr>
          <p:spPr>
            <a:xfrm>
              <a:off x="9316529" y="2804844"/>
              <a:ext cx="2668740" cy="1916301"/>
            </a:xfrm>
            <a:prstGeom prst="rect">
              <a:avLst/>
            </a:prstGeom>
            <a:solidFill>
              <a:srgbClr val="99C3B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mn-cs"/>
              </a:endParaRPr>
            </a:p>
          </p:txBody>
        </p:sp>
        <p:sp>
          <p:nvSpPr>
            <p:cNvPr id="18" name="Rectangle à coins arrondis 4">
              <a:extLst>
                <a:ext uri="{FF2B5EF4-FFF2-40B4-BE49-F238E27FC236}">
                  <a16:creationId xmlns:a16="http://schemas.microsoft.com/office/drawing/2014/main" id="{29743CE1-16B7-9494-E03C-8C034C3305BD}"/>
                </a:ext>
              </a:extLst>
            </p:cNvPr>
            <p:cNvSpPr/>
            <p:nvPr/>
          </p:nvSpPr>
          <p:spPr>
            <a:xfrm>
              <a:off x="9442593" y="2930848"/>
              <a:ext cx="2442127" cy="406800"/>
            </a:xfrm>
            <a:prstGeom prst="roundRect">
              <a:avLst/>
            </a:prstGeom>
            <a:solidFill>
              <a:srgbClr val="009597">
                <a:lumMod val="75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RESTO RAPIDE (franchis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1501 </a:t>
              </a:r>
            </a:p>
          </p:txBody>
        </p:sp>
        <p:sp>
          <p:nvSpPr>
            <p:cNvPr id="20" name="Rectangle à coins arrondis 4">
              <a:extLst>
                <a:ext uri="{FF2B5EF4-FFF2-40B4-BE49-F238E27FC236}">
                  <a16:creationId xmlns:a16="http://schemas.microsoft.com/office/drawing/2014/main" id="{2A891479-77FD-E886-5209-F22B2B75D131}"/>
                </a:ext>
              </a:extLst>
            </p:cNvPr>
            <p:cNvSpPr/>
            <p:nvPr/>
          </p:nvSpPr>
          <p:spPr>
            <a:xfrm>
              <a:off x="9633539" y="3809664"/>
              <a:ext cx="2204334" cy="687411"/>
            </a:xfrm>
            <a:prstGeom prst="roundRect">
              <a:avLst/>
            </a:prstGeom>
            <a:solidFill>
              <a:srgbClr val="99C3B8"/>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chemeClr val="bg1"/>
                  </a:solidFill>
                  <a:effectLst/>
                  <a:uLnTx/>
                  <a:uFillTx/>
                  <a:latin typeface="Arial"/>
                  <a:ea typeface="+mn-ea"/>
                  <a:cs typeface="+mn-cs"/>
                </a:rPr>
                <a:t>Pour la prévoyance, l’accord du délégué régional est obligatoire</a:t>
              </a:r>
            </a:p>
          </p:txBody>
        </p:sp>
        <p:sp>
          <p:nvSpPr>
            <p:cNvPr id="58" name="Rectangle à coins arrondis 4">
              <a:extLst>
                <a:ext uri="{FF2B5EF4-FFF2-40B4-BE49-F238E27FC236}">
                  <a16:creationId xmlns:a16="http://schemas.microsoft.com/office/drawing/2014/main" id="{02595D88-84DD-9E44-07B3-F1684FA9F5BB}"/>
                </a:ext>
              </a:extLst>
            </p:cNvPr>
            <p:cNvSpPr/>
            <p:nvPr/>
          </p:nvSpPr>
          <p:spPr>
            <a:xfrm>
              <a:off x="9441668" y="3426301"/>
              <a:ext cx="2442127" cy="406800"/>
            </a:xfrm>
            <a:prstGeom prst="roundRect">
              <a:avLst/>
            </a:prstGeom>
            <a:solidFill>
              <a:srgbClr val="009597">
                <a:lumMod val="75000"/>
              </a:srgbClr>
            </a:solidFill>
            <a:ln>
              <a:noFill/>
            </a:ln>
            <a:effectLst/>
          </p:spPr>
          <p:txBody>
            <a:bodyPr rtlCol="0" anchor="ctr"/>
            <a:lstStyle/>
            <a:p>
              <a:pPr lvl="0" algn="ctr">
                <a:defRPr/>
              </a:pPr>
              <a:r>
                <a:rPr lang="fr-FR" sz="1100" b="1" kern="0" dirty="0">
                  <a:solidFill>
                    <a:srgbClr val="FFFFFF"/>
                  </a:solidFill>
                </a:rPr>
                <a:t>MCD </a:t>
              </a:r>
            </a:p>
            <a:p>
              <a:pPr lvl="0" algn="ctr">
                <a:defRPr/>
              </a:pPr>
              <a:r>
                <a:rPr lang="fr-FR" sz="1100" b="1" kern="0" dirty="0">
                  <a:solidFill>
                    <a:srgbClr val="FFFFFF"/>
                  </a:solidFill>
                </a:rPr>
                <a:t>Offre exclusive McDonald’s</a:t>
              </a:r>
            </a:p>
          </p:txBody>
        </p:sp>
      </p:grpSp>
      <p:pic>
        <p:nvPicPr>
          <p:cNvPr id="1030" name="Picture 6" descr="MCDONALD'S, Paris - 49 Rue Belgrand, Saint-Fargeau - Restaurant Avis &amp;  Numéro de Téléphone - Tripadvisor">
            <a:extLst>
              <a:ext uri="{FF2B5EF4-FFF2-40B4-BE49-F238E27FC236}">
                <a16:creationId xmlns:a16="http://schemas.microsoft.com/office/drawing/2014/main" id="{B130A78E-5781-EE97-48DB-98366DA806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354240" y="3288048"/>
            <a:ext cx="321967" cy="321967"/>
          </a:xfrm>
          <a:custGeom>
            <a:avLst/>
            <a:gdLst>
              <a:gd name="connsiteX0" fmla="*/ 0 w 321967"/>
              <a:gd name="connsiteY0" fmla="*/ 0 h 321967"/>
              <a:gd name="connsiteX1" fmla="*/ 321967 w 321967"/>
              <a:gd name="connsiteY1" fmla="*/ 0 h 321967"/>
              <a:gd name="connsiteX2" fmla="*/ 321967 w 321967"/>
              <a:gd name="connsiteY2" fmla="*/ 321967 h 321967"/>
              <a:gd name="connsiteX3" fmla="*/ 0 w 321967"/>
              <a:gd name="connsiteY3" fmla="*/ 321967 h 321967"/>
              <a:gd name="connsiteX4" fmla="*/ 0 w 321967"/>
              <a:gd name="connsiteY4" fmla="*/ 0 h 321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67" h="321967" extrusionOk="0">
                <a:moveTo>
                  <a:pt x="0" y="0"/>
                </a:moveTo>
                <a:cubicBezTo>
                  <a:pt x="101216" y="11371"/>
                  <a:pt x="254818" y="8687"/>
                  <a:pt x="321967" y="0"/>
                </a:cubicBezTo>
                <a:cubicBezTo>
                  <a:pt x="322677" y="95639"/>
                  <a:pt x="318866" y="192292"/>
                  <a:pt x="321967" y="321967"/>
                </a:cubicBezTo>
                <a:cubicBezTo>
                  <a:pt x="227973" y="332301"/>
                  <a:pt x="114243" y="334060"/>
                  <a:pt x="0" y="321967"/>
                </a:cubicBezTo>
                <a:cubicBezTo>
                  <a:pt x="-90" y="234533"/>
                  <a:pt x="8585" y="75042"/>
                  <a:pt x="0" y="0"/>
                </a:cubicBezTo>
                <a:close/>
              </a:path>
            </a:pathLst>
          </a:custGeom>
          <a:noFill/>
          <a:ln>
            <a:solidFill>
              <a:schemeClr val="tx1"/>
            </a:solidFill>
            <a:extLst>
              <a:ext uri="{C807C97D-BFC1-408E-A445-0C87EB9F89A2}">
                <ask:lineSketchStyleProps xmlns:ask="http://schemas.microsoft.com/office/drawing/2018/sketchyshapes" sd="2615547699">
                  <a:prstGeom prst="rect">
                    <a:avLst/>
                  </a:prstGeom>
                  <ask:type>
                    <ask:lineSketchFreehand/>
                  </ask:type>
                </ask:lineSketchStyleProps>
              </a:ext>
            </a:extLst>
          </a:ln>
          <a:extLst>
            <a:ext uri="{909E8E84-426E-40DD-AFC4-6F175D3DCCD1}">
              <a14:hiddenFill xmlns:a14="http://schemas.microsoft.com/office/drawing/2010/main">
                <a:solidFill>
                  <a:srgbClr val="FFFFFF"/>
                </a:solidFill>
              </a14:hiddenFill>
            </a:ext>
          </a:extLst>
        </p:spPr>
      </p:pic>
      <p:sp>
        <p:nvSpPr>
          <p:cNvPr id="60" name="Rectangle à coins arrondis 4">
            <a:extLst>
              <a:ext uri="{FF2B5EF4-FFF2-40B4-BE49-F238E27FC236}">
                <a16:creationId xmlns:a16="http://schemas.microsoft.com/office/drawing/2014/main" id="{9EA45BF7-EBFF-2C45-1C46-1B6F670BAED3}"/>
              </a:ext>
            </a:extLst>
          </p:cNvPr>
          <p:cNvSpPr/>
          <p:nvPr/>
        </p:nvSpPr>
        <p:spPr>
          <a:xfrm>
            <a:off x="6148319" y="4870953"/>
            <a:ext cx="5383137" cy="377210"/>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PHARMACY
1996</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1037" name="Groupe 1036">
            <a:extLst>
              <a:ext uri="{FF2B5EF4-FFF2-40B4-BE49-F238E27FC236}">
                <a16:creationId xmlns:a16="http://schemas.microsoft.com/office/drawing/2014/main" id="{CE3B5066-0EF9-0F0F-F085-DEE955E637F1}"/>
              </a:ext>
            </a:extLst>
          </p:cNvPr>
          <p:cNvGrpSpPr/>
          <p:nvPr/>
        </p:nvGrpSpPr>
        <p:grpSpPr>
          <a:xfrm>
            <a:off x="5873340" y="4659500"/>
            <a:ext cx="386751" cy="386751"/>
            <a:chOff x="5247177" y="4517238"/>
            <a:chExt cx="386751" cy="386751"/>
          </a:xfrm>
        </p:grpSpPr>
        <p:pic>
          <p:nvPicPr>
            <p:cNvPr id="1036" name="Image 1035">
              <a:extLst>
                <a:ext uri="{FF2B5EF4-FFF2-40B4-BE49-F238E27FC236}">
                  <a16:creationId xmlns:a16="http://schemas.microsoft.com/office/drawing/2014/main" id="{02632A6E-F085-3E35-BC27-C8C7BA71F394}"/>
                </a:ext>
              </a:extLst>
            </p:cNvPr>
            <p:cNvPicPr>
              <a:picLocks noChangeAspect="1"/>
            </p:cNvPicPr>
            <p:nvPr/>
          </p:nvPicPr>
          <p:blipFill>
            <a:blip r:embed="rId10"/>
            <a:stretch>
              <a:fillRect/>
            </a:stretch>
          </p:blipFill>
          <p:spPr>
            <a:xfrm>
              <a:off x="5270221" y="4563858"/>
              <a:ext cx="314369" cy="266737"/>
            </a:xfrm>
            <a:prstGeom prst="rect">
              <a:avLst/>
            </a:prstGeom>
          </p:spPr>
        </p:pic>
        <p:pic>
          <p:nvPicPr>
            <p:cNvPr id="1034" name="Graphique 1033">
              <a:extLst>
                <a:ext uri="{FF2B5EF4-FFF2-40B4-BE49-F238E27FC236}">
                  <a16:creationId xmlns:a16="http://schemas.microsoft.com/office/drawing/2014/main" id="{8409CD54-8B1E-CDC4-867B-ECB8FC60437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7177" y="4517238"/>
              <a:ext cx="386751" cy="386751"/>
            </a:xfrm>
            <a:prstGeom prst="rect">
              <a:avLst/>
            </a:prstGeom>
          </p:spPr>
        </p:pic>
      </p:grpSp>
      <p:sp>
        <p:nvSpPr>
          <p:cNvPr id="12" name="Rectangle : coins arrondis 11">
            <a:extLst>
              <a:ext uri="{FF2B5EF4-FFF2-40B4-BE49-F238E27FC236}">
                <a16:creationId xmlns:a16="http://schemas.microsoft.com/office/drawing/2014/main" id="{0B47A3CA-13F1-9007-6114-4959108F382E}"/>
              </a:ext>
            </a:extLst>
          </p:cNvPr>
          <p:cNvSpPr/>
          <p:nvPr/>
        </p:nvSpPr>
        <p:spPr>
          <a:xfrm>
            <a:off x="888439" y="2021599"/>
            <a:ext cx="875742" cy="400110"/>
          </a:xfrm>
          <a:prstGeom prst="roundRect">
            <a:avLst/>
          </a:prstGeom>
          <a:noFill/>
          <a:ln w="12700" cap="flat" cmpd="sng" algn="ctr">
            <a:solidFill>
              <a:srgbClr val="ED1B2F"/>
            </a:solidFill>
            <a:prstDash val="solid"/>
            <a:miter lim="800000"/>
          </a:ln>
          <a:effectLst/>
        </p:spPr>
        <p:txBody>
          <a:bodyPr rtlCol="0" anchor="ctr"/>
          <a:lstStyle/>
          <a:p>
            <a:pPr lvl="0" algn="ctr">
              <a:buClrTx/>
              <a:defRPr/>
            </a:pPr>
            <a:r>
              <a:rPr lang="fr-FR" sz="1300" b="1" kern="1200">
                <a:solidFill>
                  <a:srgbClr val="ED1B2F"/>
                </a:solidFill>
                <a:ea typeface="+mn-ea"/>
                <a:cs typeface="+mn-cs"/>
              </a:rPr>
              <a:t>Health</a:t>
            </a:r>
            <a:endParaRPr kumimoji="0" lang="fr-FR" sz="1300" b="1" i="0" u="none" strike="noStrike" kern="1200" cap="none" spc="0" normalizeH="0" baseline="0" noProof="0" dirty="0">
              <a:ln>
                <a:noFill/>
              </a:ln>
              <a:solidFill>
                <a:srgbClr val="ED1B2F"/>
              </a:solidFill>
              <a:effectLst/>
              <a:uLnTx/>
              <a:uFillTx/>
              <a:latin typeface="Arial"/>
              <a:ea typeface="+mn-ea"/>
              <a:cs typeface="+mn-cs"/>
            </a:endParaRPr>
          </a:p>
        </p:txBody>
      </p:sp>
      <p:pic>
        <p:nvPicPr>
          <p:cNvPr id="13" name="Graphique 12">
            <a:extLst>
              <a:ext uri="{FF2B5EF4-FFF2-40B4-BE49-F238E27FC236}">
                <a16:creationId xmlns:a16="http://schemas.microsoft.com/office/drawing/2014/main" id="{DCB9B443-24E6-D128-7DBA-E9021A23B51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454" y="1790112"/>
            <a:ext cx="592248" cy="592248"/>
          </a:xfrm>
          <a:prstGeom prst="rect">
            <a:avLst/>
          </a:prstGeom>
        </p:spPr>
      </p:pic>
      <p:sp>
        <p:nvSpPr>
          <p:cNvPr id="19" name="Rectangle : coins arrondis 18">
            <a:extLst>
              <a:ext uri="{FF2B5EF4-FFF2-40B4-BE49-F238E27FC236}">
                <a16:creationId xmlns:a16="http://schemas.microsoft.com/office/drawing/2014/main" id="{68037D9A-F43B-1AC4-B8E4-4FD9EADCCEC1}"/>
              </a:ext>
            </a:extLst>
          </p:cNvPr>
          <p:cNvSpPr/>
          <p:nvPr/>
        </p:nvSpPr>
        <p:spPr>
          <a:xfrm>
            <a:off x="6712407" y="2019544"/>
            <a:ext cx="875742" cy="400110"/>
          </a:xfrm>
          <a:prstGeom prst="roundRect">
            <a:avLst/>
          </a:prstGeom>
          <a:noFill/>
          <a:ln w="12700" cap="flat" cmpd="sng" algn="ctr">
            <a:solidFill>
              <a:srgbClr val="ED1B2F"/>
            </a:solidFill>
            <a:prstDash val="solid"/>
            <a:miter lim="800000"/>
          </a:ln>
          <a:effectLst/>
        </p:spPr>
        <p:txBody>
          <a:bodyPr rtlCol="0" anchor="ctr"/>
          <a:lstStyle/>
          <a:p>
            <a:pPr lvl="0" algn="ctr">
              <a:buClrTx/>
              <a:defRPr/>
            </a:pPr>
            <a:r>
              <a:rPr lang="fr-FR" sz="1300" b="1" kern="1200">
                <a:solidFill>
                  <a:srgbClr val="ED1B2F"/>
                </a:solidFill>
                <a:ea typeface="+mn-ea"/>
                <a:cs typeface="+mn-cs"/>
              </a:rPr>
              <a:t>Health</a:t>
            </a:r>
            <a:endParaRPr kumimoji="0" lang="fr-FR" sz="1300" b="1" i="0" u="none" strike="noStrike" kern="1200" cap="none" spc="0" normalizeH="0" baseline="0" noProof="0" dirty="0">
              <a:ln>
                <a:noFill/>
              </a:ln>
              <a:solidFill>
                <a:srgbClr val="ED1B2F"/>
              </a:solidFill>
              <a:effectLst/>
              <a:uLnTx/>
              <a:uFillTx/>
              <a:latin typeface="Arial"/>
              <a:ea typeface="+mn-ea"/>
              <a:cs typeface="+mn-cs"/>
            </a:endParaRPr>
          </a:p>
        </p:txBody>
      </p:sp>
      <p:pic>
        <p:nvPicPr>
          <p:cNvPr id="22" name="Graphique 21">
            <a:extLst>
              <a:ext uri="{FF2B5EF4-FFF2-40B4-BE49-F238E27FC236}">
                <a16:creationId xmlns:a16="http://schemas.microsoft.com/office/drawing/2014/main" id="{3367BFC0-0BC7-56B5-8448-0BD694E3F2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60422" y="1788057"/>
            <a:ext cx="592248" cy="592248"/>
          </a:xfrm>
          <a:prstGeom prst="rect">
            <a:avLst/>
          </a:prstGeom>
        </p:spPr>
      </p:pic>
      <p:sp>
        <p:nvSpPr>
          <p:cNvPr id="8" name="Rectangle 7">
            <a:extLst>
              <a:ext uri="{FF2B5EF4-FFF2-40B4-BE49-F238E27FC236}">
                <a16:creationId xmlns:a16="http://schemas.microsoft.com/office/drawing/2014/main" id="{A24E1614-A6C0-6BFF-F9E1-6FF5CEADC6F6}"/>
              </a:ext>
            </a:extLst>
          </p:cNvPr>
          <p:cNvSpPr/>
          <p:nvPr/>
        </p:nvSpPr>
        <p:spPr>
          <a:xfrm>
            <a:off x="677520" y="4289483"/>
            <a:ext cx="4984561" cy="756768"/>
          </a:xfrm>
          <a:prstGeom prst="rect">
            <a:avLst/>
          </a:prstGeom>
          <a:ln w="38100">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pPr lvl="0" algn="ctr">
              <a:defRPr/>
            </a:pPr>
            <a:endParaRPr lang="fr-FR" sz="1200" dirty="0"/>
          </a:p>
        </p:txBody>
      </p:sp>
      <p:sp>
        <p:nvSpPr>
          <p:cNvPr id="9" name="Rectangle à coins arrondis 4">
            <a:extLst>
              <a:ext uri="{FF2B5EF4-FFF2-40B4-BE49-F238E27FC236}">
                <a16:creationId xmlns:a16="http://schemas.microsoft.com/office/drawing/2014/main" id="{EAD998F5-6C11-59EF-04AE-009AAEA360F4}"/>
              </a:ext>
            </a:extLst>
          </p:cNvPr>
          <p:cNvSpPr/>
          <p:nvPr/>
        </p:nvSpPr>
        <p:spPr>
          <a:xfrm>
            <a:off x="840723" y="4382938"/>
            <a:ext cx="4748389" cy="342621"/>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DENTAL OFFICE
1619</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4D6AF66-7ACB-E5C2-4B14-8F6CC8DEFB4F}"/>
              </a:ext>
            </a:extLst>
          </p:cNvPr>
          <p:cNvSpPr/>
          <p:nvPr/>
        </p:nvSpPr>
        <p:spPr>
          <a:xfrm>
            <a:off x="515681" y="4730094"/>
            <a:ext cx="5578947" cy="154649"/>
          </a:xfrm>
          <a:prstGeom prst="rect">
            <a:avLst/>
          </a:prstGeom>
        </p:spPr>
        <p:txBody>
          <a:bodyPr wrap="square" lIns="252000" rIns="108000">
            <a:spAutoFit/>
          </a:bodyPr>
          <a:lstStyle/>
          <a:p>
            <a:pPr algn="ctr" defTabSz="914400">
              <a:spcBef>
                <a:spcPts val="600"/>
              </a:spcBef>
              <a:buClr>
                <a:schemeClr val="accent2">
                  <a:lumMod val="50000"/>
                </a:schemeClr>
              </a:buClr>
              <a:buSzPct val="80000"/>
              <a:defRPr/>
            </a:pPr>
            <a:r>
              <a:rPr lang="fr-FR" sz="900" kern="0" dirty="0">
                <a:solidFill>
                  <a:schemeClr val="tx1">
                    <a:lumMod val="50000"/>
                  </a:schemeClr>
                </a:solidFill>
              </a:rPr>
              <a:t>Prévoyance à partir de juillet 2026</a:t>
            </a:r>
          </a:p>
        </p:txBody>
      </p:sp>
      <p:grpSp>
        <p:nvGrpSpPr>
          <p:cNvPr id="29" name="Groupe 28">
            <a:extLst>
              <a:ext uri="{FF2B5EF4-FFF2-40B4-BE49-F238E27FC236}">
                <a16:creationId xmlns:a16="http://schemas.microsoft.com/office/drawing/2014/main" id="{07BE9179-C1ED-3D48-C32C-2F838E7A8434}"/>
              </a:ext>
            </a:extLst>
          </p:cNvPr>
          <p:cNvGrpSpPr/>
          <p:nvPr/>
        </p:nvGrpSpPr>
        <p:grpSpPr>
          <a:xfrm>
            <a:off x="501881" y="4200829"/>
            <a:ext cx="386751" cy="386751"/>
            <a:chOff x="5247177" y="4517238"/>
            <a:chExt cx="386751" cy="386751"/>
          </a:xfrm>
        </p:grpSpPr>
        <p:pic>
          <p:nvPicPr>
            <p:cNvPr id="30" name="Image 29">
              <a:extLst>
                <a:ext uri="{FF2B5EF4-FFF2-40B4-BE49-F238E27FC236}">
                  <a16:creationId xmlns:a16="http://schemas.microsoft.com/office/drawing/2014/main" id="{393D0D39-5023-90DF-2F13-094B19D62C10}"/>
                </a:ext>
              </a:extLst>
            </p:cNvPr>
            <p:cNvPicPr>
              <a:picLocks noChangeAspect="1"/>
            </p:cNvPicPr>
            <p:nvPr/>
          </p:nvPicPr>
          <p:blipFill>
            <a:blip r:embed="rId10"/>
            <a:stretch>
              <a:fillRect/>
            </a:stretch>
          </p:blipFill>
          <p:spPr>
            <a:xfrm>
              <a:off x="5270221" y="4563858"/>
              <a:ext cx="314369" cy="266737"/>
            </a:xfrm>
            <a:prstGeom prst="rect">
              <a:avLst/>
            </a:prstGeom>
          </p:spPr>
        </p:pic>
        <p:pic>
          <p:nvPicPr>
            <p:cNvPr id="31" name="Graphique 30">
              <a:extLst>
                <a:ext uri="{FF2B5EF4-FFF2-40B4-BE49-F238E27FC236}">
                  <a16:creationId xmlns:a16="http://schemas.microsoft.com/office/drawing/2014/main" id="{51F09520-278A-C2F1-6BB7-1D904723AD5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7177" y="4517238"/>
              <a:ext cx="386751" cy="386751"/>
            </a:xfrm>
            <a:prstGeom prst="rect">
              <a:avLst/>
            </a:prstGeom>
          </p:spPr>
        </p:pic>
      </p:grpSp>
    </p:spTree>
    <p:extLst>
      <p:ext uri="{BB962C8B-B14F-4D97-AF65-F5344CB8AC3E}">
        <p14:creationId xmlns:p14="http://schemas.microsoft.com/office/powerpoint/2010/main" val="2242626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EC2FB-A593-DD6A-C8C7-2E2AF7D8ACE3}"/>
            </a:ext>
          </a:extLst>
        </p:cNvPr>
        <p:cNvGrpSpPr/>
        <p:nvPr/>
      </p:nvGrpSpPr>
      <p:grpSpPr>
        <a:xfrm>
          <a:off x="0" y="0"/>
          <a:ext cx="0" cy="0"/>
          <a:chOff x="0" y="0"/>
          <a:chExt cx="0" cy="0"/>
        </a:xfrm>
      </p:grpSpPr>
      <p:cxnSp>
        <p:nvCxnSpPr>
          <p:cNvPr id="5" name="Connecteur droit avec flèche 4">
            <a:extLst>
              <a:ext uri="{FF2B5EF4-FFF2-40B4-BE49-F238E27FC236}">
                <a16:creationId xmlns:a16="http://schemas.microsoft.com/office/drawing/2014/main" id="{11D2C6D7-65F6-476C-6C42-77315D75F7A2}"/>
              </a:ext>
            </a:extLst>
          </p:cNvPr>
          <p:cNvCxnSpPr>
            <a:cxnSpLocks/>
          </p:cNvCxnSpPr>
          <p:nvPr/>
        </p:nvCxnSpPr>
        <p:spPr>
          <a:xfrm>
            <a:off x="306899" y="2545520"/>
            <a:ext cx="10764188" cy="0"/>
          </a:xfrm>
          <a:prstGeom prst="straightConnector1">
            <a:avLst/>
          </a:prstGeom>
          <a:noFill/>
          <a:ln w="6350" cap="flat" cmpd="sng" algn="ctr">
            <a:solidFill>
              <a:srgbClr val="009597"/>
            </a:solidFill>
            <a:prstDash val="solid"/>
            <a:miter lim="800000"/>
            <a:headEnd type="triangle"/>
            <a:tailEnd type="triangle"/>
          </a:ln>
          <a:effectLst/>
        </p:spPr>
      </p:cxnSp>
      <p:cxnSp>
        <p:nvCxnSpPr>
          <p:cNvPr id="26" name="Connecteur droit avec flèche 25">
            <a:extLst>
              <a:ext uri="{FF2B5EF4-FFF2-40B4-BE49-F238E27FC236}">
                <a16:creationId xmlns:a16="http://schemas.microsoft.com/office/drawing/2014/main" id="{EBA546E7-6F27-4A5F-8CF5-D09F6288C0E1}"/>
              </a:ext>
            </a:extLst>
          </p:cNvPr>
          <p:cNvCxnSpPr>
            <a:cxnSpLocks/>
          </p:cNvCxnSpPr>
          <p:nvPr/>
        </p:nvCxnSpPr>
        <p:spPr>
          <a:xfrm flipV="1">
            <a:off x="5833286" y="1741142"/>
            <a:ext cx="0" cy="4027369"/>
          </a:xfrm>
          <a:prstGeom prst="straightConnector1">
            <a:avLst/>
          </a:prstGeom>
          <a:ln>
            <a:solidFill>
              <a:srgbClr val="009597"/>
            </a:solidFill>
            <a:tailEnd type="triangle"/>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D14BB257-CCEF-1B67-FA5E-75439CE913E4}"/>
              </a:ext>
            </a:extLst>
          </p:cNvPr>
          <p:cNvSpPr txBox="1"/>
          <p:nvPr/>
        </p:nvSpPr>
        <p:spPr>
          <a:xfrm>
            <a:off x="650340" y="1164058"/>
            <a:ext cx="5182946" cy="400110"/>
          </a:xfrm>
          <a:prstGeom prst="homePlate">
            <a:avLst/>
          </a:prstGeom>
          <a:solidFill>
            <a:srgbClr val="009597">
              <a:lumMod val="75000"/>
            </a:srgbClr>
          </a:solidFill>
        </p:spPr>
        <p:txBody>
          <a:bodyPr wrap="square">
            <a:spAutoFit/>
          </a:bodyPr>
          <a:lstStyle/>
          <a:p>
            <a:pPr lvl="0" defTabSz="685800">
              <a:buClrTx/>
              <a:defRPr/>
            </a:pPr>
            <a:r>
              <a:rPr lang="fr-FR" sz="2000" b="1">
                <a:solidFill>
                  <a:srgbClr val="FFFFFF"/>
                </a:solidFill>
              </a:rPr>
              <a:t>Mapping of branch offers</a:t>
            </a:r>
            <a:endParaRPr kumimoji="0" lang="fr-FR" sz="2000" b="1" i="0" u="none" strike="noStrike" kern="0" cap="none" spc="0" normalizeH="0" baseline="0" noProof="0" dirty="0">
              <a:ln>
                <a:noFill/>
              </a:ln>
              <a:solidFill>
                <a:srgbClr val="FFFFFF"/>
              </a:solidFill>
              <a:effectLst/>
              <a:uLnTx/>
              <a:uFillTx/>
              <a:latin typeface="Arial"/>
            </a:endParaRPr>
          </a:p>
        </p:txBody>
      </p:sp>
      <p:sp>
        <p:nvSpPr>
          <p:cNvPr id="54" name="Rectangle : coins arrondis 53">
            <a:extLst>
              <a:ext uri="{FF2B5EF4-FFF2-40B4-BE49-F238E27FC236}">
                <a16:creationId xmlns:a16="http://schemas.microsoft.com/office/drawing/2014/main" id="{2AE6361F-9FE8-8C2C-A470-7DA4A1F8A840}"/>
              </a:ext>
            </a:extLst>
          </p:cNvPr>
          <p:cNvSpPr/>
          <p:nvPr/>
        </p:nvSpPr>
        <p:spPr>
          <a:xfrm>
            <a:off x="8786404" y="2019544"/>
            <a:ext cx="1409279" cy="400110"/>
          </a:xfrm>
          <a:prstGeom prst="roundRect">
            <a:avLst/>
          </a:prstGeom>
          <a:noFill/>
          <a:ln>
            <a:solidFill>
              <a:srgbClr val="00707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300" b="1">
                <a:solidFill>
                  <a:srgbClr val="007071"/>
                </a:solidFill>
              </a:rPr>
              <a:t>Pension</a:t>
            </a:r>
            <a:endParaRPr lang="fr-FR" sz="1300" b="1" dirty="0">
              <a:solidFill>
                <a:srgbClr val="007071"/>
              </a:solidFill>
            </a:endParaRPr>
          </a:p>
        </p:txBody>
      </p:sp>
      <p:pic>
        <p:nvPicPr>
          <p:cNvPr id="55" name="Graphique 54">
            <a:extLst>
              <a:ext uri="{FF2B5EF4-FFF2-40B4-BE49-F238E27FC236}">
                <a16:creationId xmlns:a16="http://schemas.microsoft.com/office/drawing/2014/main" id="{993D4003-E417-B414-A9A4-DF29F6BF2C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97161" y="1788057"/>
            <a:ext cx="510766" cy="510766"/>
          </a:xfrm>
          <a:prstGeom prst="rect">
            <a:avLst/>
          </a:prstGeom>
        </p:spPr>
      </p:pic>
      <p:pic>
        <p:nvPicPr>
          <p:cNvPr id="56" name="Graphique 55">
            <a:extLst>
              <a:ext uri="{FF2B5EF4-FFF2-40B4-BE49-F238E27FC236}">
                <a16:creationId xmlns:a16="http://schemas.microsoft.com/office/drawing/2014/main" id="{7663A3C7-DCAE-DEAA-DDEC-A0781B3DAF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95579" y="1765372"/>
            <a:ext cx="562509" cy="562509"/>
          </a:xfrm>
          <a:prstGeom prst="rect">
            <a:avLst/>
          </a:prstGeom>
        </p:spPr>
      </p:pic>
      <p:sp>
        <p:nvSpPr>
          <p:cNvPr id="8" name="Rectangle à coins arrondis 4">
            <a:extLst>
              <a:ext uri="{FF2B5EF4-FFF2-40B4-BE49-F238E27FC236}">
                <a16:creationId xmlns:a16="http://schemas.microsoft.com/office/drawing/2014/main" id="{20CF6BDA-D38C-5EEC-1AB2-07AC1A5A758C}"/>
              </a:ext>
            </a:extLst>
          </p:cNvPr>
          <p:cNvSpPr/>
          <p:nvPr/>
        </p:nvSpPr>
        <p:spPr>
          <a:xfrm>
            <a:off x="484971" y="2865139"/>
            <a:ext cx="2445444" cy="405405"/>
          </a:xfrm>
          <a:prstGeom prst="roundRect">
            <a:avLst/>
          </a:prstGeom>
          <a:solidFill>
            <a:srgbClr val="009597"/>
          </a:solidFill>
          <a:ln>
            <a:noFill/>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AUTOMOBILE</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1090</a:t>
            </a:r>
          </a:p>
        </p:txBody>
      </p:sp>
      <p:sp>
        <p:nvSpPr>
          <p:cNvPr id="9" name="Rectangle à coins arrondis 4">
            <a:extLst>
              <a:ext uri="{FF2B5EF4-FFF2-40B4-BE49-F238E27FC236}">
                <a16:creationId xmlns:a16="http://schemas.microsoft.com/office/drawing/2014/main" id="{052DCEDF-5499-77A7-7ACE-D117F9ED23EC}"/>
              </a:ext>
            </a:extLst>
          </p:cNvPr>
          <p:cNvSpPr/>
          <p:nvPr/>
        </p:nvSpPr>
        <p:spPr>
          <a:xfrm>
            <a:off x="484971" y="3370740"/>
            <a:ext cx="2445442" cy="410455"/>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Construction
See list</a:t>
            </a:r>
            <a:endParaRPr kumimoji="0" lang="fr-FR" sz="1100" b="0" i="1"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à coins arrondis 4">
            <a:extLst>
              <a:ext uri="{FF2B5EF4-FFF2-40B4-BE49-F238E27FC236}">
                <a16:creationId xmlns:a16="http://schemas.microsoft.com/office/drawing/2014/main" id="{A68BC016-DDA1-D409-7E0E-BC8AEF0DE0C5}"/>
              </a:ext>
            </a:extLst>
          </p:cNvPr>
          <p:cNvSpPr/>
          <p:nvPr/>
        </p:nvSpPr>
        <p:spPr>
          <a:xfrm>
            <a:off x="484970" y="3870446"/>
            <a:ext cx="2445441" cy="410455"/>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AGRICULTURAL MACHINERY 
1404</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à coins arrondis 4">
            <a:extLst>
              <a:ext uri="{FF2B5EF4-FFF2-40B4-BE49-F238E27FC236}">
                <a16:creationId xmlns:a16="http://schemas.microsoft.com/office/drawing/2014/main" id="{7DBDAFC4-1698-AEDB-3B67-4EC6505108DB}"/>
              </a:ext>
            </a:extLst>
          </p:cNvPr>
          <p:cNvSpPr/>
          <p:nvPr/>
        </p:nvSpPr>
        <p:spPr>
          <a:xfrm>
            <a:off x="496864" y="4419569"/>
            <a:ext cx="2445444" cy="405405"/>
          </a:xfrm>
          <a:prstGeom prst="roundRect">
            <a:avLst/>
          </a:prstGeom>
          <a:solidFill>
            <a:srgbClr val="009597"/>
          </a:solidFill>
          <a:ln>
            <a:noFill/>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COOP AGRI – IAA</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100" b="0" i="1" u="none" strike="noStrike" kern="0" cap="none" spc="0" normalizeH="0" baseline="0" noProof="0" dirty="0">
                <a:ln>
                  <a:noFill/>
                </a:ln>
                <a:solidFill>
                  <a:srgbClr val="FFFFFF"/>
                </a:solidFill>
                <a:effectLst/>
                <a:uLnTx/>
                <a:uFillTx/>
                <a:latin typeface="Arial"/>
                <a:ea typeface="+mn-ea"/>
                <a:cs typeface="+mn-cs"/>
              </a:rPr>
              <a:t>Cf liste</a:t>
            </a:r>
          </a:p>
        </p:txBody>
      </p:sp>
      <p:sp>
        <p:nvSpPr>
          <p:cNvPr id="12" name="Rectangle à coins arrondis 4">
            <a:extLst>
              <a:ext uri="{FF2B5EF4-FFF2-40B4-BE49-F238E27FC236}">
                <a16:creationId xmlns:a16="http://schemas.microsoft.com/office/drawing/2014/main" id="{8B596851-5D76-B68D-6E13-444A25532F17}"/>
              </a:ext>
            </a:extLst>
          </p:cNvPr>
          <p:cNvSpPr/>
          <p:nvPr/>
        </p:nvSpPr>
        <p:spPr>
          <a:xfrm>
            <a:off x="3170994" y="4403380"/>
            <a:ext cx="2445442" cy="410455"/>
          </a:xfrm>
          <a:prstGeom prst="roundRect">
            <a:avLst/>
          </a:prstGeom>
          <a:solidFill>
            <a:srgbClr val="009597"/>
          </a:solidFill>
          <a:ln>
            <a:noFill/>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SPORT</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2511</a:t>
            </a:r>
          </a:p>
        </p:txBody>
      </p:sp>
      <p:sp>
        <p:nvSpPr>
          <p:cNvPr id="13" name="Rectangle à coins arrondis 4">
            <a:extLst>
              <a:ext uri="{FF2B5EF4-FFF2-40B4-BE49-F238E27FC236}">
                <a16:creationId xmlns:a16="http://schemas.microsoft.com/office/drawing/2014/main" id="{8C6C1DAC-76BF-1EC7-4B4D-DF984F625401}"/>
              </a:ext>
            </a:extLst>
          </p:cNvPr>
          <p:cNvSpPr/>
          <p:nvPr/>
        </p:nvSpPr>
        <p:spPr>
          <a:xfrm>
            <a:off x="484970" y="4969708"/>
            <a:ext cx="2445441" cy="410455"/>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COSMETIC AESTHETICS
3032</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Rectangle à coins arrondis 4">
            <a:extLst>
              <a:ext uri="{FF2B5EF4-FFF2-40B4-BE49-F238E27FC236}">
                <a16:creationId xmlns:a16="http://schemas.microsoft.com/office/drawing/2014/main" id="{0D366C63-960B-9E2E-6B76-3A4E2C2E4534}"/>
              </a:ext>
            </a:extLst>
          </p:cNvPr>
          <p:cNvSpPr/>
          <p:nvPr/>
        </p:nvSpPr>
        <p:spPr>
          <a:xfrm>
            <a:off x="3139283" y="2865854"/>
            <a:ext cx="2445444" cy="405405"/>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FRUIT AND VEGETABLES 
1505</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22" name="Rectangle à coins arrondis 4">
            <a:extLst>
              <a:ext uri="{FF2B5EF4-FFF2-40B4-BE49-F238E27FC236}">
                <a16:creationId xmlns:a16="http://schemas.microsoft.com/office/drawing/2014/main" id="{417D45B6-2119-EDF4-6979-76144837ADAC}"/>
              </a:ext>
            </a:extLst>
          </p:cNvPr>
          <p:cNvSpPr/>
          <p:nvPr/>
        </p:nvSpPr>
        <p:spPr>
          <a:xfrm>
            <a:off x="3139283" y="3371455"/>
            <a:ext cx="2445442" cy="410455"/>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METALLURGY
See list</a:t>
            </a:r>
            <a:endParaRPr kumimoji="0" lang="fr-FR" sz="1100" b="0" i="1" u="none" strike="noStrike" kern="0" cap="none" spc="0" normalizeH="0" baseline="0" noProof="0" dirty="0">
              <a:ln>
                <a:noFill/>
              </a:ln>
              <a:solidFill>
                <a:srgbClr val="FFFFFF"/>
              </a:solidFill>
              <a:effectLst/>
              <a:uLnTx/>
              <a:uFillTx/>
              <a:latin typeface="Arial"/>
              <a:ea typeface="+mn-ea"/>
              <a:cs typeface="+mn-cs"/>
            </a:endParaRPr>
          </a:p>
        </p:txBody>
      </p:sp>
      <p:sp>
        <p:nvSpPr>
          <p:cNvPr id="28" name="Rectangle à coins arrondis 4">
            <a:extLst>
              <a:ext uri="{FF2B5EF4-FFF2-40B4-BE49-F238E27FC236}">
                <a16:creationId xmlns:a16="http://schemas.microsoft.com/office/drawing/2014/main" id="{DE65B1B3-8141-BDCC-7338-07EF6B748511}"/>
              </a:ext>
            </a:extLst>
          </p:cNvPr>
          <p:cNvSpPr/>
          <p:nvPr/>
        </p:nvSpPr>
        <p:spPr>
          <a:xfrm>
            <a:off x="3139282" y="3871161"/>
            <a:ext cx="2445441" cy="410455"/>
          </a:xfrm>
          <a:prstGeom prst="roundRect">
            <a:avLst/>
          </a:prstGeom>
          <a:solidFill>
            <a:srgbClr val="009597"/>
          </a:solidFill>
          <a:ln>
            <a:noFill/>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CAVES COOP VINICOLES</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Arial"/>
                <a:ea typeface="+mn-ea"/>
                <a:cs typeface="+mn-cs"/>
              </a:rPr>
              <a:t>7005</a:t>
            </a:r>
          </a:p>
        </p:txBody>
      </p:sp>
      <p:sp>
        <p:nvSpPr>
          <p:cNvPr id="29" name="Rectangle à coins arrondis 4">
            <a:extLst>
              <a:ext uri="{FF2B5EF4-FFF2-40B4-BE49-F238E27FC236}">
                <a16:creationId xmlns:a16="http://schemas.microsoft.com/office/drawing/2014/main" id="{4A479CAD-00E2-7043-7CD8-5269718B0DE4}"/>
              </a:ext>
            </a:extLst>
          </p:cNvPr>
          <p:cNvSpPr/>
          <p:nvPr/>
        </p:nvSpPr>
        <p:spPr>
          <a:xfrm>
            <a:off x="6107891" y="2865139"/>
            <a:ext cx="5009057" cy="405405"/>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GMS
2216</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33" name="Rectangle à coins arrondis 4">
            <a:extLst>
              <a:ext uri="{FF2B5EF4-FFF2-40B4-BE49-F238E27FC236}">
                <a16:creationId xmlns:a16="http://schemas.microsoft.com/office/drawing/2014/main" id="{02ABE0B0-28BB-49CD-95F9-7776EAB03BB7}"/>
              </a:ext>
            </a:extLst>
          </p:cNvPr>
          <p:cNvSpPr/>
          <p:nvPr/>
        </p:nvSpPr>
        <p:spPr>
          <a:xfrm>
            <a:off x="6107891" y="3370740"/>
            <a:ext cx="5009055" cy="410455"/>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WHOLESALE TRADE
573</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34" name="Rectangle à coins arrondis 4">
            <a:extLst>
              <a:ext uri="{FF2B5EF4-FFF2-40B4-BE49-F238E27FC236}">
                <a16:creationId xmlns:a16="http://schemas.microsoft.com/office/drawing/2014/main" id="{E7DAA038-F5C3-F45A-B888-A53144E33525}"/>
              </a:ext>
            </a:extLst>
          </p:cNvPr>
          <p:cNvSpPr/>
          <p:nvPr/>
        </p:nvSpPr>
        <p:spPr>
          <a:xfrm>
            <a:off x="6096000" y="3846506"/>
            <a:ext cx="5020941" cy="410455"/>
          </a:xfrm>
          <a:prstGeom prst="roundRect">
            <a:avLst/>
          </a:prstGeom>
          <a:solidFill>
            <a:srgbClr val="009597"/>
          </a:solidFill>
          <a:ln>
            <a:noFill/>
          </a:ln>
          <a:effectLst/>
        </p:spPr>
        <p:txBody>
          <a:bodyPr rtlCol="0" anchor="ctr"/>
          <a:lstStyle/>
          <a:p>
            <a:pPr lvl="0" algn="ctr" defTabSz="685800">
              <a:buClrTx/>
              <a:defRPr/>
            </a:pPr>
            <a:r>
              <a:rPr lang="fr-FR" sz="1100" b="1">
                <a:solidFill>
                  <a:srgbClr val="FFFFFF"/>
                </a:solidFill>
                <a:ea typeface="+mn-ea"/>
                <a:cs typeface="+mn-cs"/>
              </a:rPr>
              <a:t>MEDICAL PRACTICES
1147</a:t>
            </a:r>
            <a:endParaRPr kumimoji="0" lang="fr-FR" sz="1100" b="1" i="0" u="none" strike="noStrike" kern="0" cap="none" spc="0" normalizeH="0" baseline="0" noProof="0" dirty="0">
              <a:ln>
                <a:noFill/>
              </a:ln>
              <a:solidFill>
                <a:srgbClr val="FFFFFF"/>
              </a:solidFill>
              <a:effectLst/>
              <a:uLnTx/>
              <a:uFillTx/>
              <a:latin typeface="Arial"/>
              <a:ea typeface="+mn-ea"/>
              <a:cs typeface="+mn-cs"/>
            </a:endParaRPr>
          </a:p>
        </p:txBody>
      </p:sp>
      <p:sp>
        <p:nvSpPr>
          <p:cNvPr id="4" name="Rectangle : coins arrondis 3">
            <a:extLst>
              <a:ext uri="{FF2B5EF4-FFF2-40B4-BE49-F238E27FC236}">
                <a16:creationId xmlns:a16="http://schemas.microsoft.com/office/drawing/2014/main" id="{FEAECE80-293A-3BF4-9497-DE4A517DA34F}"/>
              </a:ext>
            </a:extLst>
          </p:cNvPr>
          <p:cNvSpPr/>
          <p:nvPr/>
        </p:nvSpPr>
        <p:spPr>
          <a:xfrm>
            <a:off x="888439" y="2021599"/>
            <a:ext cx="1107878" cy="400110"/>
          </a:xfrm>
          <a:prstGeom prst="roundRect">
            <a:avLst/>
          </a:prstGeom>
          <a:noFill/>
          <a:ln w="12700" cap="flat" cmpd="sng" algn="ctr">
            <a:solidFill>
              <a:srgbClr val="ED1B2F"/>
            </a:solidFill>
            <a:prstDash val="solid"/>
            <a:miter lim="800000"/>
          </a:ln>
          <a:effectLst/>
        </p:spPr>
        <p:txBody>
          <a:bodyPr rtlCol="0" anchor="ctr"/>
          <a:lstStyle/>
          <a:p>
            <a:pPr lvl="0" algn="ctr">
              <a:buClrTx/>
              <a:defRPr/>
            </a:pPr>
            <a:r>
              <a:rPr lang="fr-FR" sz="1300" b="1" kern="1200">
                <a:solidFill>
                  <a:srgbClr val="ED1B2F"/>
                </a:solidFill>
                <a:ea typeface="+mn-ea"/>
                <a:cs typeface="+mn-cs"/>
              </a:rPr>
              <a:t>Health</a:t>
            </a:r>
            <a:endParaRPr kumimoji="0" lang="fr-FR" sz="1300" b="1" i="0" u="none" strike="noStrike" kern="1200" cap="none" spc="0" normalizeH="0" baseline="0" noProof="0" dirty="0">
              <a:ln>
                <a:noFill/>
              </a:ln>
              <a:solidFill>
                <a:srgbClr val="ED1B2F"/>
              </a:solidFill>
              <a:effectLst/>
              <a:uLnTx/>
              <a:uFillTx/>
              <a:latin typeface="Arial"/>
              <a:ea typeface="+mn-ea"/>
              <a:cs typeface="+mn-cs"/>
            </a:endParaRPr>
          </a:p>
        </p:txBody>
      </p:sp>
      <p:pic>
        <p:nvPicPr>
          <p:cNvPr id="6" name="Graphique 5">
            <a:extLst>
              <a:ext uri="{FF2B5EF4-FFF2-40B4-BE49-F238E27FC236}">
                <a16:creationId xmlns:a16="http://schemas.microsoft.com/office/drawing/2014/main" id="{8781C60C-D733-8A81-A4B1-9ED4663F35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6454" y="1790112"/>
            <a:ext cx="592248" cy="592248"/>
          </a:xfrm>
          <a:prstGeom prst="rect">
            <a:avLst/>
          </a:prstGeom>
        </p:spPr>
      </p:pic>
      <p:sp>
        <p:nvSpPr>
          <p:cNvPr id="17" name="Rectangle : coins arrondis 16">
            <a:extLst>
              <a:ext uri="{FF2B5EF4-FFF2-40B4-BE49-F238E27FC236}">
                <a16:creationId xmlns:a16="http://schemas.microsoft.com/office/drawing/2014/main" id="{21D3E517-E20F-82A0-FFEA-5C017A371B5F}"/>
              </a:ext>
            </a:extLst>
          </p:cNvPr>
          <p:cNvSpPr/>
          <p:nvPr/>
        </p:nvSpPr>
        <p:spPr>
          <a:xfrm>
            <a:off x="6712407" y="2019544"/>
            <a:ext cx="1584750" cy="400110"/>
          </a:xfrm>
          <a:prstGeom prst="roundRect">
            <a:avLst/>
          </a:prstGeom>
          <a:noFill/>
          <a:ln w="12700" cap="flat" cmpd="sng" algn="ctr">
            <a:solidFill>
              <a:srgbClr val="ED1B2F"/>
            </a:solidFill>
            <a:prstDash val="solid"/>
            <a:miter lim="800000"/>
          </a:ln>
          <a:effectLst/>
        </p:spPr>
        <p:txBody>
          <a:bodyPr rtlCol="0" anchor="ctr"/>
          <a:lstStyle/>
          <a:p>
            <a:pPr lvl="0" algn="ctr">
              <a:buClrTx/>
              <a:defRPr/>
            </a:pPr>
            <a:r>
              <a:rPr lang="fr-FR" sz="1300" b="1" kern="1200">
                <a:solidFill>
                  <a:srgbClr val="ED1B2F"/>
                </a:solidFill>
                <a:ea typeface="+mn-ea"/>
                <a:cs typeface="+mn-cs"/>
              </a:rPr>
              <a:t>Health
(without branch agreement)</a:t>
            </a:r>
            <a:endParaRPr kumimoji="0" lang="fr-FR" sz="1000" b="0" i="0" u="none" strike="noStrike" kern="1200" cap="none" spc="0" normalizeH="0" baseline="0" noProof="0" dirty="0">
              <a:ln>
                <a:noFill/>
              </a:ln>
              <a:solidFill>
                <a:srgbClr val="ED1B2F"/>
              </a:solidFill>
              <a:effectLst/>
              <a:uLnTx/>
              <a:uFillTx/>
              <a:latin typeface="Arial"/>
              <a:ea typeface="+mn-ea"/>
              <a:cs typeface="+mn-cs"/>
            </a:endParaRPr>
          </a:p>
        </p:txBody>
      </p:sp>
      <p:pic>
        <p:nvPicPr>
          <p:cNvPr id="18" name="Graphique 17">
            <a:extLst>
              <a:ext uri="{FF2B5EF4-FFF2-40B4-BE49-F238E27FC236}">
                <a16:creationId xmlns:a16="http://schemas.microsoft.com/office/drawing/2014/main" id="{10C8DFA7-ED90-30BF-5828-FB7EB32774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60422" y="1788057"/>
            <a:ext cx="592248" cy="592248"/>
          </a:xfrm>
          <a:prstGeom prst="rect">
            <a:avLst/>
          </a:prstGeom>
        </p:spPr>
      </p:pic>
      <p:sp>
        <p:nvSpPr>
          <p:cNvPr id="20" name="Titre 1">
            <a:extLst>
              <a:ext uri="{FF2B5EF4-FFF2-40B4-BE49-F238E27FC236}">
                <a16:creationId xmlns:a16="http://schemas.microsoft.com/office/drawing/2014/main" id="{51E260CB-9F8A-599B-EF7D-04C9EF30410D}"/>
              </a:ext>
            </a:extLst>
          </p:cNvPr>
          <p:cNvSpPr>
            <a:spLocks noGrp="1"/>
          </p:cNvSpPr>
          <p:nvPr>
            <p:ph type="title"/>
          </p:nvPr>
        </p:nvSpPr>
        <p:spPr>
          <a:xfrm>
            <a:off x="0" y="212454"/>
            <a:ext cx="10196073" cy="540000"/>
          </a:xfrm>
        </p:spPr>
        <p:txBody>
          <a:bodyPr>
            <a:noAutofit/>
          </a:bodyPr>
          <a:lstStyle/>
          <a:p>
            <a:r>
              <a:rPr lang="en-US" sz="2000" b="1">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rPr>
              <a:t>Identify the company's segment and industry</a:t>
            </a:r>
            <a:endParaRPr lang="fr-FR" sz="2000" b="1" dirty="0">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endParaRPr>
          </a:p>
        </p:txBody>
      </p:sp>
    </p:spTree>
    <p:extLst>
      <p:ext uri="{BB962C8B-B14F-4D97-AF65-F5344CB8AC3E}">
        <p14:creationId xmlns:p14="http://schemas.microsoft.com/office/powerpoint/2010/main" val="1939288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BD7675-0A0B-F2A1-21BE-9A666016096E}"/>
              </a:ext>
            </a:extLst>
          </p:cNvPr>
          <p:cNvSpPr>
            <a:spLocks noGrp="1"/>
          </p:cNvSpPr>
          <p:nvPr>
            <p:ph type="title"/>
          </p:nvPr>
        </p:nvSpPr>
        <p:spPr>
          <a:xfrm>
            <a:off x="0" y="101292"/>
            <a:ext cx="12201100" cy="565368"/>
          </a:xfrm>
        </p:spPr>
        <p:txBody>
          <a:bodyPr>
            <a:noAutofit/>
          </a:bodyPr>
          <a:lstStyle/>
          <a:p>
            <a:r>
              <a:rPr lang="en-US" dirty="0"/>
              <a:t>Expanding the Human Resources </a:t>
            </a:r>
            <a:r>
              <a:rPr lang="en-US" dirty="0" err="1"/>
              <a:t>Bankto</a:t>
            </a:r>
            <a:r>
              <a:rPr lang="en-US" dirty="0"/>
              <a:t> the Entrepreneur market is fully in line with the ambition of the PMT ACT 2028 and the Regional Banks' 10-year ambitions</a:t>
            </a:r>
          </a:p>
        </p:txBody>
      </p:sp>
      <p:pic>
        <p:nvPicPr>
          <p:cNvPr id="23" name="Image 22">
            <a:extLst>
              <a:ext uri="{FF2B5EF4-FFF2-40B4-BE49-F238E27FC236}">
                <a16:creationId xmlns:a16="http://schemas.microsoft.com/office/drawing/2014/main" id="{69C486E1-7794-D18B-ECB7-08C559DCDB58}"/>
              </a:ext>
            </a:extLst>
          </p:cNvPr>
          <p:cNvPicPr>
            <a:picLocks noChangeAspect="1"/>
          </p:cNvPicPr>
          <p:nvPr/>
        </p:nvPicPr>
        <p:blipFill>
          <a:blip r:embed="rId3"/>
          <a:stretch>
            <a:fillRect/>
          </a:stretch>
        </p:blipFill>
        <p:spPr>
          <a:xfrm>
            <a:off x="526194" y="1043323"/>
            <a:ext cx="1531666" cy="544247"/>
          </a:xfrm>
          <a:prstGeom prst="rect">
            <a:avLst/>
          </a:prstGeom>
        </p:spPr>
      </p:pic>
      <p:graphicFrame>
        <p:nvGraphicFramePr>
          <p:cNvPr id="29" name="Diagramme 28">
            <a:extLst>
              <a:ext uri="{FF2B5EF4-FFF2-40B4-BE49-F238E27FC236}">
                <a16:creationId xmlns:a16="http://schemas.microsoft.com/office/drawing/2014/main" id="{215D8FBA-61F8-A2A3-0551-1788BCD782D1}"/>
              </a:ext>
            </a:extLst>
          </p:cNvPr>
          <p:cNvGraphicFramePr/>
          <p:nvPr>
            <p:extLst>
              <p:ext uri="{D42A27DB-BD31-4B8C-83A1-F6EECF244321}">
                <p14:modId xmlns:p14="http://schemas.microsoft.com/office/powerpoint/2010/main" val="926944310"/>
              </p:ext>
            </p:extLst>
          </p:nvPr>
        </p:nvGraphicFramePr>
        <p:xfrm>
          <a:off x="514029" y="1496546"/>
          <a:ext cx="7561459" cy="38357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1" name="Graphique 30">
            <a:extLst>
              <a:ext uri="{FF2B5EF4-FFF2-40B4-BE49-F238E27FC236}">
                <a16:creationId xmlns:a16="http://schemas.microsoft.com/office/drawing/2014/main" id="{F3ABF918-49F6-039C-341D-748DC9E550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02977" y="1798907"/>
            <a:ext cx="354008" cy="394056"/>
          </a:xfrm>
          <a:prstGeom prst="rect">
            <a:avLst/>
          </a:prstGeom>
        </p:spPr>
      </p:pic>
      <p:pic>
        <p:nvPicPr>
          <p:cNvPr id="32" name="Picture 2">
            <a:extLst>
              <a:ext uri="{FF2B5EF4-FFF2-40B4-BE49-F238E27FC236}">
                <a16:creationId xmlns:a16="http://schemas.microsoft.com/office/drawing/2014/main" id="{E8526552-897B-73D6-28EB-FDC4645E3E90}"/>
              </a:ext>
            </a:extLst>
          </p:cNvPr>
          <p:cNvPicPr>
            <a:picLocks noChangeAspect="1"/>
          </p:cNvPicPr>
          <p:nvPr/>
        </p:nvPicPr>
        <p:blipFill>
          <a:blip r:embed="rId11">
            <a:duotone>
              <a:schemeClr val="accent1">
                <a:shade val="45000"/>
                <a:satMod val="135000"/>
              </a:schemeClr>
              <a:prstClr val="white"/>
            </a:duotone>
          </a:blip>
          <a:stretch>
            <a:fillRect/>
          </a:stretch>
        </p:blipFill>
        <p:spPr>
          <a:xfrm>
            <a:off x="4500243" y="1782121"/>
            <a:ext cx="383434" cy="394056"/>
          </a:xfrm>
          <a:prstGeom prst="rect">
            <a:avLst/>
          </a:prstGeom>
          <a:solidFill>
            <a:schemeClr val="accent2">
              <a:lumMod val="75000"/>
            </a:schemeClr>
          </a:solidFill>
        </p:spPr>
      </p:pic>
      <p:pic>
        <p:nvPicPr>
          <p:cNvPr id="33" name="Graphique 32">
            <a:extLst>
              <a:ext uri="{FF2B5EF4-FFF2-40B4-BE49-F238E27FC236}">
                <a16:creationId xmlns:a16="http://schemas.microsoft.com/office/drawing/2014/main" id="{B31293A1-6ECE-2FF3-C284-0963EAEA9021}"/>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26935" y="1831821"/>
            <a:ext cx="383434" cy="303260"/>
          </a:xfrm>
          <a:prstGeom prst="rect">
            <a:avLst/>
          </a:prstGeom>
        </p:spPr>
      </p:pic>
      <p:sp>
        <p:nvSpPr>
          <p:cNvPr id="36" name="ZoneTexte 35">
            <a:extLst>
              <a:ext uri="{FF2B5EF4-FFF2-40B4-BE49-F238E27FC236}">
                <a16:creationId xmlns:a16="http://schemas.microsoft.com/office/drawing/2014/main" id="{BA790738-837A-9E02-C93C-A4D67A9BF36E}"/>
              </a:ext>
            </a:extLst>
          </p:cNvPr>
          <p:cNvSpPr txBox="1"/>
          <p:nvPr/>
        </p:nvSpPr>
        <p:spPr>
          <a:xfrm>
            <a:off x="8250274" y="1406866"/>
            <a:ext cx="3544584" cy="584775"/>
          </a:xfrm>
          <a:prstGeom prst="rect">
            <a:avLst/>
          </a:prstGeom>
          <a:solidFill>
            <a:srgbClr val="F2F2F2"/>
          </a:solidFill>
        </p:spPr>
        <p:txBody>
          <a:bodyPr wrap="square" rtlCol="0">
            <a:spAutoFit/>
          </a:bodyPr>
          <a:lstStyle>
            <a:defPPr>
              <a:defRPr lang="fr-FR"/>
            </a:defPPr>
            <a:lvl1pPr algn="ctr">
              <a:defRPr b="1">
                <a:solidFill>
                  <a:srgbClr val="008080"/>
                </a:solidFill>
              </a:defRPr>
            </a:lvl1pPr>
          </a:lstStyle>
          <a:p>
            <a:r>
              <a:rPr lang="en-US" sz="1600"/>
              <a:t>... allowing us to reduce our competitive gap</a:t>
            </a:r>
            <a:endParaRPr lang="fr-FR" sz="1600" dirty="0"/>
          </a:p>
        </p:txBody>
      </p:sp>
      <p:sp>
        <p:nvSpPr>
          <p:cNvPr id="37" name="Ellipse 36">
            <a:extLst>
              <a:ext uri="{FF2B5EF4-FFF2-40B4-BE49-F238E27FC236}">
                <a16:creationId xmlns:a16="http://schemas.microsoft.com/office/drawing/2014/main" id="{8F5ADA9A-13BC-4C71-5EE2-8BBA77F75AC1}"/>
              </a:ext>
            </a:extLst>
          </p:cNvPr>
          <p:cNvSpPr/>
          <p:nvPr/>
        </p:nvSpPr>
        <p:spPr>
          <a:xfrm>
            <a:off x="8338837" y="2531702"/>
            <a:ext cx="856660" cy="626724"/>
          </a:xfrm>
          <a:prstGeom prst="ellipse">
            <a:avLst/>
          </a:prstGeom>
          <a:solidFill>
            <a:schemeClr val="bg1"/>
          </a:solidFill>
          <a:ln w="28575" cap="flat" cmpd="sng" algn="ctr">
            <a:solidFill>
              <a:srgbClr val="009597"/>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400" b="1" kern="0" dirty="0">
                <a:solidFill>
                  <a:srgbClr val="008080"/>
                </a:solidFill>
                <a:latin typeface="Arial"/>
              </a:rPr>
              <a:t>9,5% </a:t>
            </a:r>
            <a:r>
              <a:rPr kumimoji="0" lang="fr-FR" sz="1400" b="1" i="0" u="none" strike="noStrike" kern="0" cap="none" spc="0" normalizeH="0" baseline="0" noProof="0" dirty="0">
                <a:ln>
                  <a:noFill/>
                </a:ln>
                <a:solidFill>
                  <a:srgbClr val="008080"/>
                </a:solidFill>
                <a:effectLst/>
                <a:uLnTx/>
                <a:uFillTx/>
                <a:latin typeface="Arial"/>
                <a:ea typeface="+mn-ea"/>
                <a:cs typeface="+mn-cs"/>
              </a:rPr>
              <a:t> </a:t>
            </a:r>
          </a:p>
        </p:txBody>
      </p:sp>
      <p:sp>
        <p:nvSpPr>
          <p:cNvPr id="38" name="Ellipse 37">
            <a:extLst>
              <a:ext uri="{FF2B5EF4-FFF2-40B4-BE49-F238E27FC236}">
                <a16:creationId xmlns:a16="http://schemas.microsoft.com/office/drawing/2014/main" id="{882C6D4F-AA15-75FC-681E-A684A5A08507}"/>
              </a:ext>
            </a:extLst>
          </p:cNvPr>
          <p:cNvSpPr/>
          <p:nvPr/>
        </p:nvSpPr>
        <p:spPr>
          <a:xfrm>
            <a:off x="8338836" y="3520208"/>
            <a:ext cx="856659" cy="626724"/>
          </a:xfrm>
          <a:prstGeom prst="ellipse">
            <a:avLst/>
          </a:prstGeom>
          <a:solidFill>
            <a:schemeClr val="bg1"/>
          </a:solidFill>
          <a:ln w="28575" cap="flat" cmpd="sng" algn="ctr">
            <a:solidFill>
              <a:srgbClr val="009597"/>
            </a:solidFill>
            <a:prstDash val="dash"/>
            <a:miter lim="800000"/>
          </a:ln>
          <a:effectLst/>
        </p:spPr>
        <p:txBody>
          <a:bodyPr rtlCol="0" anchor="ctr"/>
          <a:lstStyle/>
          <a:p>
            <a:pPr algn="ctr"/>
            <a:r>
              <a:rPr lang="fr-FR" sz="1400" b="1" kern="0" dirty="0">
                <a:solidFill>
                  <a:srgbClr val="008080"/>
                </a:solidFill>
                <a:latin typeface="Arial"/>
              </a:rPr>
              <a:t>1,6%  </a:t>
            </a:r>
          </a:p>
        </p:txBody>
      </p:sp>
      <p:sp>
        <p:nvSpPr>
          <p:cNvPr id="39" name="Ellipse 38">
            <a:extLst>
              <a:ext uri="{FF2B5EF4-FFF2-40B4-BE49-F238E27FC236}">
                <a16:creationId xmlns:a16="http://schemas.microsoft.com/office/drawing/2014/main" id="{A77A9323-F63E-FAF4-2D51-07F5E7E6855C}"/>
              </a:ext>
            </a:extLst>
          </p:cNvPr>
          <p:cNvSpPr/>
          <p:nvPr/>
        </p:nvSpPr>
        <p:spPr>
          <a:xfrm>
            <a:off x="8338837" y="4475323"/>
            <a:ext cx="856658" cy="626724"/>
          </a:xfrm>
          <a:prstGeom prst="ellipse">
            <a:avLst/>
          </a:prstGeom>
          <a:solidFill>
            <a:schemeClr val="bg1"/>
          </a:solidFill>
          <a:ln w="28575" cap="flat" cmpd="sng" algn="ctr">
            <a:solidFill>
              <a:srgbClr val="009597"/>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200" b="1" kern="0" dirty="0">
                <a:solidFill>
                  <a:srgbClr val="008080"/>
                </a:solidFill>
                <a:latin typeface="Arial"/>
              </a:rPr>
              <a:t>0</a:t>
            </a:r>
            <a:endParaRPr kumimoji="0" lang="fr-FR" sz="1200" b="1" i="0" u="none" strike="noStrike" kern="0" cap="none" spc="0" normalizeH="0" baseline="0" noProof="0" dirty="0">
              <a:ln>
                <a:noFill/>
              </a:ln>
              <a:solidFill>
                <a:srgbClr val="008080"/>
              </a:solidFill>
              <a:effectLst/>
              <a:uLnTx/>
              <a:uFillTx/>
              <a:latin typeface="Arial"/>
              <a:ea typeface="+mn-ea"/>
              <a:cs typeface="+mn-cs"/>
            </a:endParaRPr>
          </a:p>
        </p:txBody>
      </p:sp>
      <p:sp>
        <p:nvSpPr>
          <p:cNvPr id="40" name="ZoneTexte 39">
            <a:extLst>
              <a:ext uri="{FF2B5EF4-FFF2-40B4-BE49-F238E27FC236}">
                <a16:creationId xmlns:a16="http://schemas.microsoft.com/office/drawing/2014/main" id="{1382638C-9520-DA9B-3253-6288E2B2C5CA}"/>
              </a:ext>
            </a:extLst>
          </p:cNvPr>
          <p:cNvSpPr txBox="1"/>
          <p:nvPr/>
        </p:nvSpPr>
        <p:spPr>
          <a:xfrm>
            <a:off x="9276791" y="2366203"/>
            <a:ext cx="2158471" cy="900246"/>
          </a:xfrm>
          <a:prstGeom prst="rect">
            <a:avLst/>
          </a:prstGeom>
          <a:noFill/>
        </p:spPr>
        <p:txBody>
          <a:bodyPr wrap="square" rtlCol="0">
            <a:spAutoFit/>
          </a:bodyPr>
          <a:lstStyle/>
          <a:p>
            <a:pPr algn="ctr"/>
            <a:r>
              <a:rPr lang="en-US" sz="1050">
                <a:solidFill>
                  <a:srgbClr val="008080"/>
                </a:solidFill>
              </a:rPr>
              <a:t>From our Entrepreneur customers equipped with Employee Savings and Retirement solutions 
(vs. BPCE = 17.7%, CIC = 21%)</a:t>
            </a:r>
            <a:endParaRPr lang="fr-FR" sz="1050" dirty="0">
              <a:solidFill>
                <a:srgbClr val="008080"/>
              </a:solidFill>
            </a:endParaRPr>
          </a:p>
        </p:txBody>
      </p:sp>
      <p:sp>
        <p:nvSpPr>
          <p:cNvPr id="41" name="ZoneTexte 40">
            <a:extLst>
              <a:ext uri="{FF2B5EF4-FFF2-40B4-BE49-F238E27FC236}">
                <a16:creationId xmlns:a16="http://schemas.microsoft.com/office/drawing/2014/main" id="{EA550572-53EA-BBD3-0F46-4EA5EFF28BFB}"/>
              </a:ext>
            </a:extLst>
          </p:cNvPr>
          <p:cNvSpPr txBox="1"/>
          <p:nvPr/>
        </p:nvSpPr>
        <p:spPr>
          <a:xfrm>
            <a:off x="9333299" y="3516225"/>
            <a:ext cx="2158471" cy="738664"/>
          </a:xfrm>
          <a:prstGeom prst="rect">
            <a:avLst/>
          </a:prstGeom>
          <a:noFill/>
        </p:spPr>
        <p:txBody>
          <a:bodyPr wrap="square" rtlCol="0">
            <a:spAutoFit/>
          </a:bodyPr>
          <a:lstStyle/>
          <a:p>
            <a:pPr algn="ctr"/>
            <a:r>
              <a:rPr lang="en-US" sz="1050" dirty="0">
                <a:solidFill>
                  <a:srgbClr val="008080"/>
                </a:solidFill>
              </a:rPr>
              <a:t>From our Contractor clients equipped with Group Insurance solutions ((vs. BNP/BPCE = 8%, traditional insurers = 36%)</a:t>
            </a:r>
            <a:endParaRPr lang="fr-FR" sz="1050" dirty="0">
              <a:solidFill>
                <a:srgbClr val="008080"/>
              </a:solidFill>
            </a:endParaRPr>
          </a:p>
        </p:txBody>
      </p:sp>
      <p:sp>
        <p:nvSpPr>
          <p:cNvPr id="42" name="ZoneTexte 41">
            <a:extLst>
              <a:ext uri="{FF2B5EF4-FFF2-40B4-BE49-F238E27FC236}">
                <a16:creationId xmlns:a16="http://schemas.microsoft.com/office/drawing/2014/main" id="{7AE4BDB0-165F-4870-79BE-1011220C4311}"/>
              </a:ext>
            </a:extLst>
          </p:cNvPr>
          <p:cNvSpPr txBox="1"/>
          <p:nvPr/>
        </p:nvSpPr>
        <p:spPr>
          <a:xfrm>
            <a:off x="9333298" y="4612143"/>
            <a:ext cx="2158471" cy="415498"/>
          </a:xfrm>
          <a:prstGeom prst="rect">
            <a:avLst/>
          </a:prstGeom>
          <a:noFill/>
        </p:spPr>
        <p:txBody>
          <a:bodyPr wrap="square" rtlCol="0">
            <a:spAutoFit/>
          </a:bodyPr>
          <a:lstStyle/>
          <a:p>
            <a:pPr algn="ctr"/>
            <a:r>
              <a:rPr lang="en-US" sz="1050">
                <a:solidFill>
                  <a:srgbClr val="008080"/>
                </a:solidFill>
              </a:rPr>
              <a:t>-&gt; Solution not yet deployed in the Contractor market</a:t>
            </a:r>
            <a:endParaRPr lang="fr-FR" sz="1050" dirty="0">
              <a:solidFill>
                <a:srgbClr val="008080"/>
              </a:solidFill>
            </a:endParaRPr>
          </a:p>
        </p:txBody>
      </p:sp>
      <p:sp>
        <p:nvSpPr>
          <p:cNvPr id="99" name="Rectangle : coins arrondis 98">
            <a:extLst>
              <a:ext uri="{FF2B5EF4-FFF2-40B4-BE49-F238E27FC236}">
                <a16:creationId xmlns:a16="http://schemas.microsoft.com/office/drawing/2014/main" id="{BB78F175-9F1E-5656-37B7-F3E30F04CA41}"/>
              </a:ext>
            </a:extLst>
          </p:cNvPr>
          <p:cNvSpPr/>
          <p:nvPr/>
        </p:nvSpPr>
        <p:spPr>
          <a:xfrm>
            <a:off x="852755" y="5430438"/>
            <a:ext cx="10479641" cy="584775"/>
          </a:xfrm>
          <a:prstGeom prst="roundRect">
            <a:avLst/>
          </a:prstGeom>
          <a:solidFill>
            <a:srgbClr val="90C1A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 global approach implemented in the Enterprise market since March 2025
 with 1st results that demonstrate all its effectiveness and relevance</a:t>
            </a:r>
            <a:endParaRPr lang="fr-FR" dirty="0"/>
          </a:p>
        </p:txBody>
      </p:sp>
    </p:spTree>
    <p:extLst>
      <p:ext uri="{BB962C8B-B14F-4D97-AF65-F5344CB8AC3E}">
        <p14:creationId xmlns:p14="http://schemas.microsoft.com/office/powerpoint/2010/main" val="1441155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80ADC6A-05D0-7547-4739-142B536BBBF8}"/>
              </a:ext>
            </a:extLst>
          </p:cNvPr>
          <p:cNvSpPr>
            <a:spLocks noGrp="1"/>
          </p:cNvSpPr>
          <p:nvPr>
            <p:ph type="title"/>
          </p:nvPr>
        </p:nvSpPr>
        <p:spPr>
          <a:xfrm>
            <a:off x="0" y="129540"/>
            <a:ext cx="12201100" cy="565368"/>
          </a:xfrm>
        </p:spPr>
        <p:txBody>
          <a:bodyPr>
            <a:noAutofit/>
          </a:bodyPr>
          <a:lstStyle/>
          <a:p>
            <a:r>
              <a:rPr lang="en-US"/>
              <a:t>Adapting the Human Resources Bank to the Entrepreneur market by capitalizing on the experience of the Corporate market: a success to be replicated!!</a:t>
            </a:r>
            <a:endParaRPr lang="fr-FR" dirty="0"/>
          </a:p>
        </p:txBody>
      </p:sp>
      <p:sp>
        <p:nvSpPr>
          <p:cNvPr id="3" name="Rectangle 2">
            <a:extLst>
              <a:ext uri="{FF2B5EF4-FFF2-40B4-BE49-F238E27FC236}">
                <a16:creationId xmlns:a16="http://schemas.microsoft.com/office/drawing/2014/main" id="{4B99A344-CB42-C7A4-BF4B-80D5866B05B6}"/>
              </a:ext>
            </a:extLst>
          </p:cNvPr>
          <p:cNvSpPr/>
          <p:nvPr/>
        </p:nvSpPr>
        <p:spPr>
          <a:xfrm>
            <a:off x="8130051" y="1770393"/>
            <a:ext cx="3741962" cy="2766357"/>
          </a:xfrm>
          <a:prstGeom prst="rect">
            <a:avLst/>
          </a:prstGeom>
          <a:solidFill>
            <a:schemeClr val="bg1"/>
          </a:solidFill>
          <a:ln>
            <a:solidFill>
              <a:srgbClr val="38B2B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4" name="Groupe 3">
            <a:extLst>
              <a:ext uri="{FF2B5EF4-FFF2-40B4-BE49-F238E27FC236}">
                <a16:creationId xmlns:a16="http://schemas.microsoft.com/office/drawing/2014/main" id="{C5322AC7-0A4C-E0AE-E97D-DB9DCA14C4C1}"/>
              </a:ext>
            </a:extLst>
          </p:cNvPr>
          <p:cNvGrpSpPr/>
          <p:nvPr/>
        </p:nvGrpSpPr>
        <p:grpSpPr>
          <a:xfrm>
            <a:off x="2249678" y="1439379"/>
            <a:ext cx="5693055" cy="3082297"/>
            <a:chOff x="1110448" y="652433"/>
            <a:chExt cx="5945957" cy="3394930"/>
          </a:xfrm>
        </p:grpSpPr>
        <p:sp>
          <p:nvSpPr>
            <p:cNvPr id="5" name="Rectangle 4">
              <a:extLst>
                <a:ext uri="{FF2B5EF4-FFF2-40B4-BE49-F238E27FC236}">
                  <a16:creationId xmlns:a16="http://schemas.microsoft.com/office/drawing/2014/main" id="{F0EEDA5C-2BE5-8CAD-8671-876C36683257}"/>
                </a:ext>
              </a:extLst>
            </p:cNvPr>
            <p:cNvSpPr/>
            <p:nvPr/>
          </p:nvSpPr>
          <p:spPr>
            <a:xfrm>
              <a:off x="1666260" y="1301919"/>
              <a:ext cx="1153963" cy="272739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white"/>
                </a:solidFill>
                <a:effectLst/>
                <a:uLnTx/>
                <a:uFillTx/>
              </a:endParaRPr>
            </a:p>
          </p:txBody>
        </p:sp>
        <p:sp>
          <p:nvSpPr>
            <p:cNvPr id="6" name="Rectangle 5">
              <a:extLst>
                <a:ext uri="{FF2B5EF4-FFF2-40B4-BE49-F238E27FC236}">
                  <a16:creationId xmlns:a16="http://schemas.microsoft.com/office/drawing/2014/main" id="{DDDDBF53-0A43-0058-A65F-4344382D986D}"/>
                </a:ext>
              </a:extLst>
            </p:cNvPr>
            <p:cNvSpPr/>
            <p:nvPr/>
          </p:nvSpPr>
          <p:spPr>
            <a:xfrm>
              <a:off x="3527611" y="1259376"/>
              <a:ext cx="1153963" cy="272739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white"/>
                </a:solidFill>
                <a:effectLst/>
                <a:uLnTx/>
                <a:uFillTx/>
              </a:endParaRPr>
            </a:p>
          </p:txBody>
        </p:sp>
        <p:sp>
          <p:nvSpPr>
            <p:cNvPr id="7" name="Rectangle 6">
              <a:extLst>
                <a:ext uri="{FF2B5EF4-FFF2-40B4-BE49-F238E27FC236}">
                  <a16:creationId xmlns:a16="http://schemas.microsoft.com/office/drawing/2014/main" id="{466EC2BE-157D-C266-9B31-DFA4F73C3C91}"/>
                </a:ext>
              </a:extLst>
            </p:cNvPr>
            <p:cNvSpPr/>
            <p:nvPr/>
          </p:nvSpPr>
          <p:spPr>
            <a:xfrm>
              <a:off x="5415137" y="1259376"/>
              <a:ext cx="1153963" cy="272739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white"/>
                </a:solidFill>
                <a:effectLst/>
                <a:uLnTx/>
                <a:uFillTx/>
              </a:endParaRPr>
            </a:p>
          </p:txBody>
        </p:sp>
        <p:sp>
          <p:nvSpPr>
            <p:cNvPr id="8" name="Rectangle 7">
              <a:extLst>
                <a:ext uri="{FF2B5EF4-FFF2-40B4-BE49-F238E27FC236}">
                  <a16:creationId xmlns:a16="http://schemas.microsoft.com/office/drawing/2014/main" id="{01FD6E8C-FF77-15A5-F1FF-676F0D39DE1A}"/>
                </a:ext>
              </a:extLst>
            </p:cNvPr>
            <p:cNvSpPr/>
            <p:nvPr/>
          </p:nvSpPr>
          <p:spPr>
            <a:xfrm>
              <a:off x="1371285" y="1884103"/>
              <a:ext cx="1693464" cy="582599"/>
            </a:xfrm>
            <a:prstGeom prst="rect">
              <a:avLst/>
            </a:prstGeom>
            <a:solidFill>
              <a:srgbClr val="FFFFFF"/>
            </a:solidFill>
            <a:ln w="28575"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350" b="0" i="0" u="none" strike="noStrike" kern="0" cap="none" spc="0" normalizeH="0" baseline="0" noProof="0" dirty="0">
                  <a:ln>
                    <a:noFill/>
                  </a:ln>
                  <a:solidFill>
                    <a:prstClr val="white"/>
                  </a:solidFill>
                  <a:effectLst/>
                  <a:uLnTx/>
                  <a:uFillTx/>
                </a:rPr>
                <a:t>v</a:t>
              </a:r>
            </a:p>
          </p:txBody>
        </p:sp>
        <p:pic>
          <p:nvPicPr>
            <p:cNvPr id="9" name="Picture 4" descr="CRÉDIT AGRICOLE TITRES - CFA des Universités Centre-Val de Loire">
              <a:extLst>
                <a:ext uri="{FF2B5EF4-FFF2-40B4-BE49-F238E27FC236}">
                  <a16:creationId xmlns:a16="http://schemas.microsoft.com/office/drawing/2014/main" id="{A6BEAD36-9EB7-3C8A-BB13-987415BF41E8}"/>
                </a:ext>
              </a:extLst>
            </p:cNvPr>
            <p:cNvPicPr>
              <a:picLocks noChangeAspect="1" noChangeArrowheads="1"/>
            </p:cNvPicPr>
            <p:nvPr/>
          </p:nvPicPr>
          <p:blipFill>
            <a:blip r:embed="rId2" cstate="print">
              <a:clrChange>
                <a:clrFrom>
                  <a:srgbClr val="F2FDF7"/>
                </a:clrFrom>
                <a:clrTo>
                  <a:srgbClr val="F2FDF7">
                    <a:alpha val="0"/>
                  </a:srgbClr>
                </a:clrTo>
              </a:clrChange>
              <a:extLst>
                <a:ext uri="{28A0092B-C50C-407E-A947-70E740481C1C}">
                  <a14:useLocalDpi xmlns:a14="http://schemas.microsoft.com/office/drawing/2010/main" val="0"/>
                </a:ext>
              </a:extLst>
            </a:blip>
            <a:srcRect/>
            <a:stretch>
              <a:fillRect/>
            </a:stretch>
          </p:blipFill>
          <p:spPr bwMode="auto">
            <a:xfrm>
              <a:off x="2365977" y="1881211"/>
              <a:ext cx="558909" cy="58851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BAF90585-9AFD-B345-D98E-1DA697998D97}"/>
                </a:ext>
              </a:extLst>
            </p:cNvPr>
            <p:cNvSpPr/>
            <p:nvPr/>
          </p:nvSpPr>
          <p:spPr>
            <a:xfrm>
              <a:off x="3257860" y="1890208"/>
              <a:ext cx="1693464" cy="582599"/>
            </a:xfrm>
            <a:prstGeom prst="rect">
              <a:avLst/>
            </a:prstGeom>
            <a:solidFill>
              <a:srgbClr val="FFFFFF"/>
            </a:solidFill>
            <a:ln w="28575"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350" b="0" i="0" u="none" strike="noStrike" kern="0" cap="none" spc="0" normalizeH="0" baseline="0" noProof="0" dirty="0">
                  <a:ln>
                    <a:noFill/>
                  </a:ln>
                  <a:solidFill>
                    <a:prstClr val="white"/>
                  </a:solidFill>
                  <a:effectLst/>
                  <a:uLnTx/>
                  <a:uFillTx/>
                </a:rPr>
                <a:t>v</a:t>
              </a:r>
            </a:p>
          </p:txBody>
        </p:sp>
        <p:sp>
          <p:nvSpPr>
            <p:cNvPr id="11" name="Rectangle 10">
              <a:extLst>
                <a:ext uri="{FF2B5EF4-FFF2-40B4-BE49-F238E27FC236}">
                  <a16:creationId xmlns:a16="http://schemas.microsoft.com/office/drawing/2014/main" id="{3EF981ED-6E6F-250F-8C3A-AFC14A7DCFC0}"/>
                </a:ext>
              </a:extLst>
            </p:cNvPr>
            <p:cNvSpPr/>
            <p:nvPr/>
          </p:nvSpPr>
          <p:spPr>
            <a:xfrm>
              <a:off x="5144436" y="1890208"/>
              <a:ext cx="1693464" cy="582599"/>
            </a:xfrm>
            <a:prstGeom prst="rect">
              <a:avLst/>
            </a:prstGeom>
            <a:solidFill>
              <a:srgbClr val="FFFFFF"/>
            </a:solidFill>
            <a:ln w="28575"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fr-FR" sz="1350" b="0" i="0" u="none" strike="noStrike" kern="0" cap="none" spc="0" normalizeH="0" baseline="0" noProof="0" dirty="0">
                  <a:ln>
                    <a:noFill/>
                  </a:ln>
                  <a:solidFill>
                    <a:prstClr val="white"/>
                  </a:solidFill>
                  <a:effectLst/>
                  <a:uLnTx/>
                  <a:uFillTx/>
                </a:rPr>
                <a:t>v</a:t>
              </a:r>
            </a:p>
          </p:txBody>
        </p:sp>
        <p:pic>
          <p:nvPicPr>
            <p:cNvPr id="12" name="Image 11">
              <a:extLst>
                <a:ext uri="{FF2B5EF4-FFF2-40B4-BE49-F238E27FC236}">
                  <a16:creationId xmlns:a16="http://schemas.microsoft.com/office/drawing/2014/main" id="{40A0E70C-2B8C-14EA-B7BE-A9C344F56E24}"/>
                </a:ext>
              </a:extLst>
            </p:cNvPr>
            <p:cNvPicPr>
              <a:picLocks noChangeAspect="1"/>
            </p:cNvPicPr>
            <p:nvPr/>
          </p:nvPicPr>
          <p:blipFill rotWithShape="1">
            <a:blip r:embed="rId3">
              <a:clrChange>
                <a:clrFrom>
                  <a:srgbClr val="FCFEFF"/>
                </a:clrFrom>
                <a:clrTo>
                  <a:srgbClr val="FCFEFF">
                    <a:alpha val="0"/>
                  </a:srgbClr>
                </a:clrTo>
              </a:clrChange>
            </a:blip>
            <a:srcRect l="10129" t="12416" r="12239" b="13253"/>
            <a:stretch/>
          </p:blipFill>
          <p:spPr>
            <a:xfrm>
              <a:off x="3771622" y="1954177"/>
              <a:ext cx="592513" cy="448821"/>
            </a:xfrm>
            <a:prstGeom prst="rect">
              <a:avLst/>
            </a:prstGeom>
          </p:spPr>
        </p:pic>
        <p:pic>
          <p:nvPicPr>
            <p:cNvPr id="13" name="Graphique 39">
              <a:extLst>
                <a:ext uri="{FF2B5EF4-FFF2-40B4-BE49-F238E27FC236}">
                  <a16:creationId xmlns:a16="http://schemas.microsoft.com/office/drawing/2014/main" id="{AC0459DA-10DD-05E3-5DB0-C8AEDF95FADB}"/>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5099" b="24501"/>
            <a:stretch/>
          </p:blipFill>
          <p:spPr>
            <a:xfrm>
              <a:off x="1972903" y="1339012"/>
              <a:ext cx="510799" cy="482404"/>
            </a:xfrm>
            <a:prstGeom prst="rect">
              <a:avLst/>
            </a:prstGeom>
          </p:spPr>
        </p:pic>
        <p:pic>
          <p:nvPicPr>
            <p:cNvPr id="14" name="Graphique 45">
              <a:extLst>
                <a:ext uri="{FF2B5EF4-FFF2-40B4-BE49-F238E27FC236}">
                  <a16:creationId xmlns:a16="http://schemas.microsoft.com/office/drawing/2014/main" id="{A229D5C3-0245-6517-E90D-2DFC5C741E89}"/>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373"/>
            <a:stretch/>
          </p:blipFill>
          <p:spPr>
            <a:xfrm>
              <a:off x="3896189" y="1377276"/>
              <a:ext cx="406757" cy="425753"/>
            </a:xfrm>
            <a:prstGeom prst="rect">
              <a:avLst/>
            </a:prstGeom>
          </p:spPr>
        </p:pic>
        <p:pic>
          <p:nvPicPr>
            <p:cNvPr id="15" name="Graphique 49">
              <a:extLst>
                <a:ext uri="{FF2B5EF4-FFF2-40B4-BE49-F238E27FC236}">
                  <a16:creationId xmlns:a16="http://schemas.microsoft.com/office/drawing/2014/main" id="{55F2D29D-ACA8-9814-B9DE-1E8F6F2996F5}"/>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8381"/>
            <a:stretch/>
          </p:blipFill>
          <p:spPr>
            <a:xfrm>
              <a:off x="5819520" y="1399162"/>
              <a:ext cx="353015" cy="432728"/>
            </a:xfrm>
            <a:prstGeom prst="rect">
              <a:avLst/>
            </a:prstGeom>
          </p:spPr>
        </p:pic>
        <p:sp>
          <p:nvSpPr>
            <p:cNvPr id="16" name="ZoneTexte 15">
              <a:extLst>
                <a:ext uri="{FF2B5EF4-FFF2-40B4-BE49-F238E27FC236}">
                  <a16:creationId xmlns:a16="http://schemas.microsoft.com/office/drawing/2014/main" id="{7E5CB434-E03A-20B3-C955-E0F7851A2B76}"/>
                </a:ext>
              </a:extLst>
            </p:cNvPr>
            <p:cNvSpPr txBox="1"/>
            <p:nvPr/>
          </p:nvSpPr>
          <p:spPr>
            <a:xfrm>
              <a:off x="1583160" y="2623074"/>
              <a:ext cx="1278503" cy="864434"/>
            </a:xfrm>
            <a:prstGeom prst="rect">
              <a:avLst/>
            </a:prstGeom>
            <a:noFill/>
          </p:spPr>
          <p:txBody>
            <a:bodyPr wrap="square">
              <a:spAutoFit/>
            </a:bodyPr>
            <a:lstStyle/>
            <a:p>
              <a:pPr marL="128588" indent="-128588" defTabSz="685800">
                <a:buFont typeface="Arial" panose="020B0604020202020204" pitchFamily="34" charset="0"/>
                <a:buChar char="•"/>
                <a:defRPr/>
              </a:pPr>
              <a:r>
                <a:rPr lang="en-US" sz="900">
                  <a:solidFill>
                    <a:srgbClr val="007071"/>
                  </a:solidFill>
                </a:rPr>
                <a:t>Group bonuses
Employee savings
Retirement Savings</a:t>
              </a:r>
              <a:endParaRPr lang="fr-FR" sz="900" kern="0" dirty="0">
                <a:solidFill>
                  <a:srgbClr val="007071"/>
                </a:solidFill>
                <a:latin typeface="Arial" panose="020B0604020202020204"/>
              </a:endParaRPr>
            </a:p>
          </p:txBody>
        </p:sp>
        <p:sp>
          <p:nvSpPr>
            <p:cNvPr id="17" name="ZoneTexte 16">
              <a:extLst>
                <a:ext uri="{FF2B5EF4-FFF2-40B4-BE49-F238E27FC236}">
                  <a16:creationId xmlns:a16="http://schemas.microsoft.com/office/drawing/2014/main" id="{4381260D-5F79-F248-5A5A-C8F8B1C3002A}"/>
                </a:ext>
              </a:extLst>
            </p:cNvPr>
            <p:cNvSpPr txBox="1"/>
            <p:nvPr/>
          </p:nvSpPr>
          <p:spPr>
            <a:xfrm>
              <a:off x="3558007" y="2516247"/>
              <a:ext cx="1098458" cy="1016982"/>
            </a:xfrm>
            <a:prstGeom prst="rect">
              <a:avLst/>
            </a:prstGeom>
            <a:noFill/>
          </p:spPr>
          <p:txBody>
            <a:bodyPr wrap="square">
              <a:spAutoFit/>
            </a:bodyPr>
            <a:lstStyle/>
            <a:p>
              <a:pPr marL="128588" indent="-128588" defTabSz="685800">
                <a:buFont typeface="Arial" panose="020B0604020202020204" pitchFamily="34" charset="0"/>
                <a:buChar char="•"/>
                <a:defRPr/>
              </a:pPr>
              <a:r>
                <a:rPr lang="en-US" sz="900">
                  <a:solidFill>
                    <a:srgbClr val="007071"/>
                  </a:solidFill>
                </a:rPr>
                <a:t>Health
Pension
Insurance pension
End-of-career allowances</a:t>
              </a:r>
              <a:endParaRPr lang="fr-FR" sz="900" kern="0" dirty="0">
                <a:solidFill>
                  <a:srgbClr val="007071"/>
                </a:solidFill>
                <a:latin typeface="Arial" panose="020B0604020202020204"/>
              </a:endParaRPr>
            </a:p>
          </p:txBody>
        </p:sp>
        <p:sp>
          <p:nvSpPr>
            <p:cNvPr id="18" name="ZoneTexte 17">
              <a:extLst>
                <a:ext uri="{FF2B5EF4-FFF2-40B4-BE49-F238E27FC236}">
                  <a16:creationId xmlns:a16="http://schemas.microsoft.com/office/drawing/2014/main" id="{01A1AEB1-E198-A483-1992-DFBEA75B5A2E}"/>
                </a:ext>
              </a:extLst>
            </p:cNvPr>
            <p:cNvSpPr txBox="1"/>
            <p:nvPr/>
          </p:nvSpPr>
          <p:spPr>
            <a:xfrm>
              <a:off x="5359435" y="2605572"/>
              <a:ext cx="1240879" cy="711887"/>
            </a:xfrm>
            <a:prstGeom prst="rect">
              <a:avLst/>
            </a:prstGeom>
            <a:noFill/>
          </p:spPr>
          <p:txBody>
            <a:bodyPr wrap="square">
              <a:spAutoFit/>
            </a:bodyPr>
            <a:lstStyle/>
            <a:p>
              <a:pPr marL="128588" indent="-128588" defTabSz="685800">
                <a:buFont typeface="Arial" panose="020B0604020202020204" pitchFamily="34" charset="0"/>
                <a:buChar char="•"/>
                <a:defRPr/>
              </a:pPr>
              <a:r>
                <a:rPr lang="en-US" sz="900">
                  <a:solidFill>
                    <a:srgbClr val="007071"/>
                  </a:solidFill>
                </a:rPr>
                <a:t>Meal vouchers
Mobility package
CSE Benefits
Happy Holidays</a:t>
              </a:r>
              <a:endParaRPr lang="fr-FR" sz="900" kern="0" dirty="0">
                <a:solidFill>
                  <a:srgbClr val="007071"/>
                </a:solidFill>
                <a:latin typeface="Arial" panose="020B0604020202020204"/>
              </a:endParaRPr>
            </a:p>
          </p:txBody>
        </p:sp>
        <p:sp>
          <p:nvSpPr>
            <p:cNvPr id="19" name="Titre 5">
              <a:extLst>
                <a:ext uri="{FF2B5EF4-FFF2-40B4-BE49-F238E27FC236}">
                  <a16:creationId xmlns:a16="http://schemas.microsoft.com/office/drawing/2014/main" id="{1CA7BB90-E29C-C721-EB47-689C335E17A6}"/>
                </a:ext>
              </a:extLst>
            </p:cNvPr>
            <p:cNvSpPr txBox="1">
              <a:spLocks/>
            </p:cNvSpPr>
            <p:nvPr/>
          </p:nvSpPr>
          <p:spPr>
            <a:xfrm>
              <a:off x="1652704" y="3538189"/>
              <a:ext cx="1157600" cy="222278"/>
            </a:xfrm>
            <a:prstGeom prst="rect">
              <a:avLst/>
            </a:prstGeom>
            <a:solidFill>
              <a:srgbClr val="006A4E">
                <a:lumMod val="75000"/>
              </a:srgbClr>
            </a:solidFill>
          </p:spPr>
          <p:txBody>
            <a:bodyPr vert="horz" lIns="68580" tIns="34290" rIns="68580" bIns="34290" rtlCol="0" anchor="ctr">
              <a:normAutofit/>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pPr algn="ctr" defTabSz="685800">
                <a:defRPr/>
              </a:pPr>
              <a:r>
                <a:rPr lang="fr-FR" sz="900">
                  <a:solidFill>
                    <a:srgbClr val="FFFFFF"/>
                  </a:solidFill>
                  <a:latin typeface="Arial Black"/>
                </a:rPr>
                <a:t>Pillar 1</a:t>
              </a:r>
              <a:endParaRPr lang="fr-FR" sz="900" dirty="0">
                <a:solidFill>
                  <a:srgbClr val="FFFFFF"/>
                </a:solidFill>
                <a:latin typeface="Arial Black"/>
              </a:endParaRPr>
            </a:p>
          </p:txBody>
        </p:sp>
        <p:sp>
          <p:nvSpPr>
            <p:cNvPr id="20" name="Titre 5">
              <a:extLst>
                <a:ext uri="{FF2B5EF4-FFF2-40B4-BE49-F238E27FC236}">
                  <a16:creationId xmlns:a16="http://schemas.microsoft.com/office/drawing/2014/main" id="{67E3E62E-678F-2D03-FB7C-A77CFC7AA68E}"/>
                </a:ext>
              </a:extLst>
            </p:cNvPr>
            <p:cNvSpPr txBox="1">
              <a:spLocks/>
            </p:cNvSpPr>
            <p:nvPr/>
          </p:nvSpPr>
          <p:spPr>
            <a:xfrm>
              <a:off x="3527611" y="3538189"/>
              <a:ext cx="1153964" cy="222278"/>
            </a:xfrm>
            <a:prstGeom prst="rect">
              <a:avLst/>
            </a:prstGeom>
            <a:solidFill>
              <a:srgbClr val="006A4E">
                <a:lumMod val="75000"/>
              </a:srgbClr>
            </a:solidFill>
          </p:spPr>
          <p:txBody>
            <a:bodyPr vert="horz" lIns="68580" tIns="34290" rIns="68580" bIns="34290" rtlCol="0" anchor="ctr">
              <a:normAutofit/>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pPr algn="ctr" defTabSz="685800">
                <a:defRPr/>
              </a:pPr>
              <a:r>
                <a:rPr lang="fr-FR" sz="900">
                  <a:solidFill>
                    <a:srgbClr val="FFFFFF"/>
                  </a:solidFill>
                  <a:latin typeface="Arial Black"/>
                </a:rPr>
                <a:t>Pillar 2</a:t>
              </a:r>
              <a:endParaRPr lang="fr-FR" sz="900" dirty="0">
                <a:solidFill>
                  <a:srgbClr val="FFFFFF"/>
                </a:solidFill>
                <a:latin typeface="Arial Black"/>
              </a:endParaRPr>
            </a:p>
          </p:txBody>
        </p:sp>
        <p:sp>
          <p:nvSpPr>
            <p:cNvPr id="21" name="Titre 5">
              <a:extLst>
                <a:ext uri="{FF2B5EF4-FFF2-40B4-BE49-F238E27FC236}">
                  <a16:creationId xmlns:a16="http://schemas.microsoft.com/office/drawing/2014/main" id="{9D883290-953A-1533-5DD0-51C6A16A5A61}"/>
                </a:ext>
              </a:extLst>
            </p:cNvPr>
            <p:cNvSpPr txBox="1">
              <a:spLocks/>
            </p:cNvSpPr>
            <p:nvPr/>
          </p:nvSpPr>
          <p:spPr>
            <a:xfrm>
              <a:off x="5415137" y="3538189"/>
              <a:ext cx="1153962" cy="222278"/>
            </a:xfrm>
            <a:prstGeom prst="rect">
              <a:avLst/>
            </a:prstGeom>
            <a:solidFill>
              <a:srgbClr val="006A4E">
                <a:lumMod val="75000"/>
              </a:srgbClr>
            </a:solidFill>
          </p:spPr>
          <p:txBody>
            <a:bodyPr vert="horz" lIns="68580" tIns="34290" rIns="68580" bIns="34290" rtlCol="0" anchor="ctr">
              <a:normAutofit/>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pPr algn="ctr" defTabSz="685800">
                <a:defRPr/>
              </a:pPr>
              <a:r>
                <a:rPr lang="fr-FR" sz="900">
                  <a:solidFill>
                    <a:srgbClr val="FFFFFF"/>
                  </a:solidFill>
                  <a:latin typeface="Arial Black"/>
                </a:rPr>
                <a:t>Pillar 3</a:t>
              </a:r>
              <a:endParaRPr lang="fr-FR" sz="900" dirty="0">
                <a:solidFill>
                  <a:srgbClr val="FFFFFF"/>
                </a:solidFill>
                <a:latin typeface="Arial Black"/>
              </a:endParaRPr>
            </a:p>
          </p:txBody>
        </p:sp>
        <p:sp>
          <p:nvSpPr>
            <p:cNvPr id="22" name="Titre 5">
              <a:extLst>
                <a:ext uri="{FF2B5EF4-FFF2-40B4-BE49-F238E27FC236}">
                  <a16:creationId xmlns:a16="http://schemas.microsoft.com/office/drawing/2014/main" id="{EDB0B710-E78C-8B1C-9A33-79C9779A4180}"/>
                </a:ext>
              </a:extLst>
            </p:cNvPr>
            <p:cNvSpPr txBox="1">
              <a:spLocks/>
            </p:cNvSpPr>
            <p:nvPr/>
          </p:nvSpPr>
          <p:spPr>
            <a:xfrm>
              <a:off x="1554119" y="3757493"/>
              <a:ext cx="1327796" cy="260979"/>
            </a:xfrm>
            <a:prstGeom prst="rect">
              <a:avLst/>
            </a:prstGeom>
            <a:solidFill>
              <a:srgbClr val="99CC00"/>
            </a:solidFill>
          </p:spPr>
          <p:txBody>
            <a:bodyPr vert="horz" lIns="68580" tIns="34290" rIns="68580" bIns="34290" rtlCol="0" anchor="ctr">
              <a:noAutofit/>
            </a:bodyPr>
            <a:lstStyle>
              <a:defPPr>
                <a:defRPr lang="fr-FR"/>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prstClr val="white"/>
                  </a:solidFill>
                  <a:effectLst/>
                  <a:uLnTx/>
                  <a:uFillTx/>
                  <a:latin typeface="Arial Black"/>
                  <a:cs typeface="Arial" panose="020B0604020202020204" pitchFamily="34" charset="0"/>
                </a:defRPr>
              </a:lvl1pPr>
            </a:lstStyle>
            <a:p>
              <a:pPr lvl="0">
                <a:defRPr/>
              </a:pPr>
              <a:r>
                <a:rPr lang="fr-FR"/>
                <a:t>BUILDING AND LOYALTY</a:t>
              </a:r>
              <a:endParaRPr kumimoji="0" lang="fr-FR" sz="700" b="0" i="0" u="none" strike="noStrike" kern="0" cap="none" spc="0" normalizeH="0" baseline="0" noProof="0" dirty="0">
                <a:ln>
                  <a:noFill/>
                </a:ln>
                <a:solidFill>
                  <a:prstClr val="white"/>
                </a:solidFill>
                <a:effectLst/>
                <a:uLnTx/>
                <a:uFillTx/>
                <a:latin typeface="Arial Black"/>
                <a:cs typeface="Arial" panose="020B0604020202020204" pitchFamily="34" charset="0"/>
              </a:endParaRPr>
            </a:p>
          </p:txBody>
        </p:sp>
        <p:sp>
          <p:nvSpPr>
            <p:cNvPr id="23" name="Titre 5">
              <a:extLst>
                <a:ext uri="{FF2B5EF4-FFF2-40B4-BE49-F238E27FC236}">
                  <a16:creationId xmlns:a16="http://schemas.microsoft.com/office/drawing/2014/main" id="{79CA1C37-3113-F2B1-BC16-B2467EA49C47}"/>
                </a:ext>
              </a:extLst>
            </p:cNvPr>
            <p:cNvSpPr txBox="1">
              <a:spLocks/>
            </p:cNvSpPr>
            <p:nvPr/>
          </p:nvSpPr>
          <p:spPr>
            <a:xfrm>
              <a:off x="3419975" y="3752609"/>
              <a:ext cx="1359182" cy="260979"/>
            </a:xfrm>
            <a:prstGeom prst="rect">
              <a:avLst/>
            </a:prstGeom>
            <a:solidFill>
              <a:srgbClr val="99CC00"/>
            </a:solidFill>
          </p:spPr>
          <p:txBody>
            <a:bodyPr vert="horz" lIns="68580" tIns="34290" rIns="68580" bIns="34290" rtlCol="0" anchor="ctr">
              <a:noAutofit/>
            </a:bodyPr>
            <a:lstStyle>
              <a:defPPr>
                <a:defRPr lang="fr-FR"/>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prstClr val="white"/>
                  </a:solidFill>
                  <a:effectLst/>
                  <a:uLnTx/>
                  <a:uFillTx/>
                  <a:latin typeface="+mj-lt"/>
                  <a:cs typeface="Arial" panose="020B0604020202020204" pitchFamily="34" charset="0"/>
                </a:defRPr>
              </a:lvl1pPr>
            </a:lstStyle>
            <a:p>
              <a:pPr defTabSz="685800">
                <a:defRPr/>
              </a:pPr>
              <a:r>
                <a:rPr lang="fr-FR" sz="700" b="0">
                  <a:latin typeface="Arial Black"/>
                </a:rPr>
                <a:t>PROTECTING EVERY DAY</a:t>
              </a:r>
              <a:endParaRPr lang="fr-FR" sz="700" b="0" kern="0" dirty="0">
                <a:latin typeface="Arial Black"/>
              </a:endParaRPr>
            </a:p>
          </p:txBody>
        </p:sp>
        <p:sp>
          <p:nvSpPr>
            <p:cNvPr id="24" name="Titre 5">
              <a:extLst>
                <a:ext uri="{FF2B5EF4-FFF2-40B4-BE49-F238E27FC236}">
                  <a16:creationId xmlns:a16="http://schemas.microsoft.com/office/drawing/2014/main" id="{A7573BA8-8123-D702-3871-CA2C5D05923B}"/>
                </a:ext>
              </a:extLst>
            </p:cNvPr>
            <p:cNvSpPr txBox="1">
              <a:spLocks/>
            </p:cNvSpPr>
            <p:nvPr/>
          </p:nvSpPr>
          <p:spPr>
            <a:xfrm>
              <a:off x="5318433" y="3748880"/>
              <a:ext cx="1327796" cy="260979"/>
            </a:xfrm>
            <a:prstGeom prst="rect">
              <a:avLst/>
            </a:prstGeom>
            <a:solidFill>
              <a:srgbClr val="99CC00"/>
            </a:solidFill>
          </p:spPr>
          <p:txBody>
            <a:bodyPr vert="horz" lIns="68580" tIns="34290" rIns="68580" bIns="34290" rtlCol="0" anchor="ctr">
              <a:noAutofit/>
            </a:bodyPr>
            <a:lstStyle>
              <a:defPPr>
                <a:defRPr lang="fr-FR"/>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prstClr val="white"/>
                  </a:solidFill>
                  <a:effectLst/>
                  <a:uLnTx/>
                  <a:uFillTx/>
                  <a:latin typeface="+mj-lt"/>
                  <a:cs typeface="Arial" panose="020B0604020202020204" pitchFamily="34" charset="0"/>
                </a:defRPr>
              </a:lvl1pPr>
            </a:lstStyle>
            <a:p>
              <a:pPr defTabSz="685800">
                <a:defRPr/>
              </a:pPr>
              <a:r>
                <a:rPr lang="fr-FR" sz="700" b="0">
                  <a:latin typeface="Arial Black"/>
                </a:rPr>
                <a:t>BOOST PURCHASING POWER</a:t>
              </a:r>
              <a:endParaRPr lang="fr-FR" sz="675" b="0" kern="0" dirty="0">
                <a:latin typeface="Arial Black"/>
              </a:endParaRPr>
            </a:p>
          </p:txBody>
        </p:sp>
        <p:pic>
          <p:nvPicPr>
            <p:cNvPr id="25" name="Image 24" descr="Une image contenant noir, obscurité&#10;&#10;Le contenu généré par l’IA peut être incorrect.">
              <a:extLst>
                <a:ext uri="{FF2B5EF4-FFF2-40B4-BE49-F238E27FC236}">
                  <a16:creationId xmlns:a16="http://schemas.microsoft.com/office/drawing/2014/main" id="{E29B2965-6A32-3859-5C52-F2F1A300834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75372" y="1989956"/>
              <a:ext cx="1051482" cy="348033"/>
            </a:xfrm>
            <a:prstGeom prst="rect">
              <a:avLst/>
            </a:prstGeom>
          </p:spPr>
        </p:pic>
        <p:pic>
          <p:nvPicPr>
            <p:cNvPr id="26" name="Image 25" descr="Une image contenant Police, texte, capture d’écran, Graphique&#10;&#10;Le contenu généré par l’IA peut être incorrect.">
              <a:extLst>
                <a:ext uri="{FF2B5EF4-FFF2-40B4-BE49-F238E27FC236}">
                  <a16:creationId xmlns:a16="http://schemas.microsoft.com/office/drawing/2014/main" id="{9DA85781-6A1C-7622-6300-02606D9623D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40649" y="1913074"/>
              <a:ext cx="964644" cy="553628"/>
            </a:xfrm>
            <a:prstGeom prst="rect">
              <a:avLst/>
            </a:prstGeom>
          </p:spPr>
        </p:pic>
        <p:grpSp>
          <p:nvGrpSpPr>
            <p:cNvPr id="27" name="Groupe 26">
              <a:extLst>
                <a:ext uri="{FF2B5EF4-FFF2-40B4-BE49-F238E27FC236}">
                  <a16:creationId xmlns:a16="http://schemas.microsoft.com/office/drawing/2014/main" id="{63F20187-EDBD-4F0A-36CA-7CA1C88988CE}"/>
                </a:ext>
              </a:extLst>
            </p:cNvPr>
            <p:cNvGrpSpPr/>
            <p:nvPr/>
          </p:nvGrpSpPr>
          <p:grpSpPr>
            <a:xfrm>
              <a:off x="1110448" y="652433"/>
              <a:ext cx="5945957" cy="3394930"/>
              <a:chOff x="174150" y="691934"/>
              <a:chExt cx="5945957" cy="3239403"/>
            </a:xfrm>
          </p:grpSpPr>
          <p:sp>
            <p:nvSpPr>
              <p:cNvPr id="28" name="Rectangle 27">
                <a:extLst>
                  <a:ext uri="{FF2B5EF4-FFF2-40B4-BE49-F238E27FC236}">
                    <a16:creationId xmlns:a16="http://schemas.microsoft.com/office/drawing/2014/main" id="{65D83EC6-AC07-4111-CFCC-DED49213BC6B}"/>
                  </a:ext>
                </a:extLst>
              </p:cNvPr>
              <p:cNvSpPr/>
              <p:nvPr/>
            </p:nvSpPr>
            <p:spPr>
              <a:xfrm>
                <a:off x="174150" y="1023978"/>
                <a:ext cx="5945957" cy="2907359"/>
              </a:xfrm>
              <a:prstGeom prst="rect">
                <a:avLst/>
              </a:prstGeom>
              <a:noFill/>
              <a:ln w="12700" cap="flat" cmpd="sng" algn="ctr">
                <a:solidFill>
                  <a:srgbClr val="38B2B6"/>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FFFFFF"/>
                  </a:solidFill>
                  <a:effectLst/>
                  <a:uLnTx/>
                  <a:uFillTx/>
                  <a:latin typeface="Arial"/>
                </a:endParaRPr>
              </a:p>
            </p:txBody>
          </p:sp>
          <p:sp>
            <p:nvSpPr>
              <p:cNvPr id="29" name="ZoneTexte 28">
                <a:extLst>
                  <a:ext uri="{FF2B5EF4-FFF2-40B4-BE49-F238E27FC236}">
                    <a16:creationId xmlns:a16="http://schemas.microsoft.com/office/drawing/2014/main" id="{DA663057-B87C-318A-FDDE-C38D764B33BF}"/>
                  </a:ext>
                </a:extLst>
              </p:cNvPr>
              <p:cNvSpPr txBox="1"/>
              <p:nvPr/>
            </p:nvSpPr>
            <p:spPr>
              <a:xfrm>
                <a:off x="174150" y="691934"/>
                <a:ext cx="192937" cy="3558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1" i="0" u="none" strike="noStrike" kern="0" cap="none" spc="0" normalizeH="0" baseline="0" noProof="0" dirty="0">
                  <a:ln>
                    <a:noFill/>
                  </a:ln>
                  <a:solidFill>
                    <a:srgbClr val="008080"/>
                  </a:solidFill>
                  <a:effectLst/>
                  <a:uLnTx/>
                  <a:uFillTx/>
                  <a:latin typeface="Arial" panose="020B0604020202020204"/>
                </a:endParaRPr>
              </a:p>
            </p:txBody>
          </p:sp>
        </p:grpSp>
      </p:grpSp>
      <p:sp>
        <p:nvSpPr>
          <p:cNvPr id="30" name="ZoneTexte 29">
            <a:extLst>
              <a:ext uri="{FF2B5EF4-FFF2-40B4-BE49-F238E27FC236}">
                <a16:creationId xmlns:a16="http://schemas.microsoft.com/office/drawing/2014/main" id="{D67AD7E6-6BF2-F0A7-EC75-C7B409B2A533}"/>
              </a:ext>
            </a:extLst>
          </p:cNvPr>
          <p:cNvSpPr txBox="1"/>
          <p:nvPr/>
        </p:nvSpPr>
        <p:spPr>
          <a:xfrm>
            <a:off x="8504685" y="1126237"/>
            <a:ext cx="3220223" cy="584775"/>
          </a:xfrm>
          <a:prstGeom prst="rect">
            <a:avLst/>
          </a:prstGeom>
          <a:noFill/>
        </p:spPr>
        <p:txBody>
          <a:bodyPr wrap="square" rtlCol="0">
            <a:spAutoFit/>
          </a:bodyPr>
          <a:lstStyle/>
          <a:p>
            <a:pPr lvl="0" algn="ctr">
              <a:buClrTx/>
              <a:defRPr/>
            </a:pPr>
            <a:r>
              <a:rPr lang="en-US" sz="1600" b="1">
                <a:solidFill>
                  <a:srgbClr val="008080"/>
                </a:solidFill>
              </a:rPr>
              <a:t>A strengthened and dedicated distributive organization</a:t>
            </a:r>
            <a:endParaRPr kumimoji="0" lang="fr-FR" sz="1600" b="1" i="0" u="none" strike="noStrike" kern="0" cap="none" spc="0" normalizeH="0" baseline="0" noProof="0" dirty="0">
              <a:ln>
                <a:noFill/>
              </a:ln>
              <a:solidFill>
                <a:srgbClr val="008080"/>
              </a:solidFill>
              <a:effectLst/>
              <a:uLnTx/>
              <a:uFillTx/>
              <a:latin typeface="Arial" panose="020B0604020202020204"/>
            </a:endParaRPr>
          </a:p>
        </p:txBody>
      </p:sp>
      <p:sp>
        <p:nvSpPr>
          <p:cNvPr id="31" name="Rectangle 30">
            <a:extLst>
              <a:ext uri="{FF2B5EF4-FFF2-40B4-BE49-F238E27FC236}">
                <a16:creationId xmlns:a16="http://schemas.microsoft.com/office/drawing/2014/main" id="{C0AE2D32-A923-D585-5BE0-7C8689D2F24E}"/>
              </a:ext>
            </a:extLst>
          </p:cNvPr>
          <p:cNvSpPr/>
          <p:nvPr/>
        </p:nvSpPr>
        <p:spPr>
          <a:xfrm>
            <a:off x="8504686" y="1953811"/>
            <a:ext cx="3117777" cy="735505"/>
          </a:xfrm>
          <a:prstGeom prst="rect">
            <a:avLst/>
          </a:prstGeom>
          <a:solidFill>
            <a:srgbClr val="FFFFFF">
              <a:lumMod val="95000"/>
            </a:srgbClr>
          </a:solidFill>
          <a:ln w="12700" cap="flat" cmpd="sng" algn="ctr">
            <a:noFill/>
            <a:prstDash val="solid"/>
            <a:miter lim="800000"/>
          </a:ln>
          <a:effectLst/>
        </p:spPr>
        <p:txBody>
          <a:bodyPr rtlCol="0" anchor="ctr"/>
          <a:lstStyle/>
          <a:p>
            <a:pPr lvl="0" algn="ctr">
              <a:buClrTx/>
              <a:defRPr/>
            </a:pPr>
            <a:r>
              <a:rPr lang="en-US" sz="1200">
                <a:solidFill>
                  <a:srgbClr val="009597"/>
                </a:solidFill>
                <a:ea typeface="+mn-ea"/>
                <a:cs typeface="+mn-cs"/>
              </a:rPr>
              <a:t>Resizing of sales teams in CR
90 Social Engineering Experts</a:t>
            </a:r>
            <a:endParaRPr kumimoji="0" lang="fr-FR" sz="2000" b="1" i="0" u="none" strike="noStrike" kern="0" cap="none" spc="0" normalizeH="0" baseline="0" noProof="0" dirty="0">
              <a:ln>
                <a:noFill/>
              </a:ln>
              <a:solidFill>
                <a:srgbClr val="009597"/>
              </a:solidFill>
              <a:effectLst/>
              <a:uLnTx/>
              <a:uFillTx/>
              <a:latin typeface="Arial" panose="020B0604020202020204"/>
              <a:ea typeface="+mn-ea"/>
              <a:cs typeface="+mn-cs"/>
            </a:endParaRPr>
          </a:p>
        </p:txBody>
      </p:sp>
      <p:pic>
        <p:nvPicPr>
          <p:cNvPr id="32" name="Image 31">
            <a:extLst>
              <a:ext uri="{FF2B5EF4-FFF2-40B4-BE49-F238E27FC236}">
                <a16:creationId xmlns:a16="http://schemas.microsoft.com/office/drawing/2014/main" id="{4C2D8E1B-4240-1DFE-2311-E386E2E7AB38}"/>
              </a:ext>
            </a:extLst>
          </p:cNvPr>
          <p:cNvPicPr>
            <a:picLocks noChangeAspect="1"/>
          </p:cNvPicPr>
          <p:nvPr/>
        </p:nvPicPr>
        <p:blipFill>
          <a:blip r:embed="rId12">
            <a:duotone>
              <a:srgbClr val="009597">
                <a:shade val="45000"/>
                <a:satMod val="135000"/>
              </a:srgbClr>
              <a:prstClr val="white"/>
            </a:duotone>
          </a:blip>
          <a:stretch>
            <a:fillRect/>
          </a:stretch>
        </p:blipFill>
        <p:spPr>
          <a:xfrm>
            <a:off x="8127429" y="1284309"/>
            <a:ext cx="471010" cy="471010"/>
          </a:xfrm>
          <a:prstGeom prst="rect">
            <a:avLst/>
          </a:prstGeom>
        </p:spPr>
      </p:pic>
      <p:sp>
        <p:nvSpPr>
          <p:cNvPr id="33" name="ZoneTexte 32">
            <a:extLst>
              <a:ext uri="{FF2B5EF4-FFF2-40B4-BE49-F238E27FC236}">
                <a16:creationId xmlns:a16="http://schemas.microsoft.com/office/drawing/2014/main" id="{C2084F0B-F210-75AA-7185-7B94E93A61C5}"/>
              </a:ext>
            </a:extLst>
          </p:cNvPr>
          <p:cNvSpPr txBox="1"/>
          <p:nvPr/>
        </p:nvSpPr>
        <p:spPr>
          <a:xfrm>
            <a:off x="8504685" y="3069666"/>
            <a:ext cx="3117777" cy="735505"/>
          </a:xfrm>
          <a:prstGeom prst="rect">
            <a:avLst/>
          </a:prstGeom>
          <a:solidFill>
            <a:srgbClr val="FFFFFF">
              <a:lumMod val="95000"/>
            </a:srgbClr>
          </a:solidFill>
          <a:ln w="12700" cap="flat" cmpd="sng" algn="ctr">
            <a:noFill/>
            <a:prstDash val="solid"/>
            <a:miter lim="800000"/>
          </a:ln>
          <a:effectLst/>
        </p:spPr>
        <p:txBody>
          <a:bodyPr rtlCol="0" anchor="ctr"/>
          <a:lstStyle>
            <a:defPPr>
              <a:defRPr lang="fr-FR"/>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rgbClr val="009597"/>
                </a:solidFill>
                <a:effectLst/>
                <a:uLnTx/>
                <a:uFillTx/>
                <a:latin typeface="Arial" panose="020B0604020202020204"/>
              </a:defRPr>
            </a:lvl1pPr>
          </a:lstStyle>
          <a:p>
            <a:r>
              <a:rPr lang="en-US" b="1"/>
              <a:t>Budget for 45 additional BRH experts
(co-financed by the business lines over 4 years, possible use in the 2 markets)
  36 recruited*</a:t>
            </a:r>
            <a:endParaRPr lang="fr-FR" b="1" dirty="0"/>
          </a:p>
        </p:txBody>
      </p:sp>
      <p:sp>
        <p:nvSpPr>
          <p:cNvPr id="34" name="ZoneTexte 33">
            <a:extLst>
              <a:ext uri="{FF2B5EF4-FFF2-40B4-BE49-F238E27FC236}">
                <a16:creationId xmlns:a16="http://schemas.microsoft.com/office/drawing/2014/main" id="{F29CFD68-DA7F-2550-A852-C3FE1A188256}"/>
              </a:ext>
            </a:extLst>
          </p:cNvPr>
          <p:cNvSpPr txBox="1"/>
          <p:nvPr/>
        </p:nvSpPr>
        <p:spPr>
          <a:xfrm>
            <a:off x="9875809" y="2529283"/>
            <a:ext cx="359595" cy="646331"/>
          </a:xfrm>
          <a:prstGeom prst="rect">
            <a:avLst/>
          </a:prstGeom>
          <a:noFill/>
        </p:spPr>
        <p:txBody>
          <a:bodyPr wrap="square" rtlCol="0">
            <a:spAutoFit/>
          </a:bodyPr>
          <a:lstStyle/>
          <a:p>
            <a:r>
              <a:rPr lang="fr-FR" sz="3600" b="1" dirty="0">
                <a:solidFill>
                  <a:srgbClr val="008080"/>
                </a:solidFill>
              </a:rPr>
              <a:t>+</a:t>
            </a:r>
          </a:p>
        </p:txBody>
      </p:sp>
      <p:sp>
        <p:nvSpPr>
          <p:cNvPr id="35" name="ZoneTexte 34">
            <a:extLst>
              <a:ext uri="{FF2B5EF4-FFF2-40B4-BE49-F238E27FC236}">
                <a16:creationId xmlns:a16="http://schemas.microsoft.com/office/drawing/2014/main" id="{6608F339-6ACD-11F1-1A9F-A38CD378694F}"/>
              </a:ext>
            </a:extLst>
          </p:cNvPr>
          <p:cNvSpPr txBox="1"/>
          <p:nvPr/>
        </p:nvSpPr>
        <p:spPr>
          <a:xfrm>
            <a:off x="9913527" y="3652974"/>
            <a:ext cx="359595" cy="646331"/>
          </a:xfrm>
          <a:prstGeom prst="rect">
            <a:avLst/>
          </a:prstGeom>
          <a:noFill/>
        </p:spPr>
        <p:txBody>
          <a:bodyPr wrap="square" rtlCol="0">
            <a:spAutoFit/>
          </a:bodyPr>
          <a:lstStyle/>
          <a:p>
            <a:r>
              <a:rPr lang="fr-FR" sz="3600" b="1" dirty="0">
                <a:solidFill>
                  <a:srgbClr val="008080"/>
                </a:solidFill>
              </a:rPr>
              <a:t>=</a:t>
            </a:r>
          </a:p>
        </p:txBody>
      </p:sp>
      <p:sp>
        <p:nvSpPr>
          <p:cNvPr id="36" name="ZoneTexte 35">
            <a:extLst>
              <a:ext uri="{FF2B5EF4-FFF2-40B4-BE49-F238E27FC236}">
                <a16:creationId xmlns:a16="http://schemas.microsoft.com/office/drawing/2014/main" id="{D0D2143D-5725-A147-7B44-FF61F150A0A8}"/>
              </a:ext>
            </a:extLst>
          </p:cNvPr>
          <p:cNvSpPr txBox="1"/>
          <p:nvPr/>
        </p:nvSpPr>
        <p:spPr>
          <a:xfrm>
            <a:off x="8474664" y="4125715"/>
            <a:ext cx="3397349" cy="307777"/>
          </a:xfrm>
          <a:prstGeom prst="rect">
            <a:avLst/>
          </a:prstGeom>
          <a:noFill/>
        </p:spPr>
        <p:txBody>
          <a:bodyPr wrap="square">
            <a:spAutoFit/>
          </a:bodyPr>
          <a:lstStyle/>
          <a:p>
            <a:pPr lvl="0" algn="ctr">
              <a:buClrTx/>
              <a:defRPr/>
            </a:pPr>
            <a:r>
              <a:rPr lang="fr-FR" sz="1400" b="1">
                <a:solidFill>
                  <a:srgbClr val="009597"/>
                </a:solidFill>
              </a:rPr>
              <a:t>122 BRH Chargé d'affaires</a:t>
            </a:r>
            <a:endParaRPr kumimoji="0" lang="fr-FR" sz="2000" b="1" i="0" u="none" strike="noStrike" kern="0" cap="none" spc="0" normalizeH="0" baseline="0" noProof="0" dirty="0">
              <a:ln>
                <a:noFill/>
              </a:ln>
              <a:solidFill>
                <a:srgbClr val="009597"/>
              </a:solidFill>
              <a:effectLst/>
              <a:uLnTx/>
              <a:uFillTx/>
              <a:latin typeface="Arial" panose="020B0604020202020204"/>
              <a:ea typeface="+mn-ea"/>
              <a:cs typeface="+mn-cs"/>
            </a:endParaRPr>
          </a:p>
        </p:txBody>
      </p:sp>
      <p:sp>
        <p:nvSpPr>
          <p:cNvPr id="38" name="ZoneTexte 37">
            <a:extLst>
              <a:ext uri="{FF2B5EF4-FFF2-40B4-BE49-F238E27FC236}">
                <a16:creationId xmlns:a16="http://schemas.microsoft.com/office/drawing/2014/main" id="{75ADE75A-5F98-C972-68DC-C266EA4CE835}"/>
              </a:ext>
            </a:extLst>
          </p:cNvPr>
          <p:cNvSpPr txBox="1"/>
          <p:nvPr/>
        </p:nvSpPr>
        <p:spPr>
          <a:xfrm>
            <a:off x="2964077" y="1256433"/>
            <a:ext cx="4374861" cy="369332"/>
          </a:xfrm>
          <a:prstGeom prst="rect">
            <a:avLst/>
          </a:prstGeom>
          <a:noFill/>
        </p:spPr>
        <p:txBody>
          <a:bodyPr wrap="square">
            <a:spAutoFit/>
          </a:bodyPr>
          <a:lstStyle/>
          <a:p>
            <a:pPr lvl="0">
              <a:buClrTx/>
              <a:defRPr/>
            </a:pPr>
            <a:r>
              <a:rPr lang="en-US" sz="1800" b="1">
                <a:solidFill>
                  <a:srgbClr val="008080"/>
                </a:solidFill>
              </a:rPr>
              <a:t>A global approach based on 3 Pillars:</a:t>
            </a:r>
            <a:endParaRPr kumimoji="0" lang="fr-FR" sz="1800" b="1" i="0" u="none" strike="noStrike" kern="0" cap="none" spc="0" normalizeH="0" baseline="0" noProof="0" dirty="0">
              <a:ln>
                <a:noFill/>
              </a:ln>
              <a:solidFill>
                <a:srgbClr val="008080"/>
              </a:solidFill>
              <a:effectLst/>
              <a:uLnTx/>
              <a:uFillTx/>
              <a:latin typeface="Arial" panose="020B0604020202020204"/>
            </a:endParaRPr>
          </a:p>
        </p:txBody>
      </p:sp>
      <p:sp>
        <p:nvSpPr>
          <p:cNvPr id="39" name="Accolade fermante 38">
            <a:extLst>
              <a:ext uri="{FF2B5EF4-FFF2-40B4-BE49-F238E27FC236}">
                <a16:creationId xmlns:a16="http://schemas.microsoft.com/office/drawing/2014/main" id="{A5CF3319-1046-0F13-49F0-FE1E226120BC}"/>
              </a:ext>
            </a:extLst>
          </p:cNvPr>
          <p:cNvSpPr/>
          <p:nvPr/>
        </p:nvSpPr>
        <p:spPr>
          <a:xfrm rot="10800000">
            <a:off x="1593083" y="1556336"/>
            <a:ext cx="904161" cy="3256908"/>
          </a:xfrm>
          <a:prstGeom prst="rightBrace">
            <a:avLst/>
          </a:prstGeom>
          <a:ln w="38100">
            <a:solidFill>
              <a:srgbClr val="0080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40" name="Ellipse 39">
            <a:extLst>
              <a:ext uri="{FF2B5EF4-FFF2-40B4-BE49-F238E27FC236}">
                <a16:creationId xmlns:a16="http://schemas.microsoft.com/office/drawing/2014/main" id="{C394CF74-63CB-617F-839C-4C5AD65EC759}"/>
              </a:ext>
            </a:extLst>
          </p:cNvPr>
          <p:cNvSpPr/>
          <p:nvPr/>
        </p:nvSpPr>
        <p:spPr>
          <a:xfrm>
            <a:off x="467092" y="1608656"/>
            <a:ext cx="1105713" cy="516383"/>
          </a:xfrm>
          <a:prstGeom prst="ellipse">
            <a:avLst/>
          </a:prstGeom>
          <a:solidFill>
            <a:srgbClr val="00808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dirty="0"/>
              <a:t>+ 40%</a:t>
            </a:r>
          </a:p>
        </p:txBody>
      </p:sp>
      <p:sp>
        <p:nvSpPr>
          <p:cNvPr id="41" name="Ellipse 40">
            <a:extLst>
              <a:ext uri="{FF2B5EF4-FFF2-40B4-BE49-F238E27FC236}">
                <a16:creationId xmlns:a16="http://schemas.microsoft.com/office/drawing/2014/main" id="{5A61612B-F2C6-EF8C-F3EB-3E2448D59835}"/>
              </a:ext>
            </a:extLst>
          </p:cNvPr>
          <p:cNvSpPr/>
          <p:nvPr/>
        </p:nvSpPr>
        <p:spPr>
          <a:xfrm>
            <a:off x="415163" y="2811221"/>
            <a:ext cx="1105713" cy="586812"/>
          </a:xfrm>
          <a:prstGeom prst="ellipse">
            <a:avLst/>
          </a:prstGeom>
          <a:solidFill>
            <a:srgbClr val="00808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dirty="0"/>
              <a:t>+ 36%</a:t>
            </a:r>
          </a:p>
        </p:txBody>
      </p:sp>
      <p:sp>
        <p:nvSpPr>
          <p:cNvPr id="42" name="Ellipse 41">
            <a:extLst>
              <a:ext uri="{FF2B5EF4-FFF2-40B4-BE49-F238E27FC236}">
                <a16:creationId xmlns:a16="http://schemas.microsoft.com/office/drawing/2014/main" id="{494F949D-7697-4281-2374-EC8B0F8F8EBC}"/>
              </a:ext>
            </a:extLst>
          </p:cNvPr>
          <p:cNvSpPr/>
          <p:nvPr/>
        </p:nvSpPr>
        <p:spPr>
          <a:xfrm>
            <a:off x="415163" y="4065972"/>
            <a:ext cx="1105713" cy="516383"/>
          </a:xfrm>
          <a:prstGeom prst="ellipse">
            <a:avLst/>
          </a:prstGeom>
          <a:solidFill>
            <a:srgbClr val="00808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dirty="0"/>
              <a:t>+15 000</a:t>
            </a:r>
          </a:p>
        </p:txBody>
      </p:sp>
      <p:sp>
        <p:nvSpPr>
          <p:cNvPr id="43" name="ZoneTexte 42">
            <a:extLst>
              <a:ext uri="{FF2B5EF4-FFF2-40B4-BE49-F238E27FC236}">
                <a16:creationId xmlns:a16="http://schemas.microsoft.com/office/drawing/2014/main" id="{7E85D03C-85DC-08D7-D222-EE6F5C92F855}"/>
              </a:ext>
            </a:extLst>
          </p:cNvPr>
          <p:cNvSpPr txBox="1"/>
          <p:nvPr/>
        </p:nvSpPr>
        <p:spPr>
          <a:xfrm>
            <a:off x="156411" y="2142695"/>
            <a:ext cx="1760394" cy="738664"/>
          </a:xfrm>
          <a:prstGeom prst="rect">
            <a:avLst/>
          </a:prstGeom>
          <a:noFill/>
        </p:spPr>
        <p:txBody>
          <a:bodyPr wrap="square" rtlCol="0">
            <a:spAutoFit/>
          </a:bodyPr>
          <a:lstStyle/>
          <a:p>
            <a:pPr algn="ctr"/>
            <a:r>
              <a:rPr lang="en-US" sz="1050">
                <a:solidFill>
                  <a:srgbClr val="008080"/>
                </a:solidFill>
              </a:rPr>
              <a:t>1,100 new customers equipped with employee savings plans 
(+€65 million in inflows)</a:t>
            </a:r>
            <a:endParaRPr lang="fr-FR" sz="1050" dirty="0">
              <a:solidFill>
                <a:srgbClr val="008080"/>
              </a:solidFill>
            </a:endParaRPr>
          </a:p>
        </p:txBody>
      </p:sp>
      <p:sp>
        <p:nvSpPr>
          <p:cNvPr id="44" name="ZoneTexte 43">
            <a:extLst>
              <a:ext uri="{FF2B5EF4-FFF2-40B4-BE49-F238E27FC236}">
                <a16:creationId xmlns:a16="http://schemas.microsoft.com/office/drawing/2014/main" id="{C70E8B97-14E8-B949-89F5-2FDE94F60C6A}"/>
              </a:ext>
            </a:extLst>
          </p:cNvPr>
          <p:cNvSpPr txBox="1"/>
          <p:nvPr/>
        </p:nvSpPr>
        <p:spPr>
          <a:xfrm>
            <a:off x="130362" y="3353933"/>
            <a:ext cx="1760394" cy="738664"/>
          </a:xfrm>
          <a:prstGeom prst="rect">
            <a:avLst/>
          </a:prstGeom>
          <a:noFill/>
        </p:spPr>
        <p:txBody>
          <a:bodyPr wrap="square" rtlCol="0">
            <a:spAutoFit/>
          </a:bodyPr>
          <a:lstStyle/>
          <a:p>
            <a:pPr algn="ctr"/>
            <a:r>
              <a:rPr lang="en-US" sz="1050">
                <a:solidFill>
                  <a:srgbClr val="008080"/>
                </a:solidFill>
              </a:rPr>
              <a:t>New customers equipped with group health/prev 
(+ €49.3 million in turnover)</a:t>
            </a:r>
            <a:endParaRPr lang="fr-FR" sz="1050" dirty="0">
              <a:solidFill>
                <a:srgbClr val="008080"/>
              </a:solidFill>
            </a:endParaRPr>
          </a:p>
        </p:txBody>
      </p:sp>
      <p:sp>
        <p:nvSpPr>
          <p:cNvPr id="45" name="ZoneTexte 44">
            <a:extLst>
              <a:ext uri="{FF2B5EF4-FFF2-40B4-BE49-F238E27FC236}">
                <a16:creationId xmlns:a16="http://schemas.microsoft.com/office/drawing/2014/main" id="{10E02751-4D50-EF2D-465F-0F68D40396E4}"/>
              </a:ext>
            </a:extLst>
          </p:cNvPr>
          <p:cNvSpPr txBox="1"/>
          <p:nvPr/>
        </p:nvSpPr>
        <p:spPr>
          <a:xfrm>
            <a:off x="128776" y="4536386"/>
            <a:ext cx="1760394" cy="577081"/>
          </a:xfrm>
          <a:prstGeom prst="rect">
            <a:avLst/>
          </a:prstGeom>
          <a:noFill/>
        </p:spPr>
        <p:txBody>
          <a:bodyPr wrap="square" rtlCol="0">
            <a:spAutoFit/>
          </a:bodyPr>
          <a:lstStyle/>
          <a:p>
            <a:pPr algn="ctr"/>
            <a:r>
              <a:rPr lang="en-US" sz="1050">
                <a:solidFill>
                  <a:srgbClr val="008080"/>
                </a:solidFill>
              </a:rPr>
              <a:t>Employees equipped with CB WKL
(450 companies)</a:t>
            </a:r>
            <a:endParaRPr lang="fr-FR" sz="1050" dirty="0">
              <a:solidFill>
                <a:srgbClr val="008080"/>
              </a:solidFill>
            </a:endParaRPr>
          </a:p>
        </p:txBody>
      </p:sp>
      <p:pic>
        <p:nvPicPr>
          <p:cNvPr id="46" name="Image 45">
            <a:extLst>
              <a:ext uri="{FF2B5EF4-FFF2-40B4-BE49-F238E27FC236}">
                <a16:creationId xmlns:a16="http://schemas.microsoft.com/office/drawing/2014/main" id="{F3FCFC97-C2C3-1DC4-FA53-ACB1702193DA}"/>
              </a:ext>
            </a:extLst>
          </p:cNvPr>
          <p:cNvPicPr>
            <a:picLocks noChangeAspect="1"/>
          </p:cNvPicPr>
          <p:nvPr/>
        </p:nvPicPr>
        <p:blipFill>
          <a:blip r:embed="rId13">
            <a:duotone>
              <a:schemeClr val="accent1">
                <a:shade val="45000"/>
                <a:satMod val="135000"/>
              </a:schemeClr>
              <a:prstClr val="white"/>
            </a:duotone>
          </a:blip>
          <a:stretch>
            <a:fillRect/>
          </a:stretch>
        </p:blipFill>
        <p:spPr>
          <a:xfrm>
            <a:off x="861947" y="1156055"/>
            <a:ext cx="349321" cy="349321"/>
          </a:xfrm>
          <a:prstGeom prst="rect">
            <a:avLst/>
          </a:prstGeom>
        </p:spPr>
      </p:pic>
      <p:sp>
        <p:nvSpPr>
          <p:cNvPr id="47" name="ZoneTexte 46">
            <a:extLst>
              <a:ext uri="{FF2B5EF4-FFF2-40B4-BE49-F238E27FC236}">
                <a16:creationId xmlns:a16="http://schemas.microsoft.com/office/drawing/2014/main" id="{9DE77C87-83BE-B540-0A83-4CF20E55B567}"/>
              </a:ext>
            </a:extLst>
          </p:cNvPr>
          <p:cNvSpPr txBox="1"/>
          <p:nvPr/>
        </p:nvSpPr>
        <p:spPr>
          <a:xfrm>
            <a:off x="2497244" y="4536386"/>
            <a:ext cx="5445489" cy="230832"/>
          </a:xfrm>
          <a:prstGeom prst="rect">
            <a:avLst/>
          </a:prstGeom>
          <a:noFill/>
        </p:spPr>
        <p:txBody>
          <a:bodyPr wrap="square" rtlCol="0">
            <a:spAutoFit/>
          </a:bodyPr>
          <a:lstStyle/>
          <a:p>
            <a:r>
              <a:rPr lang="en-US" sz="900"/>
              <a:t>NB: All of these offers are open to marketing on the Entrepreneur market (NAP Ok)</a:t>
            </a:r>
            <a:endParaRPr lang="fr-FR" sz="900" dirty="0"/>
          </a:p>
        </p:txBody>
      </p:sp>
      <p:sp>
        <p:nvSpPr>
          <p:cNvPr id="48" name="ZoneTexte 47">
            <a:extLst>
              <a:ext uri="{FF2B5EF4-FFF2-40B4-BE49-F238E27FC236}">
                <a16:creationId xmlns:a16="http://schemas.microsoft.com/office/drawing/2014/main" id="{C1282435-B1F0-F1CE-7F6F-0E9E3888334B}"/>
              </a:ext>
            </a:extLst>
          </p:cNvPr>
          <p:cNvSpPr txBox="1"/>
          <p:nvPr/>
        </p:nvSpPr>
        <p:spPr>
          <a:xfrm>
            <a:off x="8392160" y="4536386"/>
            <a:ext cx="3143275" cy="369332"/>
          </a:xfrm>
          <a:prstGeom prst="rect">
            <a:avLst/>
          </a:prstGeom>
          <a:noFill/>
        </p:spPr>
        <p:txBody>
          <a:bodyPr wrap="square" rtlCol="0">
            <a:spAutoFit/>
          </a:bodyPr>
          <a:lstStyle/>
          <a:p>
            <a:r>
              <a:rPr lang="en-US" sz="900"/>
              <a:t>* 26 BRH Officers recruited from the co-financed budget, the delta financed 100% either by Amundi ESR or by CAA</a:t>
            </a:r>
            <a:endParaRPr lang="fr-FR" sz="900" dirty="0"/>
          </a:p>
        </p:txBody>
      </p:sp>
      <p:sp>
        <p:nvSpPr>
          <p:cNvPr id="114" name="Rectangle : coins arrondis 113">
            <a:extLst>
              <a:ext uri="{FF2B5EF4-FFF2-40B4-BE49-F238E27FC236}">
                <a16:creationId xmlns:a16="http://schemas.microsoft.com/office/drawing/2014/main" id="{4E6F9527-F37D-4F20-80BF-DB0C5A50E10B}"/>
              </a:ext>
            </a:extLst>
          </p:cNvPr>
          <p:cNvSpPr/>
          <p:nvPr/>
        </p:nvSpPr>
        <p:spPr>
          <a:xfrm>
            <a:off x="522830" y="5634381"/>
            <a:ext cx="11207299" cy="965985"/>
          </a:xfrm>
          <a:prstGeom prst="roundRect">
            <a:avLst/>
          </a:prstGeom>
          <a:solidFill>
            <a:srgbClr val="F2F2F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8080"/>
                </a:solidFill>
              </a:rPr>
              <a:t>41,000 clients in our portfolios (11 to 49 employees) who have not yet been addressed by the BRH, and who are nevertheless looking for solutions to attract and retain their employees 
  Let's be the 1st to exploit the subject of "Human Resources" with our Entrepreneur clients</a:t>
            </a:r>
            <a:endParaRPr lang="fr-FR" b="1" dirty="0">
              <a:solidFill>
                <a:srgbClr val="008080"/>
              </a:solidFill>
            </a:endParaRPr>
          </a:p>
        </p:txBody>
      </p:sp>
      <p:pic>
        <p:nvPicPr>
          <p:cNvPr id="115" name="Image 114">
            <a:extLst>
              <a:ext uri="{FF2B5EF4-FFF2-40B4-BE49-F238E27FC236}">
                <a16:creationId xmlns:a16="http://schemas.microsoft.com/office/drawing/2014/main" id="{81F3B3EA-787C-8AAA-6ED5-68526851322C}"/>
              </a:ext>
            </a:extLst>
          </p:cNvPr>
          <p:cNvPicPr>
            <a:picLocks noChangeAspect="1"/>
          </p:cNvPicPr>
          <p:nvPr/>
        </p:nvPicPr>
        <p:blipFill>
          <a:blip r:embed="rId14"/>
          <a:stretch>
            <a:fillRect/>
          </a:stretch>
        </p:blipFill>
        <p:spPr>
          <a:xfrm>
            <a:off x="128775" y="5802076"/>
            <a:ext cx="613822" cy="613822"/>
          </a:xfrm>
          <a:prstGeom prst="rect">
            <a:avLst/>
          </a:prstGeom>
        </p:spPr>
      </p:pic>
    </p:spTree>
    <p:extLst>
      <p:ext uri="{BB962C8B-B14F-4D97-AF65-F5344CB8AC3E}">
        <p14:creationId xmlns:p14="http://schemas.microsoft.com/office/powerpoint/2010/main" val="1341892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B0BC37-04C3-A318-F4A5-AB2B1F0B1857}"/>
              </a:ext>
            </a:extLst>
          </p:cNvPr>
          <p:cNvSpPr>
            <a:spLocks noGrp="1"/>
          </p:cNvSpPr>
          <p:nvPr>
            <p:ph type="title"/>
          </p:nvPr>
        </p:nvSpPr>
        <p:spPr>
          <a:xfrm>
            <a:off x="0" y="58420"/>
            <a:ext cx="12201100" cy="805180"/>
          </a:xfrm>
        </p:spPr>
        <p:txBody>
          <a:bodyPr>
            <a:normAutofit/>
          </a:bodyPr>
          <a:lstStyle/>
          <a:p>
            <a:r>
              <a:rPr lang="en-US"/>
              <a:t>The success of this deployment depends on an efficient distributive organization to generate maximum business</a:t>
            </a:r>
            <a:endParaRPr lang="fr-FR" dirty="0"/>
          </a:p>
        </p:txBody>
      </p:sp>
      <p:sp>
        <p:nvSpPr>
          <p:cNvPr id="3" name="ZoneTexte 2">
            <a:extLst>
              <a:ext uri="{FF2B5EF4-FFF2-40B4-BE49-F238E27FC236}">
                <a16:creationId xmlns:a16="http://schemas.microsoft.com/office/drawing/2014/main" id="{EA80AE9C-F5BC-E0F8-0828-5698A25C124A}"/>
              </a:ext>
            </a:extLst>
          </p:cNvPr>
          <p:cNvSpPr txBox="1"/>
          <p:nvPr/>
        </p:nvSpPr>
        <p:spPr>
          <a:xfrm>
            <a:off x="631757" y="853661"/>
            <a:ext cx="10800687" cy="338554"/>
          </a:xfrm>
          <a:prstGeom prst="rect">
            <a:avLst/>
          </a:prstGeom>
          <a:solidFill>
            <a:srgbClr val="F2F2F2"/>
          </a:solidFill>
        </p:spPr>
        <p:txBody>
          <a:bodyPr wrap="square" rtlCol="0">
            <a:spAutoFit/>
          </a:bodyPr>
          <a:lstStyle>
            <a:defPPr>
              <a:defRPr lang="fr-FR"/>
            </a:defPPr>
            <a:lvl1pPr algn="ctr">
              <a:defRPr b="1">
                <a:solidFill>
                  <a:srgbClr val="008080"/>
                </a:solidFill>
              </a:defRPr>
            </a:lvl1pPr>
          </a:lstStyle>
          <a:p>
            <a:r>
              <a:rPr lang="en-US" sz="1600"/>
              <a:t>Today, on the Entrepreneur market, 3 players can intervene to market 2 offers</a:t>
            </a:r>
            <a:endParaRPr lang="fr-FR" sz="1600" dirty="0"/>
          </a:p>
        </p:txBody>
      </p:sp>
      <p:sp>
        <p:nvSpPr>
          <p:cNvPr id="4" name="Rectangle : coins arrondis 3">
            <a:extLst>
              <a:ext uri="{FF2B5EF4-FFF2-40B4-BE49-F238E27FC236}">
                <a16:creationId xmlns:a16="http://schemas.microsoft.com/office/drawing/2014/main" id="{3B69CAAF-73C7-784D-5471-5D2C9D052294}"/>
              </a:ext>
            </a:extLst>
          </p:cNvPr>
          <p:cNvSpPr/>
          <p:nvPr/>
        </p:nvSpPr>
        <p:spPr>
          <a:xfrm>
            <a:off x="685698" y="1421955"/>
            <a:ext cx="3108960" cy="475752"/>
          </a:xfrm>
          <a:prstGeom prst="roundRect">
            <a:avLst/>
          </a:prstGeom>
          <a:solidFill>
            <a:srgbClr val="009597"/>
          </a:solidFill>
          <a:ln w="12700" cap="flat" cmpd="sng" algn="ctr">
            <a:solidFill>
              <a:srgbClr val="FFFFFF"/>
            </a:solidFill>
            <a:prstDash val="solid"/>
            <a:miter lim="800000"/>
          </a:ln>
          <a:effectLst/>
        </p:spPr>
        <p:txBody>
          <a:bodyPr rtlCol="0" anchor="ctr"/>
          <a:lstStyle/>
          <a:p>
            <a:pPr lvl="0" algn="ctr">
              <a:buClrTx/>
              <a:defRPr/>
            </a:pPr>
            <a:r>
              <a:rPr lang="fr-FR" sz="1600">
                <a:solidFill>
                  <a:srgbClr val="FFFFFF"/>
                </a:solidFill>
                <a:ea typeface="+mn-ea"/>
                <a:cs typeface="+mn-cs"/>
              </a:rPr>
              <a:t>Employee Savings &amp; Retirement</a:t>
            </a:r>
            <a:endParaRPr kumimoji="0" lang="fr-FR" sz="1600" b="0" i="0" u="none" strike="noStrike" kern="0" cap="none" spc="0" normalizeH="0" baseline="0" noProof="0" dirty="0">
              <a:ln>
                <a:noFill/>
              </a:ln>
              <a:solidFill>
                <a:srgbClr val="FFFFFF"/>
              </a:solidFill>
              <a:effectLst/>
              <a:uLnTx/>
              <a:uFillTx/>
              <a:latin typeface="Arial"/>
              <a:ea typeface="+mn-ea"/>
              <a:cs typeface="+mn-cs"/>
            </a:endParaRPr>
          </a:p>
        </p:txBody>
      </p:sp>
      <p:sp>
        <p:nvSpPr>
          <p:cNvPr id="5" name="Rectangle : coins arrondis 4">
            <a:extLst>
              <a:ext uri="{FF2B5EF4-FFF2-40B4-BE49-F238E27FC236}">
                <a16:creationId xmlns:a16="http://schemas.microsoft.com/office/drawing/2014/main" id="{73190C3A-210C-985D-CB53-41652CE3689F}"/>
              </a:ext>
            </a:extLst>
          </p:cNvPr>
          <p:cNvSpPr/>
          <p:nvPr/>
        </p:nvSpPr>
        <p:spPr>
          <a:xfrm>
            <a:off x="685698" y="2225432"/>
            <a:ext cx="3108960" cy="475752"/>
          </a:xfrm>
          <a:prstGeom prst="roundRect">
            <a:avLst/>
          </a:prstGeom>
          <a:solidFill>
            <a:srgbClr val="009597"/>
          </a:solidFill>
          <a:ln w="12700" cap="flat" cmpd="sng" algn="ctr">
            <a:solidFill>
              <a:srgbClr val="FFFFFF"/>
            </a:solidFill>
            <a:prstDash val="solid"/>
            <a:miter lim="800000"/>
          </a:ln>
          <a:effectLst/>
        </p:spPr>
        <p:txBody>
          <a:bodyPr rtlCol="0" anchor="ctr"/>
          <a:lstStyle/>
          <a:p>
            <a:pPr lvl="0" algn="ctr">
              <a:buClrTx/>
              <a:defRPr/>
            </a:pPr>
            <a:r>
              <a:rPr lang="fr-FR" sz="1600">
                <a:solidFill>
                  <a:srgbClr val="FFFFFF"/>
                </a:solidFill>
                <a:ea typeface="+mn-ea"/>
                <a:cs typeface="+mn-cs"/>
              </a:rPr>
              <a:t>Health and group protection</a:t>
            </a:r>
            <a:endParaRPr kumimoji="0" lang="fr-FR" sz="1600" b="0" i="0" u="none" strike="noStrike" kern="0" cap="none" spc="0" normalizeH="0" baseline="0" noProof="0" dirty="0">
              <a:ln>
                <a:noFill/>
              </a:ln>
              <a:solidFill>
                <a:srgbClr val="FFFFFF"/>
              </a:solidFill>
              <a:effectLst/>
              <a:uLnTx/>
              <a:uFillTx/>
              <a:latin typeface="Arial"/>
              <a:ea typeface="+mn-ea"/>
              <a:cs typeface="+mn-cs"/>
            </a:endParaRPr>
          </a:p>
        </p:txBody>
      </p:sp>
      <p:sp>
        <p:nvSpPr>
          <p:cNvPr id="6" name="Rectangle : coins arrondis 5">
            <a:extLst>
              <a:ext uri="{FF2B5EF4-FFF2-40B4-BE49-F238E27FC236}">
                <a16:creationId xmlns:a16="http://schemas.microsoft.com/office/drawing/2014/main" id="{8EC1E901-7D05-7741-C66D-2F326812FB14}"/>
              </a:ext>
            </a:extLst>
          </p:cNvPr>
          <p:cNvSpPr/>
          <p:nvPr/>
        </p:nvSpPr>
        <p:spPr>
          <a:xfrm>
            <a:off x="4760064" y="1369446"/>
            <a:ext cx="3108960" cy="522456"/>
          </a:xfrm>
          <a:prstGeom prst="roundRect">
            <a:avLst/>
          </a:prstGeom>
          <a:solidFill>
            <a:srgbClr val="99C3B8"/>
          </a:solidFill>
          <a:ln w="12700" cap="flat" cmpd="sng" algn="ctr">
            <a:solidFill>
              <a:srgbClr val="FFFFFF"/>
            </a:solidFill>
            <a:prstDash val="solid"/>
            <a:miter lim="800000"/>
          </a:ln>
          <a:effectLst/>
        </p:spPr>
        <p:txBody>
          <a:bodyPr rtlCol="0" anchor="ctr"/>
          <a:lstStyle/>
          <a:p>
            <a:pPr lvl="0" algn="ctr">
              <a:buClrTx/>
              <a:defRPr/>
            </a:pPr>
            <a:r>
              <a:rPr lang="fr-FR" sz="1600">
                <a:solidFill>
                  <a:srgbClr val="FFFFFF"/>
                </a:solidFill>
                <a:ea typeface="+mn-ea"/>
                <a:cs typeface="+mn-cs"/>
              </a:rPr>
              <a:t>Pro Advisors 
(if autonomous)</a:t>
            </a:r>
            <a:endParaRPr kumimoji="0" lang="fr-FR" sz="1600" b="0" i="0" u="none" strike="noStrike" kern="0" cap="none" spc="0" normalizeH="0" baseline="0" noProof="0" dirty="0">
              <a:ln>
                <a:noFill/>
              </a:ln>
              <a:solidFill>
                <a:srgbClr val="FFFFFF"/>
              </a:solidFill>
              <a:effectLst/>
              <a:uLnTx/>
              <a:uFillTx/>
              <a:latin typeface="Arial"/>
              <a:ea typeface="+mn-ea"/>
              <a:cs typeface="+mn-cs"/>
            </a:endParaRPr>
          </a:p>
        </p:txBody>
      </p:sp>
      <p:sp>
        <p:nvSpPr>
          <p:cNvPr id="7" name="Rectangle : coins arrondis 6">
            <a:extLst>
              <a:ext uri="{FF2B5EF4-FFF2-40B4-BE49-F238E27FC236}">
                <a16:creationId xmlns:a16="http://schemas.microsoft.com/office/drawing/2014/main" id="{B33AC3D9-2F7E-B2FD-7617-FC148022B32C}"/>
              </a:ext>
            </a:extLst>
          </p:cNvPr>
          <p:cNvSpPr/>
          <p:nvPr/>
        </p:nvSpPr>
        <p:spPr>
          <a:xfrm>
            <a:off x="4760064" y="2225432"/>
            <a:ext cx="3108960" cy="450601"/>
          </a:xfrm>
          <a:prstGeom prst="roundRect">
            <a:avLst/>
          </a:prstGeom>
          <a:solidFill>
            <a:srgbClr val="99C3B8"/>
          </a:solidFill>
          <a:ln w="12700" cap="flat" cmpd="sng" algn="ctr">
            <a:solidFill>
              <a:srgbClr val="FFFFFF"/>
            </a:solidFill>
            <a:prstDash val="solid"/>
            <a:miter lim="800000"/>
          </a:ln>
          <a:effectLst/>
        </p:spPr>
        <p:txBody>
          <a:bodyPr rtlCol="0" anchor="ctr"/>
          <a:lstStyle/>
          <a:p>
            <a:pPr lvl="0" algn="ctr">
              <a:buClrTx/>
              <a:defRPr/>
            </a:pPr>
            <a:r>
              <a:rPr lang="fr-FR" sz="1600">
                <a:solidFill>
                  <a:srgbClr val="FFFFFF"/>
                </a:solidFill>
                <a:ea typeface="+mn-ea"/>
                <a:cs typeface="+mn-cs"/>
              </a:rPr>
              <a:t>Assur' Pro</a:t>
            </a:r>
            <a:endParaRPr kumimoji="0" lang="fr-FR" sz="1600" b="0" i="0" u="none" strike="noStrike" kern="0" cap="none" spc="0" normalizeH="0" baseline="0" noProof="0" dirty="0">
              <a:ln>
                <a:noFill/>
              </a:ln>
              <a:solidFill>
                <a:srgbClr val="FFFFFF"/>
              </a:solidFill>
              <a:effectLst/>
              <a:uLnTx/>
              <a:uFillTx/>
              <a:latin typeface="Arial"/>
              <a:ea typeface="+mn-ea"/>
              <a:cs typeface="+mn-cs"/>
            </a:endParaRPr>
          </a:p>
        </p:txBody>
      </p:sp>
      <p:sp>
        <p:nvSpPr>
          <p:cNvPr id="8" name="Rectangle : coins arrondis 7">
            <a:extLst>
              <a:ext uri="{FF2B5EF4-FFF2-40B4-BE49-F238E27FC236}">
                <a16:creationId xmlns:a16="http://schemas.microsoft.com/office/drawing/2014/main" id="{E4A020B7-AE86-EB5A-A294-05550BE8441B}"/>
              </a:ext>
            </a:extLst>
          </p:cNvPr>
          <p:cNvSpPr/>
          <p:nvPr/>
        </p:nvSpPr>
        <p:spPr>
          <a:xfrm>
            <a:off x="8323483" y="1366288"/>
            <a:ext cx="3108960" cy="524334"/>
          </a:xfrm>
          <a:prstGeom prst="roundRect">
            <a:avLst/>
          </a:prstGeom>
          <a:solidFill>
            <a:srgbClr val="99C3B8"/>
          </a:solidFill>
          <a:ln w="12700" cap="flat" cmpd="sng" algn="ctr">
            <a:solidFill>
              <a:srgbClr val="FFFFFF"/>
            </a:solidFill>
            <a:prstDash val="solid"/>
            <a:miter lim="800000"/>
          </a:ln>
          <a:effectLst/>
        </p:spPr>
        <p:txBody>
          <a:bodyPr rtlCol="0" anchor="ctr"/>
          <a:lstStyle/>
          <a:p>
            <a:pPr lvl="0" algn="ctr">
              <a:buClrTx/>
              <a:defRPr/>
            </a:pPr>
            <a:r>
              <a:rPr lang="en-US" sz="1600">
                <a:solidFill>
                  <a:srgbClr val="FFFFFF"/>
                </a:solidFill>
              </a:rPr>
              <a:t>Experts ELS 
(if prescribed by the Cpro)</a:t>
            </a:r>
            <a:endParaRPr kumimoji="0" lang="fr-FR" sz="1600" b="0" i="0" u="none" strike="noStrike" kern="0" cap="none" spc="0" normalizeH="0" baseline="0" noProof="0" dirty="0">
              <a:ln>
                <a:noFill/>
              </a:ln>
              <a:solidFill>
                <a:srgbClr val="FFFFFF"/>
              </a:solidFill>
              <a:effectLst/>
              <a:uLnTx/>
              <a:uFillTx/>
              <a:latin typeface="Arial"/>
              <a:ea typeface="+mn-ea"/>
              <a:cs typeface="+mn-cs"/>
            </a:endParaRPr>
          </a:p>
        </p:txBody>
      </p:sp>
      <p:sp>
        <p:nvSpPr>
          <p:cNvPr id="9" name="ZoneTexte 8">
            <a:extLst>
              <a:ext uri="{FF2B5EF4-FFF2-40B4-BE49-F238E27FC236}">
                <a16:creationId xmlns:a16="http://schemas.microsoft.com/office/drawing/2014/main" id="{1C871CEF-F20A-1515-DEE1-075469FFEE93}"/>
              </a:ext>
            </a:extLst>
          </p:cNvPr>
          <p:cNvSpPr txBox="1"/>
          <p:nvPr/>
        </p:nvSpPr>
        <p:spPr>
          <a:xfrm>
            <a:off x="624054" y="3382057"/>
            <a:ext cx="10896244" cy="830997"/>
          </a:xfrm>
          <a:prstGeom prst="rect">
            <a:avLst/>
          </a:prstGeom>
          <a:solidFill>
            <a:srgbClr val="F2F2F2"/>
          </a:solidFill>
        </p:spPr>
        <p:txBody>
          <a:bodyPr wrap="square" rtlCol="0">
            <a:spAutoFit/>
          </a:bodyPr>
          <a:lstStyle>
            <a:defPPr>
              <a:defRPr lang="fr-FR"/>
            </a:defPPr>
            <a:lvl1pPr algn="ctr">
              <a:defRPr b="1">
                <a:solidFill>
                  <a:srgbClr val="008080"/>
                </a:solidFill>
              </a:defRPr>
            </a:lvl1pPr>
          </a:lstStyle>
          <a:p>
            <a:r>
              <a:rPr lang="en-US" sz="1600"/>
              <a:t>By capitalizing on CR initiatives and feedback on Entrepreneurs, we recommend  
a coupled approach between the PRO Advisor (identification of needs) and a BRH manager/facilitator dedicated to the market, and according to the potential of the Regional Bank:</a:t>
            </a:r>
            <a:endParaRPr lang="fr-FR" sz="1600" dirty="0"/>
          </a:p>
        </p:txBody>
      </p:sp>
      <p:sp>
        <p:nvSpPr>
          <p:cNvPr id="10" name="Rectangle : coins arrondis 9">
            <a:extLst>
              <a:ext uri="{FF2B5EF4-FFF2-40B4-BE49-F238E27FC236}">
                <a16:creationId xmlns:a16="http://schemas.microsoft.com/office/drawing/2014/main" id="{92542491-A8F7-DCB8-A7BA-02323B3CFB13}"/>
              </a:ext>
            </a:extLst>
          </p:cNvPr>
          <p:cNvSpPr/>
          <p:nvPr/>
        </p:nvSpPr>
        <p:spPr>
          <a:xfrm>
            <a:off x="1391328" y="4308044"/>
            <a:ext cx="3820752" cy="872666"/>
          </a:xfrm>
          <a:prstGeom prst="roundRect">
            <a:avLst/>
          </a:prstGeom>
          <a:solidFill>
            <a:srgbClr val="99C3B8"/>
          </a:solidFill>
          <a:ln w="12700" cap="flat" cmpd="sng" algn="ctr">
            <a:solidFill>
              <a:srgbClr val="FFFFFF"/>
            </a:solidFill>
            <a:prstDash val="solid"/>
            <a:miter lim="800000"/>
          </a:ln>
          <a:effectLst/>
        </p:spPr>
        <p:txBody>
          <a:bodyPr rtlCol="0" anchor="ctr"/>
          <a:lstStyle/>
          <a:p>
            <a:pPr lvl="0" algn="ctr">
              <a:buClrTx/>
              <a:defRPr/>
            </a:pPr>
            <a:r>
              <a:rPr lang="en-US" sz="1600">
                <a:solidFill>
                  <a:srgbClr val="FFFFFF"/>
                </a:solidFill>
                <a:ea typeface="+mn-ea"/>
                <a:cs typeface="+mn-cs"/>
              </a:rPr>
              <a:t>Dedicate an additional BRH Chargé d'affaires for the Entrepreneurs market (Via the BRH or CR budget)</a:t>
            </a:r>
            <a:endParaRPr kumimoji="0" lang="fr-FR" sz="160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 coins arrondis 10">
            <a:extLst>
              <a:ext uri="{FF2B5EF4-FFF2-40B4-BE49-F238E27FC236}">
                <a16:creationId xmlns:a16="http://schemas.microsoft.com/office/drawing/2014/main" id="{30846355-FA11-9349-7056-ECBD0F439370}"/>
              </a:ext>
            </a:extLst>
          </p:cNvPr>
          <p:cNvSpPr/>
          <p:nvPr/>
        </p:nvSpPr>
        <p:spPr>
          <a:xfrm>
            <a:off x="6877614" y="4311772"/>
            <a:ext cx="3820752" cy="872666"/>
          </a:xfrm>
          <a:prstGeom prst="roundRect">
            <a:avLst/>
          </a:prstGeom>
          <a:solidFill>
            <a:srgbClr val="99C3B8"/>
          </a:solidFill>
          <a:ln w="12700" cap="flat" cmpd="sng" algn="ctr">
            <a:solidFill>
              <a:srgbClr val="FFFFFF"/>
            </a:solidFill>
            <a:prstDash val="solid"/>
            <a:miter lim="800000"/>
          </a:ln>
          <a:effectLst/>
        </p:spPr>
        <p:txBody>
          <a:bodyPr rtlCol="0" anchor="ctr"/>
          <a:lstStyle/>
          <a:p>
            <a:pPr lvl="0" algn="ctr">
              <a:buClrTx/>
              <a:defRPr/>
            </a:pPr>
            <a:r>
              <a:rPr lang="en-US" sz="1600">
                <a:solidFill>
                  <a:srgbClr val="FFFFFF"/>
                </a:solidFill>
                <a:ea typeface="+mn-ea"/>
                <a:cs typeface="+mn-cs"/>
              </a:rPr>
              <a:t>Name a 
BRH referent / facilitator 
Contractors' Market</a:t>
            </a:r>
            <a:endParaRPr kumimoji="0" lang="fr-FR" sz="1600" b="0" i="0" u="none" strike="noStrike" kern="0" cap="none" spc="0" normalizeH="0" baseline="0" noProof="0" dirty="0">
              <a:ln>
                <a:noFill/>
              </a:ln>
              <a:solidFill>
                <a:srgbClr val="FFFFFF"/>
              </a:solidFill>
              <a:effectLst/>
              <a:uLnTx/>
              <a:uFillTx/>
              <a:latin typeface="Arial"/>
              <a:ea typeface="+mn-ea"/>
              <a:cs typeface="+mn-cs"/>
            </a:endParaRPr>
          </a:p>
        </p:txBody>
      </p:sp>
      <p:pic>
        <p:nvPicPr>
          <p:cNvPr id="12" name="Image 11">
            <a:extLst>
              <a:ext uri="{FF2B5EF4-FFF2-40B4-BE49-F238E27FC236}">
                <a16:creationId xmlns:a16="http://schemas.microsoft.com/office/drawing/2014/main" id="{181DC855-EE24-4E4D-1B8E-2BA1D30408F0}"/>
              </a:ext>
            </a:extLst>
          </p:cNvPr>
          <p:cNvPicPr>
            <a:picLocks noChangeAspect="1"/>
          </p:cNvPicPr>
          <p:nvPr/>
        </p:nvPicPr>
        <p:blipFill>
          <a:blip r:embed="rId2">
            <a:duotone>
              <a:schemeClr val="accent6">
                <a:shade val="45000"/>
                <a:satMod val="135000"/>
              </a:schemeClr>
              <a:prstClr val="white"/>
            </a:duotone>
          </a:blip>
          <a:stretch>
            <a:fillRect/>
          </a:stretch>
        </p:blipFill>
        <p:spPr>
          <a:xfrm>
            <a:off x="767809" y="5611287"/>
            <a:ext cx="465880" cy="483628"/>
          </a:xfrm>
          <a:prstGeom prst="rect">
            <a:avLst/>
          </a:prstGeom>
        </p:spPr>
      </p:pic>
      <p:sp>
        <p:nvSpPr>
          <p:cNvPr id="13" name="ZoneTexte 12">
            <a:extLst>
              <a:ext uri="{FF2B5EF4-FFF2-40B4-BE49-F238E27FC236}">
                <a16:creationId xmlns:a16="http://schemas.microsoft.com/office/drawing/2014/main" id="{E5291F4D-6E32-5E5A-014D-498F7D7BCF5A}"/>
              </a:ext>
            </a:extLst>
          </p:cNvPr>
          <p:cNvSpPr txBox="1"/>
          <p:nvPr/>
        </p:nvSpPr>
        <p:spPr>
          <a:xfrm>
            <a:off x="1347084" y="5560714"/>
            <a:ext cx="10173214" cy="584775"/>
          </a:xfrm>
          <a:prstGeom prst="rect">
            <a:avLst/>
          </a:prstGeom>
          <a:noFill/>
        </p:spPr>
        <p:txBody>
          <a:bodyPr wrap="square" rtlCol="0">
            <a:spAutoFit/>
          </a:bodyPr>
          <a:lstStyle/>
          <a:p>
            <a:r>
              <a:rPr lang="en-US" sz="1600"/>
              <a:t>We are capitalising on the support system created on the BRH (training, Elearning, OAV, etc.) to support these employees with the support of the BRH Referents already in place and the complementary professions.</a:t>
            </a:r>
            <a:endParaRPr lang="fr-FR" sz="1600" dirty="0"/>
          </a:p>
        </p:txBody>
      </p:sp>
      <p:sp>
        <p:nvSpPr>
          <p:cNvPr id="14" name="Rectangle : coins arrondis 13">
            <a:extLst>
              <a:ext uri="{FF2B5EF4-FFF2-40B4-BE49-F238E27FC236}">
                <a16:creationId xmlns:a16="http://schemas.microsoft.com/office/drawing/2014/main" id="{C9947E96-CF23-963A-BEE4-CCBAB3E36518}"/>
              </a:ext>
            </a:extLst>
          </p:cNvPr>
          <p:cNvSpPr/>
          <p:nvPr/>
        </p:nvSpPr>
        <p:spPr>
          <a:xfrm>
            <a:off x="8323483" y="2176850"/>
            <a:ext cx="3108960" cy="524334"/>
          </a:xfrm>
          <a:prstGeom prst="roundRect">
            <a:avLst/>
          </a:prstGeom>
          <a:solidFill>
            <a:srgbClr val="99C3B8"/>
          </a:solidFill>
          <a:ln w="12700" cap="flat" cmpd="sng" algn="ctr">
            <a:solidFill>
              <a:srgbClr val="FFFFFF"/>
            </a:solidFill>
            <a:prstDash val="solid"/>
            <a:miter lim="800000"/>
          </a:ln>
          <a:effectLst/>
        </p:spPr>
        <p:txBody>
          <a:bodyPr rtlCol="0" anchor="ctr"/>
          <a:lstStyle/>
          <a:p>
            <a:pPr lvl="0" algn="ctr">
              <a:buClrTx/>
              <a:defRPr/>
            </a:pPr>
            <a:r>
              <a:rPr lang="fr-FR" sz="1600">
                <a:solidFill>
                  <a:srgbClr val="FFFFFF"/>
                </a:solidFill>
              </a:rPr>
              <a:t>Social Engineering Experts</a:t>
            </a:r>
            <a:endParaRPr kumimoji="0" lang="fr-FR" sz="16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ZoneTexte 14">
            <a:extLst>
              <a:ext uri="{FF2B5EF4-FFF2-40B4-BE49-F238E27FC236}">
                <a16:creationId xmlns:a16="http://schemas.microsoft.com/office/drawing/2014/main" id="{4832F7F5-91EF-9A6A-5652-5414B52E2780}"/>
              </a:ext>
            </a:extLst>
          </p:cNvPr>
          <p:cNvSpPr txBox="1"/>
          <p:nvPr/>
        </p:nvSpPr>
        <p:spPr>
          <a:xfrm>
            <a:off x="4760064" y="2676032"/>
            <a:ext cx="3108960" cy="461665"/>
          </a:xfrm>
          <a:prstGeom prst="rect">
            <a:avLst/>
          </a:prstGeom>
          <a:noFill/>
        </p:spPr>
        <p:txBody>
          <a:bodyPr wrap="square" rtlCol="0">
            <a:spAutoFit/>
          </a:bodyPr>
          <a:lstStyle/>
          <a:p>
            <a:r>
              <a:rPr lang="fr-FR" sz="800" dirty="0"/>
              <a:t>Les nouveaux Assur pro seront désormais formés dans le socle dispensé par L’IFCAM à partir d’Avril 2026.  Jusqu’à aujourd’hui : formation en distanciel </a:t>
            </a:r>
          </a:p>
        </p:txBody>
      </p:sp>
    </p:spTree>
    <p:extLst>
      <p:ext uri="{BB962C8B-B14F-4D97-AF65-F5344CB8AC3E}">
        <p14:creationId xmlns:p14="http://schemas.microsoft.com/office/powerpoint/2010/main" val="2907948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755D7A-2D77-698D-366A-B827D2F1269A}"/>
              </a:ext>
            </a:extLst>
          </p:cNvPr>
          <p:cNvSpPr>
            <a:spLocks noGrp="1"/>
          </p:cNvSpPr>
          <p:nvPr>
            <p:ph type="title"/>
          </p:nvPr>
        </p:nvSpPr>
        <p:spPr>
          <a:xfrm>
            <a:off x="0" y="56938"/>
            <a:ext cx="12201100" cy="565368"/>
          </a:xfrm>
        </p:spPr>
        <p:txBody>
          <a:bodyPr>
            <a:noAutofit/>
          </a:bodyPr>
          <a:lstStyle/>
          <a:p>
            <a:r>
              <a:rPr lang="en-US"/>
              <a:t>In view of the very promising initiatives already launched in the Regional Banks since 2025, there are 3 different distribution schemes depending on the potential</a:t>
            </a:r>
            <a:endParaRPr lang="fr-FR" dirty="0"/>
          </a:p>
        </p:txBody>
      </p:sp>
      <p:grpSp>
        <p:nvGrpSpPr>
          <p:cNvPr id="214" name="Groupe 213">
            <a:extLst>
              <a:ext uri="{FF2B5EF4-FFF2-40B4-BE49-F238E27FC236}">
                <a16:creationId xmlns:a16="http://schemas.microsoft.com/office/drawing/2014/main" id="{08D5C77A-A18B-E3DF-BA3C-3FC1A29616C7}"/>
              </a:ext>
            </a:extLst>
          </p:cNvPr>
          <p:cNvGrpSpPr/>
          <p:nvPr/>
        </p:nvGrpSpPr>
        <p:grpSpPr>
          <a:xfrm>
            <a:off x="649472" y="1006370"/>
            <a:ext cx="4291691" cy="4359780"/>
            <a:chOff x="2320925" y="1236663"/>
            <a:chExt cx="6403975" cy="5203825"/>
          </a:xfrm>
          <a:noFill/>
        </p:grpSpPr>
        <p:grpSp>
          <p:nvGrpSpPr>
            <p:cNvPr id="215" name="Group 619">
              <a:extLst>
                <a:ext uri="{FF2B5EF4-FFF2-40B4-BE49-F238E27FC236}">
                  <a16:creationId xmlns:a16="http://schemas.microsoft.com/office/drawing/2014/main" id="{252EBE35-ABE3-0E97-370D-0299CA02008D}"/>
                </a:ext>
              </a:extLst>
            </p:cNvPr>
            <p:cNvGrpSpPr>
              <a:grpSpLocks/>
            </p:cNvGrpSpPr>
            <p:nvPr/>
          </p:nvGrpSpPr>
          <p:grpSpPr bwMode="auto">
            <a:xfrm>
              <a:off x="2320925" y="1236663"/>
              <a:ext cx="6324600" cy="5203825"/>
              <a:chOff x="1715" y="330"/>
              <a:chExt cx="3571" cy="3480"/>
            </a:xfrm>
            <a:grpFill/>
          </p:grpSpPr>
          <p:sp>
            <p:nvSpPr>
              <p:cNvPr id="260" name="Freeform 311">
                <a:extLst>
                  <a:ext uri="{FF2B5EF4-FFF2-40B4-BE49-F238E27FC236}">
                    <a16:creationId xmlns:a16="http://schemas.microsoft.com/office/drawing/2014/main" id="{14AF6A03-944A-07DF-6801-C7176B6B8362}"/>
                  </a:ext>
                </a:extLst>
              </p:cNvPr>
              <p:cNvSpPr>
                <a:spLocks/>
              </p:cNvSpPr>
              <p:nvPr/>
            </p:nvSpPr>
            <p:spPr bwMode="auto">
              <a:xfrm>
                <a:off x="3428" y="2692"/>
                <a:ext cx="833" cy="898"/>
              </a:xfrm>
              <a:custGeom>
                <a:avLst/>
                <a:gdLst>
                  <a:gd name="T0" fmla="*/ 0 w 2498"/>
                  <a:gd name="T1" fmla="*/ 0 h 2693"/>
                  <a:gd name="T2" fmla="*/ 0 w 2498"/>
                  <a:gd name="T3" fmla="*/ 0 h 2693"/>
                  <a:gd name="T4" fmla="*/ 0 w 2498"/>
                  <a:gd name="T5" fmla="*/ 0 h 2693"/>
                  <a:gd name="T6" fmla="*/ 0 w 2498"/>
                  <a:gd name="T7" fmla="*/ 0 h 2693"/>
                  <a:gd name="T8" fmla="*/ 0 w 2498"/>
                  <a:gd name="T9" fmla="*/ 0 h 2693"/>
                  <a:gd name="T10" fmla="*/ 0 w 2498"/>
                  <a:gd name="T11" fmla="*/ 0 h 2693"/>
                  <a:gd name="T12" fmla="*/ 0 w 2498"/>
                  <a:gd name="T13" fmla="*/ 0 h 2693"/>
                  <a:gd name="T14" fmla="*/ 0 w 2498"/>
                  <a:gd name="T15" fmla="*/ 0 h 2693"/>
                  <a:gd name="T16" fmla="*/ 0 w 2498"/>
                  <a:gd name="T17" fmla="*/ 0 h 2693"/>
                  <a:gd name="T18" fmla="*/ 0 w 2498"/>
                  <a:gd name="T19" fmla="*/ 0 h 2693"/>
                  <a:gd name="T20" fmla="*/ 0 w 2498"/>
                  <a:gd name="T21" fmla="*/ 0 h 2693"/>
                  <a:gd name="T22" fmla="*/ 0 w 2498"/>
                  <a:gd name="T23" fmla="*/ 0 h 2693"/>
                  <a:gd name="T24" fmla="*/ 0 w 2498"/>
                  <a:gd name="T25" fmla="*/ 0 h 2693"/>
                  <a:gd name="T26" fmla="*/ 0 w 2498"/>
                  <a:gd name="T27" fmla="*/ 0 h 2693"/>
                  <a:gd name="T28" fmla="*/ 0 w 2498"/>
                  <a:gd name="T29" fmla="*/ 0 h 2693"/>
                  <a:gd name="T30" fmla="*/ 0 w 2498"/>
                  <a:gd name="T31" fmla="*/ 0 h 2693"/>
                  <a:gd name="T32" fmla="*/ 0 w 2498"/>
                  <a:gd name="T33" fmla="*/ 0 h 2693"/>
                  <a:gd name="T34" fmla="*/ 0 w 2498"/>
                  <a:gd name="T35" fmla="*/ 0 h 2693"/>
                  <a:gd name="T36" fmla="*/ 0 w 2498"/>
                  <a:gd name="T37" fmla="*/ 0 h 2693"/>
                  <a:gd name="T38" fmla="*/ 0 w 2498"/>
                  <a:gd name="T39" fmla="*/ 0 h 2693"/>
                  <a:gd name="T40" fmla="*/ 0 w 2498"/>
                  <a:gd name="T41" fmla="*/ 0 h 2693"/>
                  <a:gd name="T42" fmla="*/ 0 w 2498"/>
                  <a:gd name="T43" fmla="*/ 0 h 2693"/>
                  <a:gd name="T44" fmla="*/ 0 w 2498"/>
                  <a:gd name="T45" fmla="*/ 0 h 2693"/>
                  <a:gd name="T46" fmla="*/ 0 w 2498"/>
                  <a:gd name="T47" fmla="*/ 0 h 2693"/>
                  <a:gd name="T48" fmla="*/ 0 w 2498"/>
                  <a:gd name="T49" fmla="*/ 0 h 2693"/>
                  <a:gd name="T50" fmla="*/ 0 w 2498"/>
                  <a:gd name="T51" fmla="*/ 0 h 2693"/>
                  <a:gd name="T52" fmla="*/ 0 w 2498"/>
                  <a:gd name="T53" fmla="*/ 0 h 2693"/>
                  <a:gd name="T54" fmla="*/ 0 w 2498"/>
                  <a:gd name="T55" fmla="*/ 0 h 2693"/>
                  <a:gd name="T56" fmla="*/ 0 w 2498"/>
                  <a:gd name="T57" fmla="*/ 0 h 2693"/>
                  <a:gd name="T58" fmla="*/ 0 w 2498"/>
                  <a:gd name="T59" fmla="*/ 0 h 2693"/>
                  <a:gd name="T60" fmla="*/ 0 w 2498"/>
                  <a:gd name="T61" fmla="*/ 0 h 2693"/>
                  <a:gd name="T62" fmla="*/ 0 w 2498"/>
                  <a:gd name="T63" fmla="*/ 0 h 2693"/>
                  <a:gd name="T64" fmla="*/ 0 w 2498"/>
                  <a:gd name="T65" fmla="*/ 0 h 2693"/>
                  <a:gd name="T66" fmla="*/ 0 w 2498"/>
                  <a:gd name="T67" fmla="*/ 0 h 2693"/>
                  <a:gd name="T68" fmla="*/ 0 w 2498"/>
                  <a:gd name="T69" fmla="*/ 0 h 2693"/>
                  <a:gd name="T70" fmla="*/ 0 w 2498"/>
                  <a:gd name="T71" fmla="*/ 0 h 2693"/>
                  <a:gd name="T72" fmla="*/ 0 w 2498"/>
                  <a:gd name="T73" fmla="*/ 0 h 2693"/>
                  <a:gd name="T74" fmla="*/ 0 w 2498"/>
                  <a:gd name="T75" fmla="*/ 0 h 2693"/>
                  <a:gd name="T76" fmla="*/ 0 w 2498"/>
                  <a:gd name="T77" fmla="*/ 0 h 2693"/>
                  <a:gd name="T78" fmla="*/ 0 w 2498"/>
                  <a:gd name="T79" fmla="*/ 0 h 2693"/>
                  <a:gd name="T80" fmla="*/ 0 w 2498"/>
                  <a:gd name="T81" fmla="*/ 0 h 2693"/>
                  <a:gd name="T82" fmla="*/ 0 w 2498"/>
                  <a:gd name="T83" fmla="*/ 0 h 2693"/>
                  <a:gd name="T84" fmla="*/ 0 w 2498"/>
                  <a:gd name="T85" fmla="*/ 0 h 2693"/>
                  <a:gd name="T86" fmla="*/ 0 w 2498"/>
                  <a:gd name="T87" fmla="*/ 0 h 2693"/>
                  <a:gd name="T88" fmla="*/ 0 w 2498"/>
                  <a:gd name="T89" fmla="*/ 0 h 2693"/>
                  <a:gd name="T90" fmla="*/ 0 w 2498"/>
                  <a:gd name="T91" fmla="*/ 0 h 2693"/>
                  <a:gd name="T92" fmla="*/ 0 w 2498"/>
                  <a:gd name="T93" fmla="*/ 0 h 2693"/>
                  <a:gd name="T94" fmla="*/ 0 w 2498"/>
                  <a:gd name="T95" fmla="*/ 0 h 2693"/>
                  <a:gd name="T96" fmla="*/ 0 w 2498"/>
                  <a:gd name="T97" fmla="*/ 0 h 2693"/>
                  <a:gd name="T98" fmla="*/ 0 w 2498"/>
                  <a:gd name="T99" fmla="*/ 0 h 2693"/>
                  <a:gd name="T100" fmla="*/ 0 w 2498"/>
                  <a:gd name="T101" fmla="*/ 0 h 2693"/>
                  <a:gd name="T102" fmla="*/ 0 w 2498"/>
                  <a:gd name="T103" fmla="*/ 0 h 2693"/>
                  <a:gd name="T104" fmla="*/ 0 w 2498"/>
                  <a:gd name="T105" fmla="*/ 0 h 2693"/>
                  <a:gd name="T106" fmla="*/ 0 w 2498"/>
                  <a:gd name="T107" fmla="*/ 0 h 2693"/>
                  <a:gd name="T108" fmla="*/ 0 w 2498"/>
                  <a:gd name="T109" fmla="*/ 0 h 2693"/>
                  <a:gd name="T110" fmla="*/ 0 w 2498"/>
                  <a:gd name="T111" fmla="*/ 0 h 2693"/>
                  <a:gd name="T112" fmla="*/ 0 w 2498"/>
                  <a:gd name="T113" fmla="*/ 0 h 2693"/>
                  <a:gd name="T114" fmla="*/ 0 w 2498"/>
                  <a:gd name="T115" fmla="*/ 0 h 2693"/>
                  <a:gd name="T116" fmla="*/ 0 w 2498"/>
                  <a:gd name="T117" fmla="*/ 0 h 2693"/>
                  <a:gd name="T118" fmla="*/ 0 w 2498"/>
                  <a:gd name="T119" fmla="*/ 0 h 2693"/>
                  <a:gd name="T120" fmla="*/ 0 w 2498"/>
                  <a:gd name="T121" fmla="*/ 0 h 2693"/>
                  <a:gd name="T122" fmla="*/ 0 w 2498"/>
                  <a:gd name="T123" fmla="*/ 0 h 2693"/>
                  <a:gd name="T124" fmla="*/ 0 w 2498"/>
                  <a:gd name="T125" fmla="*/ 0 h 26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98" h="2693">
                    <a:moveTo>
                      <a:pt x="1859" y="1635"/>
                    </a:moveTo>
                    <a:lnTo>
                      <a:pt x="1838" y="1637"/>
                    </a:lnTo>
                    <a:lnTo>
                      <a:pt x="1818" y="1649"/>
                    </a:lnTo>
                    <a:lnTo>
                      <a:pt x="1761" y="1682"/>
                    </a:lnTo>
                    <a:lnTo>
                      <a:pt x="1721" y="1712"/>
                    </a:lnTo>
                    <a:lnTo>
                      <a:pt x="1709" y="1721"/>
                    </a:lnTo>
                    <a:lnTo>
                      <a:pt x="1679" y="1758"/>
                    </a:lnTo>
                    <a:lnTo>
                      <a:pt x="1647" y="1784"/>
                    </a:lnTo>
                    <a:lnTo>
                      <a:pt x="1620" y="1794"/>
                    </a:lnTo>
                    <a:lnTo>
                      <a:pt x="1599" y="1809"/>
                    </a:lnTo>
                    <a:lnTo>
                      <a:pt x="1593" y="1811"/>
                    </a:lnTo>
                    <a:lnTo>
                      <a:pt x="1587" y="1821"/>
                    </a:lnTo>
                    <a:lnTo>
                      <a:pt x="1562" y="1824"/>
                    </a:lnTo>
                    <a:lnTo>
                      <a:pt x="1488" y="1899"/>
                    </a:lnTo>
                    <a:lnTo>
                      <a:pt x="1467" y="1926"/>
                    </a:lnTo>
                    <a:lnTo>
                      <a:pt x="1454" y="1949"/>
                    </a:lnTo>
                    <a:lnTo>
                      <a:pt x="1449" y="1961"/>
                    </a:lnTo>
                    <a:lnTo>
                      <a:pt x="1443" y="1967"/>
                    </a:lnTo>
                    <a:lnTo>
                      <a:pt x="1436" y="1964"/>
                    </a:lnTo>
                    <a:lnTo>
                      <a:pt x="1431" y="1961"/>
                    </a:lnTo>
                    <a:lnTo>
                      <a:pt x="1424" y="1962"/>
                    </a:lnTo>
                    <a:lnTo>
                      <a:pt x="1413" y="1961"/>
                    </a:lnTo>
                    <a:lnTo>
                      <a:pt x="1400" y="1952"/>
                    </a:lnTo>
                    <a:lnTo>
                      <a:pt x="1386" y="1944"/>
                    </a:lnTo>
                    <a:lnTo>
                      <a:pt x="1373" y="1944"/>
                    </a:lnTo>
                    <a:lnTo>
                      <a:pt x="1361" y="1947"/>
                    </a:lnTo>
                    <a:lnTo>
                      <a:pt x="1329" y="1961"/>
                    </a:lnTo>
                    <a:lnTo>
                      <a:pt x="1316" y="1967"/>
                    </a:lnTo>
                    <a:lnTo>
                      <a:pt x="1316" y="1959"/>
                    </a:lnTo>
                    <a:lnTo>
                      <a:pt x="1314" y="1955"/>
                    </a:lnTo>
                    <a:lnTo>
                      <a:pt x="1308" y="1953"/>
                    </a:lnTo>
                    <a:lnTo>
                      <a:pt x="1310" y="1968"/>
                    </a:lnTo>
                    <a:lnTo>
                      <a:pt x="1302" y="1971"/>
                    </a:lnTo>
                    <a:lnTo>
                      <a:pt x="1293" y="1983"/>
                    </a:lnTo>
                    <a:lnTo>
                      <a:pt x="1289" y="1988"/>
                    </a:lnTo>
                    <a:lnTo>
                      <a:pt x="1275" y="1989"/>
                    </a:lnTo>
                    <a:lnTo>
                      <a:pt x="1257" y="2004"/>
                    </a:lnTo>
                    <a:lnTo>
                      <a:pt x="1248" y="2012"/>
                    </a:lnTo>
                    <a:lnTo>
                      <a:pt x="1238" y="2025"/>
                    </a:lnTo>
                    <a:lnTo>
                      <a:pt x="1233" y="2025"/>
                    </a:lnTo>
                    <a:lnTo>
                      <a:pt x="1229" y="2022"/>
                    </a:lnTo>
                    <a:lnTo>
                      <a:pt x="1229" y="2030"/>
                    </a:lnTo>
                    <a:lnTo>
                      <a:pt x="1205" y="2046"/>
                    </a:lnTo>
                    <a:lnTo>
                      <a:pt x="1181" y="2076"/>
                    </a:lnTo>
                    <a:lnTo>
                      <a:pt x="1158" y="2109"/>
                    </a:lnTo>
                    <a:lnTo>
                      <a:pt x="1125" y="2163"/>
                    </a:lnTo>
                    <a:lnTo>
                      <a:pt x="1098" y="2216"/>
                    </a:lnTo>
                    <a:lnTo>
                      <a:pt x="1077" y="2271"/>
                    </a:lnTo>
                    <a:lnTo>
                      <a:pt x="1070" y="2300"/>
                    </a:lnTo>
                    <a:lnTo>
                      <a:pt x="1067" y="2315"/>
                    </a:lnTo>
                    <a:lnTo>
                      <a:pt x="1068" y="2354"/>
                    </a:lnTo>
                    <a:lnTo>
                      <a:pt x="1079" y="2361"/>
                    </a:lnTo>
                    <a:lnTo>
                      <a:pt x="1088" y="2370"/>
                    </a:lnTo>
                    <a:lnTo>
                      <a:pt x="1073" y="2454"/>
                    </a:lnTo>
                    <a:lnTo>
                      <a:pt x="1052" y="2441"/>
                    </a:lnTo>
                    <a:lnTo>
                      <a:pt x="1028" y="2426"/>
                    </a:lnTo>
                    <a:lnTo>
                      <a:pt x="1010" y="2423"/>
                    </a:lnTo>
                    <a:lnTo>
                      <a:pt x="980" y="2409"/>
                    </a:lnTo>
                    <a:lnTo>
                      <a:pt x="972" y="2402"/>
                    </a:lnTo>
                    <a:lnTo>
                      <a:pt x="966" y="2396"/>
                    </a:lnTo>
                    <a:lnTo>
                      <a:pt x="954" y="2393"/>
                    </a:lnTo>
                    <a:lnTo>
                      <a:pt x="941" y="2373"/>
                    </a:lnTo>
                    <a:lnTo>
                      <a:pt x="932" y="2372"/>
                    </a:lnTo>
                    <a:lnTo>
                      <a:pt x="891" y="2394"/>
                    </a:lnTo>
                    <a:lnTo>
                      <a:pt x="879" y="2400"/>
                    </a:lnTo>
                    <a:lnTo>
                      <a:pt x="870" y="2412"/>
                    </a:lnTo>
                    <a:lnTo>
                      <a:pt x="858" y="2430"/>
                    </a:lnTo>
                    <a:lnTo>
                      <a:pt x="849" y="2448"/>
                    </a:lnTo>
                    <a:lnTo>
                      <a:pt x="837" y="2466"/>
                    </a:lnTo>
                    <a:lnTo>
                      <a:pt x="821" y="2468"/>
                    </a:lnTo>
                    <a:lnTo>
                      <a:pt x="779" y="2468"/>
                    </a:lnTo>
                    <a:lnTo>
                      <a:pt x="761" y="2465"/>
                    </a:lnTo>
                    <a:lnTo>
                      <a:pt x="749" y="2466"/>
                    </a:lnTo>
                    <a:lnTo>
                      <a:pt x="734" y="2468"/>
                    </a:lnTo>
                    <a:lnTo>
                      <a:pt x="702" y="2459"/>
                    </a:lnTo>
                    <a:lnTo>
                      <a:pt x="686" y="2459"/>
                    </a:lnTo>
                    <a:lnTo>
                      <a:pt x="663" y="2459"/>
                    </a:lnTo>
                    <a:lnTo>
                      <a:pt x="653" y="2453"/>
                    </a:lnTo>
                    <a:lnTo>
                      <a:pt x="644" y="2454"/>
                    </a:lnTo>
                    <a:lnTo>
                      <a:pt x="618" y="2465"/>
                    </a:lnTo>
                    <a:lnTo>
                      <a:pt x="611" y="2465"/>
                    </a:lnTo>
                    <a:lnTo>
                      <a:pt x="566" y="2460"/>
                    </a:lnTo>
                    <a:lnTo>
                      <a:pt x="554" y="2459"/>
                    </a:lnTo>
                    <a:lnTo>
                      <a:pt x="543" y="2460"/>
                    </a:lnTo>
                    <a:lnTo>
                      <a:pt x="528" y="2463"/>
                    </a:lnTo>
                    <a:lnTo>
                      <a:pt x="510" y="2469"/>
                    </a:lnTo>
                    <a:lnTo>
                      <a:pt x="507" y="2471"/>
                    </a:lnTo>
                    <a:lnTo>
                      <a:pt x="507" y="2480"/>
                    </a:lnTo>
                    <a:lnTo>
                      <a:pt x="516" y="2510"/>
                    </a:lnTo>
                    <a:lnTo>
                      <a:pt x="522" y="2514"/>
                    </a:lnTo>
                    <a:lnTo>
                      <a:pt x="522" y="2526"/>
                    </a:lnTo>
                    <a:lnTo>
                      <a:pt x="530" y="2561"/>
                    </a:lnTo>
                    <a:lnTo>
                      <a:pt x="528" y="2576"/>
                    </a:lnTo>
                    <a:lnTo>
                      <a:pt x="528" y="2594"/>
                    </a:lnTo>
                    <a:lnTo>
                      <a:pt x="513" y="2609"/>
                    </a:lnTo>
                    <a:lnTo>
                      <a:pt x="492" y="2618"/>
                    </a:lnTo>
                    <a:lnTo>
                      <a:pt x="470" y="2624"/>
                    </a:lnTo>
                    <a:lnTo>
                      <a:pt x="462" y="2618"/>
                    </a:lnTo>
                    <a:lnTo>
                      <a:pt x="459" y="2616"/>
                    </a:lnTo>
                    <a:lnTo>
                      <a:pt x="453" y="2621"/>
                    </a:lnTo>
                    <a:lnTo>
                      <a:pt x="446" y="2637"/>
                    </a:lnTo>
                    <a:lnTo>
                      <a:pt x="441" y="2652"/>
                    </a:lnTo>
                    <a:lnTo>
                      <a:pt x="435" y="2655"/>
                    </a:lnTo>
                    <a:lnTo>
                      <a:pt x="420" y="2660"/>
                    </a:lnTo>
                    <a:lnTo>
                      <a:pt x="405" y="2673"/>
                    </a:lnTo>
                    <a:lnTo>
                      <a:pt x="401" y="2679"/>
                    </a:lnTo>
                    <a:lnTo>
                      <a:pt x="399" y="2691"/>
                    </a:lnTo>
                    <a:lnTo>
                      <a:pt x="389" y="2693"/>
                    </a:lnTo>
                    <a:lnTo>
                      <a:pt x="386" y="2684"/>
                    </a:lnTo>
                    <a:lnTo>
                      <a:pt x="386" y="2675"/>
                    </a:lnTo>
                    <a:lnTo>
                      <a:pt x="380" y="2666"/>
                    </a:lnTo>
                    <a:lnTo>
                      <a:pt x="384" y="2636"/>
                    </a:lnTo>
                    <a:lnTo>
                      <a:pt x="362" y="2621"/>
                    </a:lnTo>
                    <a:lnTo>
                      <a:pt x="335" y="2600"/>
                    </a:lnTo>
                    <a:lnTo>
                      <a:pt x="326" y="2594"/>
                    </a:lnTo>
                    <a:lnTo>
                      <a:pt x="317" y="2586"/>
                    </a:lnTo>
                    <a:lnTo>
                      <a:pt x="311" y="2570"/>
                    </a:lnTo>
                    <a:lnTo>
                      <a:pt x="308" y="2559"/>
                    </a:lnTo>
                    <a:lnTo>
                      <a:pt x="287" y="2561"/>
                    </a:lnTo>
                    <a:lnTo>
                      <a:pt x="279" y="2574"/>
                    </a:lnTo>
                    <a:lnTo>
                      <a:pt x="275" y="2576"/>
                    </a:lnTo>
                    <a:lnTo>
                      <a:pt x="264" y="2579"/>
                    </a:lnTo>
                    <a:lnTo>
                      <a:pt x="254" y="2582"/>
                    </a:lnTo>
                    <a:lnTo>
                      <a:pt x="249" y="2585"/>
                    </a:lnTo>
                    <a:lnTo>
                      <a:pt x="227" y="2586"/>
                    </a:lnTo>
                    <a:lnTo>
                      <a:pt x="216" y="2585"/>
                    </a:lnTo>
                    <a:lnTo>
                      <a:pt x="207" y="2579"/>
                    </a:lnTo>
                    <a:lnTo>
                      <a:pt x="201" y="2568"/>
                    </a:lnTo>
                    <a:lnTo>
                      <a:pt x="189" y="2567"/>
                    </a:lnTo>
                    <a:lnTo>
                      <a:pt x="185" y="2562"/>
                    </a:lnTo>
                    <a:lnTo>
                      <a:pt x="180" y="2552"/>
                    </a:lnTo>
                    <a:lnTo>
                      <a:pt x="186" y="2541"/>
                    </a:lnTo>
                    <a:lnTo>
                      <a:pt x="186" y="2537"/>
                    </a:lnTo>
                    <a:lnTo>
                      <a:pt x="179" y="2519"/>
                    </a:lnTo>
                    <a:lnTo>
                      <a:pt x="170" y="2510"/>
                    </a:lnTo>
                    <a:lnTo>
                      <a:pt x="161" y="2504"/>
                    </a:lnTo>
                    <a:lnTo>
                      <a:pt x="144" y="2499"/>
                    </a:lnTo>
                    <a:lnTo>
                      <a:pt x="138" y="2493"/>
                    </a:lnTo>
                    <a:lnTo>
                      <a:pt x="140" y="2487"/>
                    </a:lnTo>
                    <a:lnTo>
                      <a:pt x="143" y="2469"/>
                    </a:lnTo>
                    <a:lnTo>
                      <a:pt x="149" y="2460"/>
                    </a:lnTo>
                    <a:lnTo>
                      <a:pt x="158" y="2450"/>
                    </a:lnTo>
                    <a:lnTo>
                      <a:pt x="168" y="2445"/>
                    </a:lnTo>
                    <a:lnTo>
                      <a:pt x="204" y="2442"/>
                    </a:lnTo>
                    <a:lnTo>
                      <a:pt x="213" y="2436"/>
                    </a:lnTo>
                    <a:lnTo>
                      <a:pt x="219" y="2432"/>
                    </a:lnTo>
                    <a:lnTo>
                      <a:pt x="233" y="2429"/>
                    </a:lnTo>
                    <a:lnTo>
                      <a:pt x="236" y="2414"/>
                    </a:lnTo>
                    <a:lnTo>
                      <a:pt x="240" y="2381"/>
                    </a:lnTo>
                    <a:lnTo>
                      <a:pt x="233" y="2363"/>
                    </a:lnTo>
                    <a:lnTo>
                      <a:pt x="209" y="2355"/>
                    </a:lnTo>
                    <a:lnTo>
                      <a:pt x="197" y="2348"/>
                    </a:lnTo>
                    <a:lnTo>
                      <a:pt x="197" y="2327"/>
                    </a:lnTo>
                    <a:lnTo>
                      <a:pt x="203" y="2322"/>
                    </a:lnTo>
                    <a:lnTo>
                      <a:pt x="215" y="2313"/>
                    </a:lnTo>
                    <a:lnTo>
                      <a:pt x="242" y="2328"/>
                    </a:lnTo>
                    <a:lnTo>
                      <a:pt x="249" y="2322"/>
                    </a:lnTo>
                    <a:lnTo>
                      <a:pt x="242" y="2315"/>
                    </a:lnTo>
                    <a:lnTo>
                      <a:pt x="237" y="2301"/>
                    </a:lnTo>
                    <a:lnTo>
                      <a:pt x="236" y="2277"/>
                    </a:lnTo>
                    <a:lnTo>
                      <a:pt x="227" y="2268"/>
                    </a:lnTo>
                    <a:lnTo>
                      <a:pt x="227" y="2256"/>
                    </a:lnTo>
                    <a:lnTo>
                      <a:pt x="231" y="2249"/>
                    </a:lnTo>
                    <a:lnTo>
                      <a:pt x="236" y="2240"/>
                    </a:lnTo>
                    <a:lnTo>
                      <a:pt x="234" y="2232"/>
                    </a:lnTo>
                    <a:lnTo>
                      <a:pt x="230" y="2225"/>
                    </a:lnTo>
                    <a:lnTo>
                      <a:pt x="215" y="2220"/>
                    </a:lnTo>
                    <a:lnTo>
                      <a:pt x="206" y="2210"/>
                    </a:lnTo>
                    <a:lnTo>
                      <a:pt x="207" y="2204"/>
                    </a:lnTo>
                    <a:lnTo>
                      <a:pt x="216" y="2201"/>
                    </a:lnTo>
                    <a:lnTo>
                      <a:pt x="218" y="2196"/>
                    </a:lnTo>
                    <a:lnTo>
                      <a:pt x="209" y="2184"/>
                    </a:lnTo>
                    <a:lnTo>
                      <a:pt x="210" y="2180"/>
                    </a:lnTo>
                    <a:lnTo>
                      <a:pt x="212" y="2160"/>
                    </a:lnTo>
                    <a:lnTo>
                      <a:pt x="207" y="2144"/>
                    </a:lnTo>
                    <a:lnTo>
                      <a:pt x="206" y="2138"/>
                    </a:lnTo>
                    <a:lnTo>
                      <a:pt x="197" y="2136"/>
                    </a:lnTo>
                    <a:lnTo>
                      <a:pt x="191" y="2133"/>
                    </a:lnTo>
                    <a:lnTo>
                      <a:pt x="183" y="2127"/>
                    </a:lnTo>
                    <a:lnTo>
                      <a:pt x="174" y="2130"/>
                    </a:lnTo>
                    <a:lnTo>
                      <a:pt x="170" y="2142"/>
                    </a:lnTo>
                    <a:lnTo>
                      <a:pt x="165" y="2141"/>
                    </a:lnTo>
                    <a:lnTo>
                      <a:pt x="158" y="2129"/>
                    </a:lnTo>
                    <a:lnTo>
                      <a:pt x="158" y="2115"/>
                    </a:lnTo>
                    <a:lnTo>
                      <a:pt x="153" y="2109"/>
                    </a:lnTo>
                    <a:lnTo>
                      <a:pt x="146" y="2115"/>
                    </a:lnTo>
                    <a:lnTo>
                      <a:pt x="140" y="2112"/>
                    </a:lnTo>
                    <a:lnTo>
                      <a:pt x="135" y="2097"/>
                    </a:lnTo>
                    <a:lnTo>
                      <a:pt x="129" y="2093"/>
                    </a:lnTo>
                    <a:lnTo>
                      <a:pt x="122" y="2094"/>
                    </a:lnTo>
                    <a:lnTo>
                      <a:pt x="128" y="2106"/>
                    </a:lnTo>
                    <a:lnTo>
                      <a:pt x="122" y="2112"/>
                    </a:lnTo>
                    <a:lnTo>
                      <a:pt x="113" y="2112"/>
                    </a:lnTo>
                    <a:lnTo>
                      <a:pt x="104" y="2105"/>
                    </a:lnTo>
                    <a:lnTo>
                      <a:pt x="98" y="2102"/>
                    </a:lnTo>
                    <a:lnTo>
                      <a:pt x="89" y="2097"/>
                    </a:lnTo>
                    <a:lnTo>
                      <a:pt x="75" y="2099"/>
                    </a:lnTo>
                    <a:lnTo>
                      <a:pt x="68" y="2093"/>
                    </a:lnTo>
                    <a:lnTo>
                      <a:pt x="45" y="2069"/>
                    </a:lnTo>
                    <a:lnTo>
                      <a:pt x="33" y="2063"/>
                    </a:lnTo>
                    <a:lnTo>
                      <a:pt x="17" y="2063"/>
                    </a:lnTo>
                    <a:lnTo>
                      <a:pt x="26" y="2033"/>
                    </a:lnTo>
                    <a:lnTo>
                      <a:pt x="24" y="2021"/>
                    </a:lnTo>
                    <a:lnTo>
                      <a:pt x="11" y="1997"/>
                    </a:lnTo>
                    <a:lnTo>
                      <a:pt x="8" y="1976"/>
                    </a:lnTo>
                    <a:lnTo>
                      <a:pt x="0" y="1962"/>
                    </a:lnTo>
                    <a:lnTo>
                      <a:pt x="12" y="1953"/>
                    </a:lnTo>
                    <a:lnTo>
                      <a:pt x="15" y="1947"/>
                    </a:lnTo>
                    <a:lnTo>
                      <a:pt x="20" y="1931"/>
                    </a:lnTo>
                    <a:lnTo>
                      <a:pt x="18" y="1920"/>
                    </a:lnTo>
                    <a:lnTo>
                      <a:pt x="27" y="1916"/>
                    </a:lnTo>
                    <a:lnTo>
                      <a:pt x="36" y="1911"/>
                    </a:lnTo>
                    <a:lnTo>
                      <a:pt x="29" y="1895"/>
                    </a:lnTo>
                    <a:lnTo>
                      <a:pt x="32" y="1884"/>
                    </a:lnTo>
                    <a:lnTo>
                      <a:pt x="42" y="1884"/>
                    </a:lnTo>
                    <a:lnTo>
                      <a:pt x="50" y="1868"/>
                    </a:lnTo>
                    <a:lnTo>
                      <a:pt x="53" y="1863"/>
                    </a:lnTo>
                    <a:lnTo>
                      <a:pt x="72" y="1881"/>
                    </a:lnTo>
                    <a:lnTo>
                      <a:pt x="89" y="1881"/>
                    </a:lnTo>
                    <a:lnTo>
                      <a:pt x="101" y="1883"/>
                    </a:lnTo>
                    <a:lnTo>
                      <a:pt x="92" y="1835"/>
                    </a:lnTo>
                    <a:lnTo>
                      <a:pt x="96" y="1829"/>
                    </a:lnTo>
                    <a:lnTo>
                      <a:pt x="105" y="1824"/>
                    </a:lnTo>
                    <a:lnTo>
                      <a:pt x="107" y="1815"/>
                    </a:lnTo>
                    <a:lnTo>
                      <a:pt x="108" y="1797"/>
                    </a:lnTo>
                    <a:lnTo>
                      <a:pt x="120" y="1791"/>
                    </a:lnTo>
                    <a:lnTo>
                      <a:pt x="120" y="1773"/>
                    </a:lnTo>
                    <a:lnTo>
                      <a:pt x="129" y="1770"/>
                    </a:lnTo>
                    <a:lnTo>
                      <a:pt x="131" y="1761"/>
                    </a:lnTo>
                    <a:lnTo>
                      <a:pt x="137" y="1766"/>
                    </a:lnTo>
                    <a:lnTo>
                      <a:pt x="144" y="1784"/>
                    </a:lnTo>
                    <a:lnTo>
                      <a:pt x="155" y="1788"/>
                    </a:lnTo>
                    <a:lnTo>
                      <a:pt x="162" y="1794"/>
                    </a:lnTo>
                    <a:lnTo>
                      <a:pt x="167" y="1809"/>
                    </a:lnTo>
                    <a:lnTo>
                      <a:pt x="168" y="1820"/>
                    </a:lnTo>
                    <a:lnTo>
                      <a:pt x="173" y="1823"/>
                    </a:lnTo>
                    <a:lnTo>
                      <a:pt x="177" y="1815"/>
                    </a:lnTo>
                    <a:lnTo>
                      <a:pt x="182" y="1785"/>
                    </a:lnTo>
                    <a:lnTo>
                      <a:pt x="213" y="1785"/>
                    </a:lnTo>
                    <a:lnTo>
                      <a:pt x="215" y="1794"/>
                    </a:lnTo>
                    <a:lnTo>
                      <a:pt x="218" y="1794"/>
                    </a:lnTo>
                    <a:lnTo>
                      <a:pt x="222" y="1793"/>
                    </a:lnTo>
                    <a:lnTo>
                      <a:pt x="233" y="1800"/>
                    </a:lnTo>
                    <a:lnTo>
                      <a:pt x="243" y="1796"/>
                    </a:lnTo>
                    <a:lnTo>
                      <a:pt x="257" y="1791"/>
                    </a:lnTo>
                    <a:lnTo>
                      <a:pt x="267" y="1782"/>
                    </a:lnTo>
                    <a:lnTo>
                      <a:pt x="273" y="1772"/>
                    </a:lnTo>
                    <a:lnTo>
                      <a:pt x="287" y="1779"/>
                    </a:lnTo>
                    <a:lnTo>
                      <a:pt x="293" y="1794"/>
                    </a:lnTo>
                    <a:lnTo>
                      <a:pt x="302" y="1806"/>
                    </a:lnTo>
                    <a:lnTo>
                      <a:pt x="299" y="1811"/>
                    </a:lnTo>
                    <a:lnTo>
                      <a:pt x="303" y="1820"/>
                    </a:lnTo>
                    <a:lnTo>
                      <a:pt x="309" y="1818"/>
                    </a:lnTo>
                    <a:lnTo>
                      <a:pt x="320" y="1823"/>
                    </a:lnTo>
                    <a:lnTo>
                      <a:pt x="321" y="1818"/>
                    </a:lnTo>
                    <a:lnTo>
                      <a:pt x="330" y="1818"/>
                    </a:lnTo>
                    <a:lnTo>
                      <a:pt x="350" y="1811"/>
                    </a:lnTo>
                    <a:lnTo>
                      <a:pt x="363" y="1802"/>
                    </a:lnTo>
                    <a:lnTo>
                      <a:pt x="372" y="1797"/>
                    </a:lnTo>
                    <a:lnTo>
                      <a:pt x="383" y="1800"/>
                    </a:lnTo>
                    <a:lnTo>
                      <a:pt x="390" y="1817"/>
                    </a:lnTo>
                    <a:lnTo>
                      <a:pt x="398" y="1826"/>
                    </a:lnTo>
                    <a:lnTo>
                      <a:pt x="407" y="1836"/>
                    </a:lnTo>
                    <a:lnTo>
                      <a:pt x="417" y="1833"/>
                    </a:lnTo>
                    <a:lnTo>
                      <a:pt x="420" y="1827"/>
                    </a:lnTo>
                    <a:lnTo>
                      <a:pt x="423" y="1812"/>
                    </a:lnTo>
                    <a:lnTo>
                      <a:pt x="425" y="1806"/>
                    </a:lnTo>
                    <a:lnTo>
                      <a:pt x="423" y="1799"/>
                    </a:lnTo>
                    <a:lnTo>
                      <a:pt x="422" y="1791"/>
                    </a:lnTo>
                    <a:lnTo>
                      <a:pt x="422" y="1779"/>
                    </a:lnTo>
                    <a:lnTo>
                      <a:pt x="434" y="1772"/>
                    </a:lnTo>
                    <a:lnTo>
                      <a:pt x="437" y="1767"/>
                    </a:lnTo>
                    <a:lnTo>
                      <a:pt x="441" y="1757"/>
                    </a:lnTo>
                    <a:lnTo>
                      <a:pt x="447" y="1755"/>
                    </a:lnTo>
                    <a:lnTo>
                      <a:pt x="452" y="1746"/>
                    </a:lnTo>
                    <a:lnTo>
                      <a:pt x="458" y="1755"/>
                    </a:lnTo>
                    <a:lnTo>
                      <a:pt x="468" y="1766"/>
                    </a:lnTo>
                    <a:lnTo>
                      <a:pt x="482" y="1763"/>
                    </a:lnTo>
                    <a:lnTo>
                      <a:pt x="491" y="1763"/>
                    </a:lnTo>
                    <a:lnTo>
                      <a:pt x="530" y="1781"/>
                    </a:lnTo>
                    <a:lnTo>
                      <a:pt x="542" y="1785"/>
                    </a:lnTo>
                    <a:lnTo>
                      <a:pt x="552" y="1790"/>
                    </a:lnTo>
                    <a:lnTo>
                      <a:pt x="566" y="1790"/>
                    </a:lnTo>
                    <a:lnTo>
                      <a:pt x="570" y="1785"/>
                    </a:lnTo>
                    <a:lnTo>
                      <a:pt x="584" y="1776"/>
                    </a:lnTo>
                    <a:lnTo>
                      <a:pt x="602" y="1778"/>
                    </a:lnTo>
                    <a:lnTo>
                      <a:pt x="614" y="1773"/>
                    </a:lnTo>
                    <a:lnTo>
                      <a:pt x="623" y="1772"/>
                    </a:lnTo>
                    <a:lnTo>
                      <a:pt x="635" y="1770"/>
                    </a:lnTo>
                    <a:lnTo>
                      <a:pt x="638" y="1772"/>
                    </a:lnTo>
                    <a:lnTo>
                      <a:pt x="639" y="1781"/>
                    </a:lnTo>
                    <a:lnTo>
                      <a:pt x="648" y="1781"/>
                    </a:lnTo>
                    <a:lnTo>
                      <a:pt x="651" y="1784"/>
                    </a:lnTo>
                    <a:lnTo>
                      <a:pt x="665" y="1788"/>
                    </a:lnTo>
                    <a:lnTo>
                      <a:pt x="677" y="1787"/>
                    </a:lnTo>
                    <a:lnTo>
                      <a:pt x="689" y="1788"/>
                    </a:lnTo>
                    <a:lnTo>
                      <a:pt x="693" y="1790"/>
                    </a:lnTo>
                    <a:lnTo>
                      <a:pt x="705" y="1785"/>
                    </a:lnTo>
                    <a:lnTo>
                      <a:pt x="728" y="1773"/>
                    </a:lnTo>
                    <a:lnTo>
                      <a:pt x="755" y="1752"/>
                    </a:lnTo>
                    <a:lnTo>
                      <a:pt x="761" y="1743"/>
                    </a:lnTo>
                    <a:lnTo>
                      <a:pt x="761" y="1736"/>
                    </a:lnTo>
                    <a:lnTo>
                      <a:pt x="764" y="1733"/>
                    </a:lnTo>
                    <a:lnTo>
                      <a:pt x="768" y="1734"/>
                    </a:lnTo>
                    <a:lnTo>
                      <a:pt x="773" y="1742"/>
                    </a:lnTo>
                    <a:lnTo>
                      <a:pt x="779" y="1743"/>
                    </a:lnTo>
                    <a:lnTo>
                      <a:pt x="783" y="1737"/>
                    </a:lnTo>
                    <a:lnTo>
                      <a:pt x="783" y="1733"/>
                    </a:lnTo>
                    <a:lnTo>
                      <a:pt x="779" y="1727"/>
                    </a:lnTo>
                    <a:lnTo>
                      <a:pt x="779" y="1707"/>
                    </a:lnTo>
                    <a:lnTo>
                      <a:pt x="774" y="1686"/>
                    </a:lnTo>
                    <a:lnTo>
                      <a:pt x="783" y="1679"/>
                    </a:lnTo>
                    <a:lnTo>
                      <a:pt x="783" y="1667"/>
                    </a:lnTo>
                    <a:lnTo>
                      <a:pt x="774" y="1665"/>
                    </a:lnTo>
                    <a:lnTo>
                      <a:pt x="758" y="1646"/>
                    </a:lnTo>
                    <a:lnTo>
                      <a:pt x="744" y="1626"/>
                    </a:lnTo>
                    <a:lnTo>
                      <a:pt x="746" y="1613"/>
                    </a:lnTo>
                    <a:lnTo>
                      <a:pt x="750" y="1596"/>
                    </a:lnTo>
                    <a:lnTo>
                      <a:pt x="746" y="1589"/>
                    </a:lnTo>
                    <a:lnTo>
                      <a:pt x="740" y="1577"/>
                    </a:lnTo>
                    <a:lnTo>
                      <a:pt x="752" y="1550"/>
                    </a:lnTo>
                    <a:lnTo>
                      <a:pt x="759" y="1515"/>
                    </a:lnTo>
                    <a:lnTo>
                      <a:pt x="765" y="1515"/>
                    </a:lnTo>
                    <a:lnTo>
                      <a:pt x="768" y="1520"/>
                    </a:lnTo>
                    <a:lnTo>
                      <a:pt x="773" y="1523"/>
                    </a:lnTo>
                    <a:lnTo>
                      <a:pt x="789" y="1518"/>
                    </a:lnTo>
                    <a:lnTo>
                      <a:pt x="822" y="1530"/>
                    </a:lnTo>
                    <a:lnTo>
                      <a:pt x="836" y="1544"/>
                    </a:lnTo>
                    <a:lnTo>
                      <a:pt x="846" y="1560"/>
                    </a:lnTo>
                    <a:lnTo>
                      <a:pt x="876" y="1548"/>
                    </a:lnTo>
                    <a:lnTo>
                      <a:pt x="882" y="1542"/>
                    </a:lnTo>
                    <a:lnTo>
                      <a:pt x="893" y="1533"/>
                    </a:lnTo>
                    <a:lnTo>
                      <a:pt x="900" y="1533"/>
                    </a:lnTo>
                    <a:lnTo>
                      <a:pt x="909" y="1530"/>
                    </a:lnTo>
                    <a:lnTo>
                      <a:pt x="923" y="1529"/>
                    </a:lnTo>
                    <a:lnTo>
                      <a:pt x="933" y="1527"/>
                    </a:lnTo>
                    <a:lnTo>
                      <a:pt x="942" y="1517"/>
                    </a:lnTo>
                    <a:lnTo>
                      <a:pt x="947" y="1511"/>
                    </a:lnTo>
                    <a:lnTo>
                      <a:pt x="954" y="1514"/>
                    </a:lnTo>
                    <a:lnTo>
                      <a:pt x="965" y="1515"/>
                    </a:lnTo>
                    <a:lnTo>
                      <a:pt x="968" y="1512"/>
                    </a:lnTo>
                    <a:lnTo>
                      <a:pt x="974" y="1503"/>
                    </a:lnTo>
                    <a:lnTo>
                      <a:pt x="974" y="1482"/>
                    </a:lnTo>
                    <a:lnTo>
                      <a:pt x="978" y="1473"/>
                    </a:lnTo>
                    <a:lnTo>
                      <a:pt x="986" y="1473"/>
                    </a:lnTo>
                    <a:lnTo>
                      <a:pt x="993" y="1472"/>
                    </a:lnTo>
                    <a:lnTo>
                      <a:pt x="1004" y="1464"/>
                    </a:lnTo>
                    <a:lnTo>
                      <a:pt x="1014" y="1457"/>
                    </a:lnTo>
                    <a:lnTo>
                      <a:pt x="1031" y="1455"/>
                    </a:lnTo>
                    <a:lnTo>
                      <a:pt x="1043" y="1460"/>
                    </a:lnTo>
                    <a:lnTo>
                      <a:pt x="1056" y="1470"/>
                    </a:lnTo>
                    <a:lnTo>
                      <a:pt x="1062" y="1472"/>
                    </a:lnTo>
                    <a:lnTo>
                      <a:pt x="1071" y="1466"/>
                    </a:lnTo>
                    <a:lnTo>
                      <a:pt x="1083" y="1470"/>
                    </a:lnTo>
                    <a:lnTo>
                      <a:pt x="1085" y="1461"/>
                    </a:lnTo>
                    <a:lnTo>
                      <a:pt x="1092" y="1454"/>
                    </a:lnTo>
                    <a:lnTo>
                      <a:pt x="1082" y="1448"/>
                    </a:lnTo>
                    <a:lnTo>
                      <a:pt x="1079" y="1442"/>
                    </a:lnTo>
                    <a:lnTo>
                      <a:pt x="1082" y="1433"/>
                    </a:lnTo>
                    <a:lnTo>
                      <a:pt x="1079" y="1428"/>
                    </a:lnTo>
                    <a:lnTo>
                      <a:pt x="1083" y="1419"/>
                    </a:lnTo>
                    <a:lnTo>
                      <a:pt x="1079" y="1410"/>
                    </a:lnTo>
                    <a:lnTo>
                      <a:pt x="1083" y="1401"/>
                    </a:lnTo>
                    <a:lnTo>
                      <a:pt x="1089" y="1400"/>
                    </a:lnTo>
                    <a:lnTo>
                      <a:pt x="1095" y="1385"/>
                    </a:lnTo>
                    <a:lnTo>
                      <a:pt x="1083" y="1371"/>
                    </a:lnTo>
                    <a:lnTo>
                      <a:pt x="1080" y="1358"/>
                    </a:lnTo>
                    <a:lnTo>
                      <a:pt x="1077" y="1349"/>
                    </a:lnTo>
                    <a:lnTo>
                      <a:pt x="1074" y="1349"/>
                    </a:lnTo>
                    <a:lnTo>
                      <a:pt x="1077" y="1340"/>
                    </a:lnTo>
                    <a:lnTo>
                      <a:pt x="1088" y="1334"/>
                    </a:lnTo>
                    <a:lnTo>
                      <a:pt x="1082" y="1326"/>
                    </a:lnTo>
                    <a:lnTo>
                      <a:pt x="1083" y="1314"/>
                    </a:lnTo>
                    <a:lnTo>
                      <a:pt x="1088" y="1308"/>
                    </a:lnTo>
                    <a:lnTo>
                      <a:pt x="1103" y="1307"/>
                    </a:lnTo>
                    <a:lnTo>
                      <a:pt x="1118" y="1311"/>
                    </a:lnTo>
                    <a:lnTo>
                      <a:pt x="1128" y="1320"/>
                    </a:lnTo>
                    <a:lnTo>
                      <a:pt x="1136" y="1326"/>
                    </a:lnTo>
                    <a:lnTo>
                      <a:pt x="1140" y="1329"/>
                    </a:lnTo>
                    <a:lnTo>
                      <a:pt x="1154" y="1329"/>
                    </a:lnTo>
                    <a:lnTo>
                      <a:pt x="1161" y="1329"/>
                    </a:lnTo>
                    <a:lnTo>
                      <a:pt x="1173" y="1332"/>
                    </a:lnTo>
                    <a:lnTo>
                      <a:pt x="1187" y="1334"/>
                    </a:lnTo>
                    <a:lnTo>
                      <a:pt x="1196" y="1332"/>
                    </a:lnTo>
                    <a:lnTo>
                      <a:pt x="1209" y="1332"/>
                    </a:lnTo>
                    <a:lnTo>
                      <a:pt x="1218" y="1323"/>
                    </a:lnTo>
                    <a:lnTo>
                      <a:pt x="1227" y="1319"/>
                    </a:lnTo>
                    <a:lnTo>
                      <a:pt x="1233" y="1316"/>
                    </a:lnTo>
                    <a:lnTo>
                      <a:pt x="1236" y="1307"/>
                    </a:lnTo>
                    <a:lnTo>
                      <a:pt x="1238" y="1299"/>
                    </a:lnTo>
                    <a:lnTo>
                      <a:pt x="1229" y="1289"/>
                    </a:lnTo>
                    <a:lnTo>
                      <a:pt x="1224" y="1281"/>
                    </a:lnTo>
                    <a:lnTo>
                      <a:pt x="1229" y="1269"/>
                    </a:lnTo>
                    <a:lnTo>
                      <a:pt x="1232" y="1262"/>
                    </a:lnTo>
                    <a:lnTo>
                      <a:pt x="1244" y="1260"/>
                    </a:lnTo>
                    <a:lnTo>
                      <a:pt x="1245" y="1251"/>
                    </a:lnTo>
                    <a:lnTo>
                      <a:pt x="1247" y="1247"/>
                    </a:lnTo>
                    <a:lnTo>
                      <a:pt x="1253" y="1238"/>
                    </a:lnTo>
                    <a:lnTo>
                      <a:pt x="1257" y="1238"/>
                    </a:lnTo>
                    <a:lnTo>
                      <a:pt x="1260" y="1242"/>
                    </a:lnTo>
                    <a:lnTo>
                      <a:pt x="1266" y="1242"/>
                    </a:lnTo>
                    <a:lnTo>
                      <a:pt x="1272" y="1241"/>
                    </a:lnTo>
                    <a:lnTo>
                      <a:pt x="1287" y="1242"/>
                    </a:lnTo>
                    <a:lnTo>
                      <a:pt x="1293" y="1245"/>
                    </a:lnTo>
                    <a:lnTo>
                      <a:pt x="1301" y="1244"/>
                    </a:lnTo>
                    <a:lnTo>
                      <a:pt x="1308" y="1241"/>
                    </a:lnTo>
                    <a:lnTo>
                      <a:pt x="1308" y="1238"/>
                    </a:lnTo>
                    <a:lnTo>
                      <a:pt x="1307" y="1232"/>
                    </a:lnTo>
                    <a:lnTo>
                      <a:pt x="1310" y="1223"/>
                    </a:lnTo>
                    <a:lnTo>
                      <a:pt x="1319" y="1221"/>
                    </a:lnTo>
                    <a:lnTo>
                      <a:pt x="1320" y="1214"/>
                    </a:lnTo>
                    <a:lnTo>
                      <a:pt x="1316" y="1199"/>
                    </a:lnTo>
                    <a:lnTo>
                      <a:pt x="1313" y="1188"/>
                    </a:lnTo>
                    <a:lnTo>
                      <a:pt x="1319" y="1176"/>
                    </a:lnTo>
                    <a:lnTo>
                      <a:pt x="1334" y="1167"/>
                    </a:lnTo>
                    <a:lnTo>
                      <a:pt x="1332" y="1157"/>
                    </a:lnTo>
                    <a:lnTo>
                      <a:pt x="1356" y="1154"/>
                    </a:lnTo>
                    <a:lnTo>
                      <a:pt x="1361" y="1142"/>
                    </a:lnTo>
                    <a:lnTo>
                      <a:pt x="1368" y="1128"/>
                    </a:lnTo>
                    <a:lnTo>
                      <a:pt x="1386" y="1118"/>
                    </a:lnTo>
                    <a:lnTo>
                      <a:pt x="1392" y="1106"/>
                    </a:lnTo>
                    <a:lnTo>
                      <a:pt x="1391" y="1092"/>
                    </a:lnTo>
                    <a:lnTo>
                      <a:pt x="1385" y="1089"/>
                    </a:lnTo>
                    <a:lnTo>
                      <a:pt x="1376" y="1080"/>
                    </a:lnTo>
                    <a:lnTo>
                      <a:pt x="1364" y="1074"/>
                    </a:lnTo>
                    <a:lnTo>
                      <a:pt x="1355" y="1073"/>
                    </a:lnTo>
                    <a:lnTo>
                      <a:pt x="1350" y="1068"/>
                    </a:lnTo>
                    <a:lnTo>
                      <a:pt x="1347" y="1064"/>
                    </a:lnTo>
                    <a:lnTo>
                      <a:pt x="1344" y="1056"/>
                    </a:lnTo>
                    <a:lnTo>
                      <a:pt x="1338" y="1055"/>
                    </a:lnTo>
                    <a:lnTo>
                      <a:pt x="1334" y="1056"/>
                    </a:lnTo>
                    <a:lnTo>
                      <a:pt x="1329" y="1061"/>
                    </a:lnTo>
                    <a:lnTo>
                      <a:pt x="1326" y="1055"/>
                    </a:lnTo>
                    <a:lnTo>
                      <a:pt x="1320" y="1059"/>
                    </a:lnTo>
                    <a:lnTo>
                      <a:pt x="1311" y="1064"/>
                    </a:lnTo>
                    <a:lnTo>
                      <a:pt x="1308" y="1059"/>
                    </a:lnTo>
                    <a:lnTo>
                      <a:pt x="1299" y="1047"/>
                    </a:lnTo>
                    <a:lnTo>
                      <a:pt x="1298" y="1037"/>
                    </a:lnTo>
                    <a:lnTo>
                      <a:pt x="1293" y="1029"/>
                    </a:lnTo>
                    <a:lnTo>
                      <a:pt x="1286" y="1031"/>
                    </a:lnTo>
                    <a:lnTo>
                      <a:pt x="1281" y="1043"/>
                    </a:lnTo>
                    <a:lnTo>
                      <a:pt x="1269" y="1040"/>
                    </a:lnTo>
                    <a:lnTo>
                      <a:pt x="1253" y="1026"/>
                    </a:lnTo>
                    <a:lnTo>
                      <a:pt x="1254" y="1019"/>
                    </a:lnTo>
                    <a:lnTo>
                      <a:pt x="1247" y="1017"/>
                    </a:lnTo>
                    <a:lnTo>
                      <a:pt x="1244" y="1011"/>
                    </a:lnTo>
                    <a:lnTo>
                      <a:pt x="1251" y="1010"/>
                    </a:lnTo>
                    <a:lnTo>
                      <a:pt x="1260" y="999"/>
                    </a:lnTo>
                    <a:lnTo>
                      <a:pt x="1278" y="999"/>
                    </a:lnTo>
                    <a:lnTo>
                      <a:pt x="1292" y="992"/>
                    </a:lnTo>
                    <a:lnTo>
                      <a:pt x="1287" y="969"/>
                    </a:lnTo>
                    <a:lnTo>
                      <a:pt x="1290" y="960"/>
                    </a:lnTo>
                    <a:lnTo>
                      <a:pt x="1298" y="953"/>
                    </a:lnTo>
                    <a:lnTo>
                      <a:pt x="1301" y="936"/>
                    </a:lnTo>
                    <a:lnTo>
                      <a:pt x="1305" y="936"/>
                    </a:lnTo>
                    <a:lnTo>
                      <a:pt x="1316" y="927"/>
                    </a:lnTo>
                    <a:lnTo>
                      <a:pt x="1328" y="926"/>
                    </a:lnTo>
                    <a:lnTo>
                      <a:pt x="1331" y="920"/>
                    </a:lnTo>
                    <a:lnTo>
                      <a:pt x="1325" y="905"/>
                    </a:lnTo>
                    <a:lnTo>
                      <a:pt x="1319" y="896"/>
                    </a:lnTo>
                    <a:lnTo>
                      <a:pt x="1322" y="888"/>
                    </a:lnTo>
                    <a:lnTo>
                      <a:pt x="1308" y="890"/>
                    </a:lnTo>
                    <a:lnTo>
                      <a:pt x="1301" y="884"/>
                    </a:lnTo>
                    <a:lnTo>
                      <a:pt x="1284" y="891"/>
                    </a:lnTo>
                    <a:lnTo>
                      <a:pt x="1280" y="885"/>
                    </a:lnTo>
                    <a:lnTo>
                      <a:pt x="1268" y="882"/>
                    </a:lnTo>
                    <a:lnTo>
                      <a:pt x="1263" y="888"/>
                    </a:lnTo>
                    <a:lnTo>
                      <a:pt x="1245" y="887"/>
                    </a:lnTo>
                    <a:lnTo>
                      <a:pt x="1238" y="894"/>
                    </a:lnTo>
                    <a:lnTo>
                      <a:pt x="1224" y="899"/>
                    </a:lnTo>
                    <a:lnTo>
                      <a:pt x="1197" y="899"/>
                    </a:lnTo>
                    <a:lnTo>
                      <a:pt x="1197" y="897"/>
                    </a:lnTo>
                    <a:lnTo>
                      <a:pt x="1209" y="879"/>
                    </a:lnTo>
                    <a:lnTo>
                      <a:pt x="1209" y="867"/>
                    </a:lnTo>
                    <a:lnTo>
                      <a:pt x="1214" y="854"/>
                    </a:lnTo>
                    <a:lnTo>
                      <a:pt x="1199" y="846"/>
                    </a:lnTo>
                    <a:lnTo>
                      <a:pt x="1190" y="840"/>
                    </a:lnTo>
                    <a:lnTo>
                      <a:pt x="1184" y="834"/>
                    </a:lnTo>
                    <a:lnTo>
                      <a:pt x="1175" y="839"/>
                    </a:lnTo>
                    <a:lnTo>
                      <a:pt x="1163" y="836"/>
                    </a:lnTo>
                    <a:lnTo>
                      <a:pt x="1158" y="828"/>
                    </a:lnTo>
                    <a:lnTo>
                      <a:pt x="1161" y="819"/>
                    </a:lnTo>
                    <a:lnTo>
                      <a:pt x="1157" y="812"/>
                    </a:lnTo>
                    <a:lnTo>
                      <a:pt x="1157" y="803"/>
                    </a:lnTo>
                    <a:lnTo>
                      <a:pt x="1154" y="800"/>
                    </a:lnTo>
                    <a:lnTo>
                      <a:pt x="1152" y="798"/>
                    </a:lnTo>
                    <a:lnTo>
                      <a:pt x="1146" y="813"/>
                    </a:lnTo>
                    <a:lnTo>
                      <a:pt x="1137" y="818"/>
                    </a:lnTo>
                    <a:lnTo>
                      <a:pt x="1131" y="813"/>
                    </a:lnTo>
                    <a:lnTo>
                      <a:pt x="1134" y="795"/>
                    </a:lnTo>
                    <a:lnTo>
                      <a:pt x="1136" y="789"/>
                    </a:lnTo>
                    <a:lnTo>
                      <a:pt x="1148" y="774"/>
                    </a:lnTo>
                    <a:lnTo>
                      <a:pt x="1158" y="761"/>
                    </a:lnTo>
                    <a:lnTo>
                      <a:pt x="1155" y="756"/>
                    </a:lnTo>
                    <a:lnTo>
                      <a:pt x="1149" y="753"/>
                    </a:lnTo>
                    <a:lnTo>
                      <a:pt x="1157" y="738"/>
                    </a:lnTo>
                    <a:lnTo>
                      <a:pt x="1154" y="735"/>
                    </a:lnTo>
                    <a:lnTo>
                      <a:pt x="1140" y="740"/>
                    </a:lnTo>
                    <a:lnTo>
                      <a:pt x="1137" y="723"/>
                    </a:lnTo>
                    <a:lnTo>
                      <a:pt x="1137" y="705"/>
                    </a:lnTo>
                    <a:lnTo>
                      <a:pt x="1131" y="699"/>
                    </a:lnTo>
                    <a:lnTo>
                      <a:pt x="1128" y="693"/>
                    </a:lnTo>
                    <a:lnTo>
                      <a:pt x="1131" y="692"/>
                    </a:lnTo>
                    <a:lnTo>
                      <a:pt x="1133" y="684"/>
                    </a:lnTo>
                    <a:lnTo>
                      <a:pt x="1131" y="678"/>
                    </a:lnTo>
                    <a:lnTo>
                      <a:pt x="1128" y="674"/>
                    </a:lnTo>
                    <a:lnTo>
                      <a:pt x="1131" y="671"/>
                    </a:lnTo>
                    <a:lnTo>
                      <a:pt x="1142" y="666"/>
                    </a:lnTo>
                    <a:lnTo>
                      <a:pt x="1145" y="665"/>
                    </a:lnTo>
                    <a:lnTo>
                      <a:pt x="1145" y="656"/>
                    </a:lnTo>
                    <a:lnTo>
                      <a:pt x="1145" y="648"/>
                    </a:lnTo>
                    <a:lnTo>
                      <a:pt x="1142" y="644"/>
                    </a:lnTo>
                    <a:lnTo>
                      <a:pt x="1137" y="641"/>
                    </a:lnTo>
                    <a:lnTo>
                      <a:pt x="1139" y="638"/>
                    </a:lnTo>
                    <a:lnTo>
                      <a:pt x="1142" y="632"/>
                    </a:lnTo>
                    <a:lnTo>
                      <a:pt x="1146" y="629"/>
                    </a:lnTo>
                    <a:lnTo>
                      <a:pt x="1148" y="620"/>
                    </a:lnTo>
                    <a:lnTo>
                      <a:pt x="1148" y="612"/>
                    </a:lnTo>
                    <a:lnTo>
                      <a:pt x="1143" y="609"/>
                    </a:lnTo>
                    <a:lnTo>
                      <a:pt x="1143" y="605"/>
                    </a:lnTo>
                    <a:lnTo>
                      <a:pt x="1143" y="600"/>
                    </a:lnTo>
                    <a:lnTo>
                      <a:pt x="1140" y="591"/>
                    </a:lnTo>
                    <a:lnTo>
                      <a:pt x="1134" y="593"/>
                    </a:lnTo>
                    <a:lnTo>
                      <a:pt x="1133" y="587"/>
                    </a:lnTo>
                    <a:lnTo>
                      <a:pt x="1127" y="572"/>
                    </a:lnTo>
                    <a:lnTo>
                      <a:pt x="1115" y="564"/>
                    </a:lnTo>
                    <a:lnTo>
                      <a:pt x="1091" y="543"/>
                    </a:lnTo>
                    <a:lnTo>
                      <a:pt x="1092" y="533"/>
                    </a:lnTo>
                    <a:lnTo>
                      <a:pt x="1095" y="521"/>
                    </a:lnTo>
                    <a:lnTo>
                      <a:pt x="1095" y="500"/>
                    </a:lnTo>
                    <a:lnTo>
                      <a:pt x="1100" y="483"/>
                    </a:lnTo>
                    <a:lnTo>
                      <a:pt x="1103" y="474"/>
                    </a:lnTo>
                    <a:lnTo>
                      <a:pt x="1097" y="464"/>
                    </a:lnTo>
                    <a:lnTo>
                      <a:pt x="1094" y="458"/>
                    </a:lnTo>
                    <a:lnTo>
                      <a:pt x="1082" y="449"/>
                    </a:lnTo>
                    <a:lnTo>
                      <a:pt x="1067" y="432"/>
                    </a:lnTo>
                    <a:lnTo>
                      <a:pt x="1059" y="426"/>
                    </a:lnTo>
                    <a:lnTo>
                      <a:pt x="1047" y="407"/>
                    </a:lnTo>
                    <a:lnTo>
                      <a:pt x="1029" y="384"/>
                    </a:lnTo>
                    <a:lnTo>
                      <a:pt x="1026" y="362"/>
                    </a:lnTo>
                    <a:lnTo>
                      <a:pt x="1026" y="353"/>
                    </a:lnTo>
                    <a:lnTo>
                      <a:pt x="1038" y="318"/>
                    </a:lnTo>
                    <a:lnTo>
                      <a:pt x="1050" y="296"/>
                    </a:lnTo>
                    <a:lnTo>
                      <a:pt x="1059" y="294"/>
                    </a:lnTo>
                    <a:lnTo>
                      <a:pt x="1067" y="290"/>
                    </a:lnTo>
                    <a:lnTo>
                      <a:pt x="1064" y="281"/>
                    </a:lnTo>
                    <a:lnTo>
                      <a:pt x="1059" y="275"/>
                    </a:lnTo>
                    <a:lnTo>
                      <a:pt x="1062" y="263"/>
                    </a:lnTo>
                    <a:lnTo>
                      <a:pt x="1062" y="248"/>
                    </a:lnTo>
                    <a:lnTo>
                      <a:pt x="1070" y="237"/>
                    </a:lnTo>
                    <a:lnTo>
                      <a:pt x="1070" y="230"/>
                    </a:lnTo>
                    <a:lnTo>
                      <a:pt x="1070" y="207"/>
                    </a:lnTo>
                    <a:lnTo>
                      <a:pt x="1074" y="189"/>
                    </a:lnTo>
                    <a:lnTo>
                      <a:pt x="1079" y="179"/>
                    </a:lnTo>
                    <a:lnTo>
                      <a:pt x="1092" y="170"/>
                    </a:lnTo>
                    <a:lnTo>
                      <a:pt x="1095" y="161"/>
                    </a:lnTo>
                    <a:lnTo>
                      <a:pt x="1098" y="158"/>
                    </a:lnTo>
                    <a:lnTo>
                      <a:pt x="1113" y="161"/>
                    </a:lnTo>
                    <a:lnTo>
                      <a:pt x="1116" y="156"/>
                    </a:lnTo>
                    <a:lnTo>
                      <a:pt x="1116" y="141"/>
                    </a:lnTo>
                    <a:lnTo>
                      <a:pt x="1124" y="125"/>
                    </a:lnTo>
                    <a:lnTo>
                      <a:pt x="1124" y="102"/>
                    </a:lnTo>
                    <a:lnTo>
                      <a:pt x="1137" y="92"/>
                    </a:lnTo>
                    <a:lnTo>
                      <a:pt x="1142" y="78"/>
                    </a:lnTo>
                    <a:lnTo>
                      <a:pt x="1146" y="77"/>
                    </a:lnTo>
                    <a:lnTo>
                      <a:pt x="1154" y="84"/>
                    </a:lnTo>
                    <a:lnTo>
                      <a:pt x="1163" y="93"/>
                    </a:lnTo>
                    <a:lnTo>
                      <a:pt x="1175" y="117"/>
                    </a:lnTo>
                    <a:lnTo>
                      <a:pt x="1181" y="125"/>
                    </a:lnTo>
                    <a:lnTo>
                      <a:pt x="1190" y="111"/>
                    </a:lnTo>
                    <a:lnTo>
                      <a:pt x="1203" y="108"/>
                    </a:lnTo>
                    <a:lnTo>
                      <a:pt x="1217" y="102"/>
                    </a:lnTo>
                    <a:lnTo>
                      <a:pt x="1223" y="98"/>
                    </a:lnTo>
                    <a:lnTo>
                      <a:pt x="1224" y="81"/>
                    </a:lnTo>
                    <a:lnTo>
                      <a:pt x="1223" y="68"/>
                    </a:lnTo>
                    <a:lnTo>
                      <a:pt x="1227" y="56"/>
                    </a:lnTo>
                    <a:lnTo>
                      <a:pt x="1226" y="42"/>
                    </a:lnTo>
                    <a:lnTo>
                      <a:pt x="1235" y="32"/>
                    </a:lnTo>
                    <a:lnTo>
                      <a:pt x="1244" y="30"/>
                    </a:lnTo>
                    <a:lnTo>
                      <a:pt x="1245" y="41"/>
                    </a:lnTo>
                    <a:lnTo>
                      <a:pt x="1250" y="50"/>
                    </a:lnTo>
                    <a:lnTo>
                      <a:pt x="1256" y="53"/>
                    </a:lnTo>
                    <a:lnTo>
                      <a:pt x="1266" y="51"/>
                    </a:lnTo>
                    <a:lnTo>
                      <a:pt x="1271" y="42"/>
                    </a:lnTo>
                    <a:lnTo>
                      <a:pt x="1283" y="36"/>
                    </a:lnTo>
                    <a:lnTo>
                      <a:pt x="1293" y="23"/>
                    </a:lnTo>
                    <a:lnTo>
                      <a:pt x="1305" y="15"/>
                    </a:lnTo>
                    <a:lnTo>
                      <a:pt x="1314" y="14"/>
                    </a:lnTo>
                    <a:lnTo>
                      <a:pt x="1325" y="0"/>
                    </a:lnTo>
                    <a:lnTo>
                      <a:pt x="1331" y="0"/>
                    </a:lnTo>
                    <a:lnTo>
                      <a:pt x="1335" y="5"/>
                    </a:lnTo>
                    <a:lnTo>
                      <a:pt x="1337" y="15"/>
                    </a:lnTo>
                    <a:lnTo>
                      <a:pt x="1343" y="15"/>
                    </a:lnTo>
                    <a:lnTo>
                      <a:pt x="1347" y="12"/>
                    </a:lnTo>
                    <a:lnTo>
                      <a:pt x="1365" y="20"/>
                    </a:lnTo>
                    <a:lnTo>
                      <a:pt x="1365" y="26"/>
                    </a:lnTo>
                    <a:lnTo>
                      <a:pt x="1367" y="50"/>
                    </a:lnTo>
                    <a:lnTo>
                      <a:pt x="1367" y="71"/>
                    </a:lnTo>
                    <a:lnTo>
                      <a:pt x="1380" y="102"/>
                    </a:lnTo>
                    <a:lnTo>
                      <a:pt x="1383" y="116"/>
                    </a:lnTo>
                    <a:lnTo>
                      <a:pt x="1383" y="129"/>
                    </a:lnTo>
                    <a:lnTo>
                      <a:pt x="1394" y="150"/>
                    </a:lnTo>
                    <a:lnTo>
                      <a:pt x="1395" y="159"/>
                    </a:lnTo>
                    <a:lnTo>
                      <a:pt x="1407" y="170"/>
                    </a:lnTo>
                    <a:lnTo>
                      <a:pt x="1410" y="176"/>
                    </a:lnTo>
                    <a:lnTo>
                      <a:pt x="1416" y="180"/>
                    </a:lnTo>
                    <a:lnTo>
                      <a:pt x="1421" y="179"/>
                    </a:lnTo>
                    <a:lnTo>
                      <a:pt x="1428" y="168"/>
                    </a:lnTo>
                    <a:lnTo>
                      <a:pt x="1434" y="161"/>
                    </a:lnTo>
                    <a:lnTo>
                      <a:pt x="1446" y="158"/>
                    </a:lnTo>
                    <a:lnTo>
                      <a:pt x="1469" y="161"/>
                    </a:lnTo>
                    <a:lnTo>
                      <a:pt x="1475" y="162"/>
                    </a:lnTo>
                    <a:lnTo>
                      <a:pt x="1479" y="155"/>
                    </a:lnTo>
                    <a:lnTo>
                      <a:pt x="1485" y="152"/>
                    </a:lnTo>
                    <a:lnTo>
                      <a:pt x="1490" y="153"/>
                    </a:lnTo>
                    <a:lnTo>
                      <a:pt x="1493" y="159"/>
                    </a:lnTo>
                    <a:lnTo>
                      <a:pt x="1497" y="162"/>
                    </a:lnTo>
                    <a:lnTo>
                      <a:pt x="1506" y="153"/>
                    </a:lnTo>
                    <a:lnTo>
                      <a:pt x="1502" y="137"/>
                    </a:lnTo>
                    <a:lnTo>
                      <a:pt x="1505" y="125"/>
                    </a:lnTo>
                    <a:lnTo>
                      <a:pt x="1511" y="102"/>
                    </a:lnTo>
                    <a:lnTo>
                      <a:pt x="1518" y="102"/>
                    </a:lnTo>
                    <a:lnTo>
                      <a:pt x="1535" y="99"/>
                    </a:lnTo>
                    <a:lnTo>
                      <a:pt x="1551" y="102"/>
                    </a:lnTo>
                    <a:lnTo>
                      <a:pt x="1566" y="110"/>
                    </a:lnTo>
                    <a:lnTo>
                      <a:pt x="1571" y="131"/>
                    </a:lnTo>
                    <a:lnTo>
                      <a:pt x="1572" y="138"/>
                    </a:lnTo>
                    <a:lnTo>
                      <a:pt x="1565" y="152"/>
                    </a:lnTo>
                    <a:lnTo>
                      <a:pt x="1569" y="158"/>
                    </a:lnTo>
                    <a:lnTo>
                      <a:pt x="1577" y="159"/>
                    </a:lnTo>
                    <a:lnTo>
                      <a:pt x="1592" y="153"/>
                    </a:lnTo>
                    <a:lnTo>
                      <a:pt x="1598" y="153"/>
                    </a:lnTo>
                    <a:lnTo>
                      <a:pt x="1616" y="161"/>
                    </a:lnTo>
                    <a:lnTo>
                      <a:pt x="1629" y="167"/>
                    </a:lnTo>
                    <a:lnTo>
                      <a:pt x="1635" y="176"/>
                    </a:lnTo>
                    <a:lnTo>
                      <a:pt x="1637" y="188"/>
                    </a:lnTo>
                    <a:lnTo>
                      <a:pt x="1641" y="192"/>
                    </a:lnTo>
                    <a:lnTo>
                      <a:pt x="1653" y="198"/>
                    </a:lnTo>
                    <a:lnTo>
                      <a:pt x="1662" y="207"/>
                    </a:lnTo>
                    <a:lnTo>
                      <a:pt x="1668" y="216"/>
                    </a:lnTo>
                    <a:lnTo>
                      <a:pt x="1668" y="233"/>
                    </a:lnTo>
                    <a:lnTo>
                      <a:pt x="1673" y="234"/>
                    </a:lnTo>
                    <a:lnTo>
                      <a:pt x="1676" y="231"/>
                    </a:lnTo>
                    <a:lnTo>
                      <a:pt x="1683" y="222"/>
                    </a:lnTo>
                    <a:lnTo>
                      <a:pt x="1691" y="219"/>
                    </a:lnTo>
                    <a:lnTo>
                      <a:pt x="1700" y="216"/>
                    </a:lnTo>
                    <a:lnTo>
                      <a:pt x="1701" y="227"/>
                    </a:lnTo>
                    <a:lnTo>
                      <a:pt x="1700" y="237"/>
                    </a:lnTo>
                    <a:lnTo>
                      <a:pt x="1700" y="242"/>
                    </a:lnTo>
                    <a:lnTo>
                      <a:pt x="1703" y="248"/>
                    </a:lnTo>
                    <a:lnTo>
                      <a:pt x="1727" y="254"/>
                    </a:lnTo>
                    <a:lnTo>
                      <a:pt x="1730" y="258"/>
                    </a:lnTo>
                    <a:lnTo>
                      <a:pt x="1728" y="267"/>
                    </a:lnTo>
                    <a:lnTo>
                      <a:pt x="1718" y="290"/>
                    </a:lnTo>
                    <a:lnTo>
                      <a:pt x="1718" y="296"/>
                    </a:lnTo>
                    <a:lnTo>
                      <a:pt x="1734" y="302"/>
                    </a:lnTo>
                    <a:lnTo>
                      <a:pt x="1739" y="306"/>
                    </a:lnTo>
                    <a:lnTo>
                      <a:pt x="1740" y="312"/>
                    </a:lnTo>
                    <a:lnTo>
                      <a:pt x="1733" y="320"/>
                    </a:lnTo>
                    <a:lnTo>
                      <a:pt x="1736" y="327"/>
                    </a:lnTo>
                    <a:lnTo>
                      <a:pt x="1730" y="336"/>
                    </a:lnTo>
                    <a:lnTo>
                      <a:pt x="1746" y="356"/>
                    </a:lnTo>
                    <a:lnTo>
                      <a:pt x="1746" y="369"/>
                    </a:lnTo>
                    <a:lnTo>
                      <a:pt x="1746" y="380"/>
                    </a:lnTo>
                    <a:lnTo>
                      <a:pt x="1742" y="393"/>
                    </a:lnTo>
                    <a:lnTo>
                      <a:pt x="1742" y="410"/>
                    </a:lnTo>
                    <a:lnTo>
                      <a:pt x="1751" y="417"/>
                    </a:lnTo>
                    <a:lnTo>
                      <a:pt x="1751" y="429"/>
                    </a:lnTo>
                    <a:lnTo>
                      <a:pt x="1758" y="434"/>
                    </a:lnTo>
                    <a:lnTo>
                      <a:pt x="1758" y="447"/>
                    </a:lnTo>
                    <a:lnTo>
                      <a:pt x="1758" y="459"/>
                    </a:lnTo>
                    <a:lnTo>
                      <a:pt x="1766" y="465"/>
                    </a:lnTo>
                    <a:lnTo>
                      <a:pt x="1781" y="467"/>
                    </a:lnTo>
                    <a:lnTo>
                      <a:pt x="1790" y="476"/>
                    </a:lnTo>
                    <a:lnTo>
                      <a:pt x="1800" y="495"/>
                    </a:lnTo>
                    <a:lnTo>
                      <a:pt x="1808" y="524"/>
                    </a:lnTo>
                    <a:lnTo>
                      <a:pt x="1818" y="534"/>
                    </a:lnTo>
                    <a:lnTo>
                      <a:pt x="1824" y="575"/>
                    </a:lnTo>
                    <a:lnTo>
                      <a:pt x="1824" y="588"/>
                    </a:lnTo>
                    <a:lnTo>
                      <a:pt x="1838" y="602"/>
                    </a:lnTo>
                    <a:lnTo>
                      <a:pt x="1845" y="606"/>
                    </a:lnTo>
                    <a:lnTo>
                      <a:pt x="1857" y="615"/>
                    </a:lnTo>
                    <a:lnTo>
                      <a:pt x="1857" y="636"/>
                    </a:lnTo>
                    <a:lnTo>
                      <a:pt x="1881" y="653"/>
                    </a:lnTo>
                    <a:lnTo>
                      <a:pt x="1880" y="669"/>
                    </a:lnTo>
                    <a:lnTo>
                      <a:pt x="1866" y="666"/>
                    </a:lnTo>
                    <a:lnTo>
                      <a:pt x="1866" y="678"/>
                    </a:lnTo>
                    <a:lnTo>
                      <a:pt x="1871" y="699"/>
                    </a:lnTo>
                    <a:lnTo>
                      <a:pt x="1874" y="716"/>
                    </a:lnTo>
                    <a:lnTo>
                      <a:pt x="1874" y="734"/>
                    </a:lnTo>
                    <a:lnTo>
                      <a:pt x="1863" y="741"/>
                    </a:lnTo>
                    <a:lnTo>
                      <a:pt x="1865" y="746"/>
                    </a:lnTo>
                    <a:lnTo>
                      <a:pt x="1871" y="747"/>
                    </a:lnTo>
                    <a:lnTo>
                      <a:pt x="1874" y="747"/>
                    </a:lnTo>
                    <a:lnTo>
                      <a:pt x="1877" y="747"/>
                    </a:lnTo>
                    <a:lnTo>
                      <a:pt x="1896" y="741"/>
                    </a:lnTo>
                    <a:lnTo>
                      <a:pt x="1910" y="734"/>
                    </a:lnTo>
                    <a:lnTo>
                      <a:pt x="1917" y="735"/>
                    </a:lnTo>
                    <a:lnTo>
                      <a:pt x="1922" y="738"/>
                    </a:lnTo>
                    <a:lnTo>
                      <a:pt x="1928" y="734"/>
                    </a:lnTo>
                    <a:lnTo>
                      <a:pt x="1932" y="735"/>
                    </a:lnTo>
                    <a:lnTo>
                      <a:pt x="1949" y="758"/>
                    </a:lnTo>
                    <a:lnTo>
                      <a:pt x="1958" y="756"/>
                    </a:lnTo>
                    <a:lnTo>
                      <a:pt x="1965" y="755"/>
                    </a:lnTo>
                    <a:lnTo>
                      <a:pt x="1970" y="761"/>
                    </a:lnTo>
                    <a:lnTo>
                      <a:pt x="1974" y="771"/>
                    </a:lnTo>
                    <a:lnTo>
                      <a:pt x="1982" y="776"/>
                    </a:lnTo>
                    <a:lnTo>
                      <a:pt x="1998" y="785"/>
                    </a:lnTo>
                    <a:lnTo>
                      <a:pt x="2001" y="789"/>
                    </a:lnTo>
                    <a:lnTo>
                      <a:pt x="2015" y="804"/>
                    </a:lnTo>
                    <a:lnTo>
                      <a:pt x="2031" y="812"/>
                    </a:lnTo>
                    <a:lnTo>
                      <a:pt x="2037" y="813"/>
                    </a:lnTo>
                    <a:lnTo>
                      <a:pt x="2045" y="812"/>
                    </a:lnTo>
                    <a:lnTo>
                      <a:pt x="2049" y="804"/>
                    </a:lnTo>
                    <a:lnTo>
                      <a:pt x="2054" y="791"/>
                    </a:lnTo>
                    <a:lnTo>
                      <a:pt x="2052" y="777"/>
                    </a:lnTo>
                    <a:lnTo>
                      <a:pt x="2055" y="762"/>
                    </a:lnTo>
                    <a:lnTo>
                      <a:pt x="2063" y="759"/>
                    </a:lnTo>
                    <a:lnTo>
                      <a:pt x="2070" y="756"/>
                    </a:lnTo>
                    <a:lnTo>
                      <a:pt x="2079" y="749"/>
                    </a:lnTo>
                    <a:lnTo>
                      <a:pt x="2085" y="737"/>
                    </a:lnTo>
                    <a:lnTo>
                      <a:pt x="2091" y="732"/>
                    </a:lnTo>
                    <a:lnTo>
                      <a:pt x="2097" y="729"/>
                    </a:lnTo>
                    <a:lnTo>
                      <a:pt x="2126" y="728"/>
                    </a:lnTo>
                    <a:lnTo>
                      <a:pt x="2133" y="729"/>
                    </a:lnTo>
                    <a:lnTo>
                      <a:pt x="2142" y="750"/>
                    </a:lnTo>
                    <a:lnTo>
                      <a:pt x="2141" y="759"/>
                    </a:lnTo>
                    <a:lnTo>
                      <a:pt x="2136" y="773"/>
                    </a:lnTo>
                    <a:lnTo>
                      <a:pt x="2136" y="777"/>
                    </a:lnTo>
                    <a:lnTo>
                      <a:pt x="2142" y="786"/>
                    </a:lnTo>
                    <a:lnTo>
                      <a:pt x="2154" y="788"/>
                    </a:lnTo>
                    <a:lnTo>
                      <a:pt x="2165" y="788"/>
                    </a:lnTo>
                    <a:lnTo>
                      <a:pt x="2168" y="789"/>
                    </a:lnTo>
                    <a:lnTo>
                      <a:pt x="2171" y="794"/>
                    </a:lnTo>
                    <a:lnTo>
                      <a:pt x="2175" y="792"/>
                    </a:lnTo>
                    <a:lnTo>
                      <a:pt x="2180" y="788"/>
                    </a:lnTo>
                    <a:lnTo>
                      <a:pt x="2181" y="785"/>
                    </a:lnTo>
                    <a:lnTo>
                      <a:pt x="2187" y="782"/>
                    </a:lnTo>
                    <a:lnTo>
                      <a:pt x="2187" y="773"/>
                    </a:lnTo>
                    <a:lnTo>
                      <a:pt x="2186" y="761"/>
                    </a:lnTo>
                    <a:lnTo>
                      <a:pt x="2181" y="744"/>
                    </a:lnTo>
                    <a:lnTo>
                      <a:pt x="2183" y="732"/>
                    </a:lnTo>
                    <a:lnTo>
                      <a:pt x="2187" y="731"/>
                    </a:lnTo>
                    <a:lnTo>
                      <a:pt x="2198" y="735"/>
                    </a:lnTo>
                    <a:lnTo>
                      <a:pt x="2207" y="737"/>
                    </a:lnTo>
                    <a:lnTo>
                      <a:pt x="2213" y="734"/>
                    </a:lnTo>
                    <a:lnTo>
                      <a:pt x="2219" y="735"/>
                    </a:lnTo>
                    <a:lnTo>
                      <a:pt x="2225" y="744"/>
                    </a:lnTo>
                    <a:lnTo>
                      <a:pt x="2246" y="749"/>
                    </a:lnTo>
                    <a:lnTo>
                      <a:pt x="2259" y="767"/>
                    </a:lnTo>
                    <a:lnTo>
                      <a:pt x="2267" y="774"/>
                    </a:lnTo>
                    <a:lnTo>
                      <a:pt x="2276" y="776"/>
                    </a:lnTo>
                    <a:lnTo>
                      <a:pt x="2289" y="782"/>
                    </a:lnTo>
                    <a:lnTo>
                      <a:pt x="2301" y="792"/>
                    </a:lnTo>
                    <a:lnTo>
                      <a:pt x="2304" y="797"/>
                    </a:lnTo>
                    <a:lnTo>
                      <a:pt x="2307" y="801"/>
                    </a:lnTo>
                    <a:lnTo>
                      <a:pt x="2312" y="806"/>
                    </a:lnTo>
                    <a:lnTo>
                      <a:pt x="2315" y="806"/>
                    </a:lnTo>
                    <a:lnTo>
                      <a:pt x="2330" y="806"/>
                    </a:lnTo>
                    <a:lnTo>
                      <a:pt x="2336" y="810"/>
                    </a:lnTo>
                    <a:lnTo>
                      <a:pt x="2354" y="837"/>
                    </a:lnTo>
                    <a:lnTo>
                      <a:pt x="2361" y="851"/>
                    </a:lnTo>
                    <a:lnTo>
                      <a:pt x="2358" y="873"/>
                    </a:lnTo>
                    <a:lnTo>
                      <a:pt x="2358" y="876"/>
                    </a:lnTo>
                    <a:lnTo>
                      <a:pt x="2363" y="878"/>
                    </a:lnTo>
                    <a:lnTo>
                      <a:pt x="2369" y="878"/>
                    </a:lnTo>
                    <a:lnTo>
                      <a:pt x="2387" y="872"/>
                    </a:lnTo>
                    <a:lnTo>
                      <a:pt x="2391" y="875"/>
                    </a:lnTo>
                    <a:lnTo>
                      <a:pt x="2391" y="881"/>
                    </a:lnTo>
                    <a:lnTo>
                      <a:pt x="2387" y="890"/>
                    </a:lnTo>
                    <a:lnTo>
                      <a:pt x="2390" y="896"/>
                    </a:lnTo>
                    <a:lnTo>
                      <a:pt x="2396" y="902"/>
                    </a:lnTo>
                    <a:lnTo>
                      <a:pt x="2397" y="911"/>
                    </a:lnTo>
                    <a:lnTo>
                      <a:pt x="2399" y="927"/>
                    </a:lnTo>
                    <a:lnTo>
                      <a:pt x="2396" y="935"/>
                    </a:lnTo>
                    <a:lnTo>
                      <a:pt x="2397" y="941"/>
                    </a:lnTo>
                    <a:lnTo>
                      <a:pt x="2397" y="947"/>
                    </a:lnTo>
                    <a:lnTo>
                      <a:pt x="2397" y="957"/>
                    </a:lnTo>
                    <a:lnTo>
                      <a:pt x="2390" y="986"/>
                    </a:lnTo>
                    <a:lnTo>
                      <a:pt x="2390" y="998"/>
                    </a:lnTo>
                    <a:lnTo>
                      <a:pt x="2397" y="1010"/>
                    </a:lnTo>
                    <a:lnTo>
                      <a:pt x="2399" y="1019"/>
                    </a:lnTo>
                    <a:lnTo>
                      <a:pt x="2406" y="1022"/>
                    </a:lnTo>
                    <a:lnTo>
                      <a:pt x="2414" y="1019"/>
                    </a:lnTo>
                    <a:lnTo>
                      <a:pt x="2418" y="1017"/>
                    </a:lnTo>
                    <a:lnTo>
                      <a:pt x="2423" y="1020"/>
                    </a:lnTo>
                    <a:lnTo>
                      <a:pt x="2430" y="1029"/>
                    </a:lnTo>
                    <a:lnTo>
                      <a:pt x="2433" y="1034"/>
                    </a:lnTo>
                    <a:lnTo>
                      <a:pt x="2444" y="1038"/>
                    </a:lnTo>
                    <a:lnTo>
                      <a:pt x="2447" y="1046"/>
                    </a:lnTo>
                    <a:lnTo>
                      <a:pt x="2447" y="1052"/>
                    </a:lnTo>
                    <a:lnTo>
                      <a:pt x="2454" y="1062"/>
                    </a:lnTo>
                    <a:lnTo>
                      <a:pt x="2466" y="1074"/>
                    </a:lnTo>
                    <a:lnTo>
                      <a:pt x="2466" y="1082"/>
                    </a:lnTo>
                    <a:lnTo>
                      <a:pt x="2471" y="1089"/>
                    </a:lnTo>
                    <a:lnTo>
                      <a:pt x="2484" y="1097"/>
                    </a:lnTo>
                    <a:lnTo>
                      <a:pt x="2492" y="1104"/>
                    </a:lnTo>
                    <a:lnTo>
                      <a:pt x="2495" y="1107"/>
                    </a:lnTo>
                    <a:lnTo>
                      <a:pt x="2498" y="1115"/>
                    </a:lnTo>
                    <a:lnTo>
                      <a:pt x="2498" y="1125"/>
                    </a:lnTo>
                    <a:lnTo>
                      <a:pt x="2495" y="1131"/>
                    </a:lnTo>
                    <a:lnTo>
                      <a:pt x="2480" y="1131"/>
                    </a:lnTo>
                    <a:lnTo>
                      <a:pt x="2477" y="1137"/>
                    </a:lnTo>
                    <a:lnTo>
                      <a:pt x="2480" y="1146"/>
                    </a:lnTo>
                    <a:lnTo>
                      <a:pt x="2478" y="1157"/>
                    </a:lnTo>
                    <a:lnTo>
                      <a:pt x="2471" y="1164"/>
                    </a:lnTo>
                    <a:lnTo>
                      <a:pt x="2450" y="1176"/>
                    </a:lnTo>
                    <a:lnTo>
                      <a:pt x="2438" y="1184"/>
                    </a:lnTo>
                    <a:lnTo>
                      <a:pt x="2426" y="1196"/>
                    </a:lnTo>
                    <a:lnTo>
                      <a:pt x="2411" y="1212"/>
                    </a:lnTo>
                    <a:lnTo>
                      <a:pt x="2396" y="1229"/>
                    </a:lnTo>
                    <a:lnTo>
                      <a:pt x="2388" y="1241"/>
                    </a:lnTo>
                    <a:lnTo>
                      <a:pt x="2385" y="1244"/>
                    </a:lnTo>
                    <a:lnTo>
                      <a:pt x="2366" y="1259"/>
                    </a:lnTo>
                    <a:lnTo>
                      <a:pt x="2345" y="1268"/>
                    </a:lnTo>
                    <a:lnTo>
                      <a:pt x="2343" y="1278"/>
                    </a:lnTo>
                    <a:lnTo>
                      <a:pt x="2346" y="1283"/>
                    </a:lnTo>
                    <a:lnTo>
                      <a:pt x="2349" y="1286"/>
                    </a:lnTo>
                    <a:lnTo>
                      <a:pt x="2357" y="1289"/>
                    </a:lnTo>
                    <a:lnTo>
                      <a:pt x="2358" y="1292"/>
                    </a:lnTo>
                    <a:lnTo>
                      <a:pt x="2355" y="1298"/>
                    </a:lnTo>
                    <a:lnTo>
                      <a:pt x="2348" y="1305"/>
                    </a:lnTo>
                    <a:lnTo>
                      <a:pt x="2349" y="1314"/>
                    </a:lnTo>
                    <a:lnTo>
                      <a:pt x="2352" y="1337"/>
                    </a:lnTo>
                    <a:lnTo>
                      <a:pt x="2349" y="1358"/>
                    </a:lnTo>
                    <a:lnTo>
                      <a:pt x="2337" y="1380"/>
                    </a:lnTo>
                    <a:lnTo>
                      <a:pt x="2330" y="1401"/>
                    </a:lnTo>
                    <a:lnTo>
                      <a:pt x="2330" y="1415"/>
                    </a:lnTo>
                    <a:lnTo>
                      <a:pt x="2319" y="1436"/>
                    </a:lnTo>
                    <a:lnTo>
                      <a:pt x="2321" y="1451"/>
                    </a:lnTo>
                    <a:lnTo>
                      <a:pt x="2330" y="1470"/>
                    </a:lnTo>
                    <a:lnTo>
                      <a:pt x="2324" y="1478"/>
                    </a:lnTo>
                    <a:lnTo>
                      <a:pt x="2316" y="1479"/>
                    </a:lnTo>
                    <a:lnTo>
                      <a:pt x="2294" y="1466"/>
                    </a:lnTo>
                    <a:lnTo>
                      <a:pt x="2277" y="1458"/>
                    </a:lnTo>
                    <a:lnTo>
                      <a:pt x="2258" y="1452"/>
                    </a:lnTo>
                    <a:lnTo>
                      <a:pt x="2231" y="1457"/>
                    </a:lnTo>
                    <a:lnTo>
                      <a:pt x="2214" y="1470"/>
                    </a:lnTo>
                    <a:lnTo>
                      <a:pt x="2208" y="1494"/>
                    </a:lnTo>
                    <a:lnTo>
                      <a:pt x="2199" y="1509"/>
                    </a:lnTo>
                    <a:lnTo>
                      <a:pt x="2184" y="1521"/>
                    </a:lnTo>
                    <a:lnTo>
                      <a:pt x="2174" y="1557"/>
                    </a:lnTo>
                    <a:lnTo>
                      <a:pt x="2172" y="1568"/>
                    </a:lnTo>
                    <a:lnTo>
                      <a:pt x="2180" y="1574"/>
                    </a:lnTo>
                    <a:lnTo>
                      <a:pt x="2189" y="1575"/>
                    </a:lnTo>
                    <a:lnTo>
                      <a:pt x="2201" y="1572"/>
                    </a:lnTo>
                    <a:lnTo>
                      <a:pt x="2193" y="1590"/>
                    </a:lnTo>
                    <a:lnTo>
                      <a:pt x="2181" y="1598"/>
                    </a:lnTo>
                    <a:lnTo>
                      <a:pt x="2160" y="1604"/>
                    </a:lnTo>
                    <a:lnTo>
                      <a:pt x="2153" y="1608"/>
                    </a:lnTo>
                    <a:lnTo>
                      <a:pt x="2151" y="1613"/>
                    </a:lnTo>
                    <a:lnTo>
                      <a:pt x="2157" y="1620"/>
                    </a:lnTo>
                    <a:lnTo>
                      <a:pt x="2154" y="1626"/>
                    </a:lnTo>
                    <a:lnTo>
                      <a:pt x="2145" y="1623"/>
                    </a:lnTo>
                    <a:lnTo>
                      <a:pt x="2139" y="1625"/>
                    </a:lnTo>
                    <a:lnTo>
                      <a:pt x="2127" y="1640"/>
                    </a:lnTo>
                    <a:lnTo>
                      <a:pt x="2118" y="1641"/>
                    </a:lnTo>
                    <a:lnTo>
                      <a:pt x="2111" y="1644"/>
                    </a:lnTo>
                    <a:lnTo>
                      <a:pt x="2106" y="1653"/>
                    </a:lnTo>
                    <a:lnTo>
                      <a:pt x="2099" y="1658"/>
                    </a:lnTo>
                    <a:lnTo>
                      <a:pt x="2094" y="1653"/>
                    </a:lnTo>
                    <a:lnTo>
                      <a:pt x="2091" y="1647"/>
                    </a:lnTo>
                    <a:lnTo>
                      <a:pt x="2093" y="1640"/>
                    </a:lnTo>
                    <a:lnTo>
                      <a:pt x="2093" y="1634"/>
                    </a:lnTo>
                    <a:lnTo>
                      <a:pt x="2088" y="1632"/>
                    </a:lnTo>
                    <a:lnTo>
                      <a:pt x="2081" y="1643"/>
                    </a:lnTo>
                    <a:lnTo>
                      <a:pt x="2084" y="1653"/>
                    </a:lnTo>
                    <a:lnTo>
                      <a:pt x="2093" y="1668"/>
                    </a:lnTo>
                    <a:lnTo>
                      <a:pt x="2085" y="1674"/>
                    </a:lnTo>
                    <a:lnTo>
                      <a:pt x="2069" y="1685"/>
                    </a:lnTo>
                    <a:lnTo>
                      <a:pt x="2031" y="1697"/>
                    </a:lnTo>
                    <a:lnTo>
                      <a:pt x="2025" y="1707"/>
                    </a:lnTo>
                    <a:lnTo>
                      <a:pt x="2016" y="1748"/>
                    </a:lnTo>
                    <a:lnTo>
                      <a:pt x="1992" y="1745"/>
                    </a:lnTo>
                    <a:lnTo>
                      <a:pt x="1956" y="1733"/>
                    </a:lnTo>
                    <a:lnTo>
                      <a:pt x="1935" y="1713"/>
                    </a:lnTo>
                    <a:lnTo>
                      <a:pt x="1932" y="1701"/>
                    </a:lnTo>
                    <a:lnTo>
                      <a:pt x="1935" y="1686"/>
                    </a:lnTo>
                    <a:lnTo>
                      <a:pt x="1944" y="1694"/>
                    </a:lnTo>
                    <a:lnTo>
                      <a:pt x="1946" y="1688"/>
                    </a:lnTo>
                    <a:lnTo>
                      <a:pt x="1943" y="1674"/>
                    </a:lnTo>
                    <a:lnTo>
                      <a:pt x="1932" y="1653"/>
                    </a:lnTo>
                    <a:lnTo>
                      <a:pt x="1913" y="1635"/>
                    </a:lnTo>
                    <a:lnTo>
                      <a:pt x="1889" y="1631"/>
                    </a:lnTo>
                    <a:lnTo>
                      <a:pt x="1859" y="1635"/>
                    </a:lnTo>
                    <a:close/>
                  </a:path>
                </a:pathLst>
              </a:custGeom>
              <a:solidFill>
                <a:srgbClr val="99CC00"/>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61" name="Freeform 317">
                <a:extLst>
                  <a:ext uri="{FF2B5EF4-FFF2-40B4-BE49-F238E27FC236}">
                    <a16:creationId xmlns:a16="http://schemas.microsoft.com/office/drawing/2014/main" id="{3DBCD44E-695A-2281-9EFE-83F7CF719EF1}"/>
                  </a:ext>
                </a:extLst>
              </p:cNvPr>
              <p:cNvSpPr>
                <a:spLocks/>
              </p:cNvSpPr>
              <p:nvPr/>
            </p:nvSpPr>
            <p:spPr bwMode="auto">
              <a:xfrm>
                <a:off x="3307" y="1978"/>
                <a:ext cx="733" cy="844"/>
              </a:xfrm>
              <a:custGeom>
                <a:avLst/>
                <a:gdLst>
                  <a:gd name="T0" fmla="*/ 0 w 2199"/>
                  <a:gd name="T1" fmla="*/ 0 h 2532"/>
                  <a:gd name="T2" fmla="*/ 0 w 2199"/>
                  <a:gd name="T3" fmla="*/ 0 h 2532"/>
                  <a:gd name="T4" fmla="*/ 0 w 2199"/>
                  <a:gd name="T5" fmla="*/ 0 h 2532"/>
                  <a:gd name="T6" fmla="*/ 0 w 2199"/>
                  <a:gd name="T7" fmla="*/ 0 h 2532"/>
                  <a:gd name="T8" fmla="*/ 0 w 2199"/>
                  <a:gd name="T9" fmla="*/ 0 h 2532"/>
                  <a:gd name="T10" fmla="*/ 0 w 2199"/>
                  <a:gd name="T11" fmla="*/ 0 h 2532"/>
                  <a:gd name="T12" fmla="*/ 0 w 2199"/>
                  <a:gd name="T13" fmla="*/ 0 h 2532"/>
                  <a:gd name="T14" fmla="*/ 0 w 2199"/>
                  <a:gd name="T15" fmla="*/ 0 h 2532"/>
                  <a:gd name="T16" fmla="*/ 0 w 2199"/>
                  <a:gd name="T17" fmla="*/ 0 h 2532"/>
                  <a:gd name="T18" fmla="*/ 0 w 2199"/>
                  <a:gd name="T19" fmla="*/ 0 h 2532"/>
                  <a:gd name="T20" fmla="*/ 0 w 2199"/>
                  <a:gd name="T21" fmla="*/ 0 h 2532"/>
                  <a:gd name="T22" fmla="*/ 0 w 2199"/>
                  <a:gd name="T23" fmla="*/ 0 h 2532"/>
                  <a:gd name="T24" fmla="*/ 0 w 2199"/>
                  <a:gd name="T25" fmla="*/ 0 h 2532"/>
                  <a:gd name="T26" fmla="*/ 0 w 2199"/>
                  <a:gd name="T27" fmla="*/ 0 h 2532"/>
                  <a:gd name="T28" fmla="*/ 0 w 2199"/>
                  <a:gd name="T29" fmla="*/ 0 h 2532"/>
                  <a:gd name="T30" fmla="*/ 0 w 2199"/>
                  <a:gd name="T31" fmla="*/ 0 h 2532"/>
                  <a:gd name="T32" fmla="*/ 0 w 2199"/>
                  <a:gd name="T33" fmla="*/ 0 h 2532"/>
                  <a:gd name="T34" fmla="*/ 0 w 2199"/>
                  <a:gd name="T35" fmla="*/ 0 h 2532"/>
                  <a:gd name="T36" fmla="*/ 0 w 2199"/>
                  <a:gd name="T37" fmla="*/ 0 h 2532"/>
                  <a:gd name="T38" fmla="*/ 0 w 2199"/>
                  <a:gd name="T39" fmla="*/ 0 h 2532"/>
                  <a:gd name="T40" fmla="*/ 0 w 2199"/>
                  <a:gd name="T41" fmla="*/ 0 h 2532"/>
                  <a:gd name="T42" fmla="*/ 0 w 2199"/>
                  <a:gd name="T43" fmla="*/ 0 h 2532"/>
                  <a:gd name="T44" fmla="*/ 0 w 2199"/>
                  <a:gd name="T45" fmla="*/ 0 h 2532"/>
                  <a:gd name="T46" fmla="*/ 0 w 2199"/>
                  <a:gd name="T47" fmla="*/ 0 h 2532"/>
                  <a:gd name="T48" fmla="*/ 0 w 2199"/>
                  <a:gd name="T49" fmla="*/ 0 h 2532"/>
                  <a:gd name="T50" fmla="*/ 0 w 2199"/>
                  <a:gd name="T51" fmla="*/ 0 h 2532"/>
                  <a:gd name="T52" fmla="*/ 0 w 2199"/>
                  <a:gd name="T53" fmla="*/ 0 h 2532"/>
                  <a:gd name="T54" fmla="*/ 0 w 2199"/>
                  <a:gd name="T55" fmla="*/ 0 h 2532"/>
                  <a:gd name="T56" fmla="*/ 0 w 2199"/>
                  <a:gd name="T57" fmla="*/ 0 h 2532"/>
                  <a:gd name="T58" fmla="*/ 0 w 2199"/>
                  <a:gd name="T59" fmla="*/ 0 h 2532"/>
                  <a:gd name="T60" fmla="*/ 0 w 2199"/>
                  <a:gd name="T61" fmla="*/ 0 h 2532"/>
                  <a:gd name="T62" fmla="*/ 0 w 2199"/>
                  <a:gd name="T63" fmla="*/ 0 h 2532"/>
                  <a:gd name="T64" fmla="*/ 0 w 2199"/>
                  <a:gd name="T65" fmla="*/ 0 h 2532"/>
                  <a:gd name="T66" fmla="*/ 0 w 2199"/>
                  <a:gd name="T67" fmla="*/ 0 h 2532"/>
                  <a:gd name="T68" fmla="*/ 0 w 2199"/>
                  <a:gd name="T69" fmla="*/ 0 h 2532"/>
                  <a:gd name="T70" fmla="*/ 0 w 2199"/>
                  <a:gd name="T71" fmla="*/ 0 h 2532"/>
                  <a:gd name="T72" fmla="*/ 0 w 2199"/>
                  <a:gd name="T73" fmla="*/ 0 h 2532"/>
                  <a:gd name="T74" fmla="*/ 0 w 2199"/>
                  <a:gd name="T75" fmla="*/ 0 h 2532"/>
                  <a:gd name="T76" fmla="*/ 0 w 2199"/>
                  <a:gd name="T77" fmla="*/ 0 h 2532"/>
                  <a:gd name="T78" fmla="*/ 0 w 2199"/>
                  <a:gd name="T79" fmla="*/ 0 h 2532"/>
                  <a:gd name="T80" fmla="*/ 0 w 2199"/>
                  <a:gd name="T81" fmla="*/ 0 h 2532"/>
                  <a:gd name="T82" fmla="*/ 0 w 2199"/>
                  <a:gd name="T83" fmla="*/ 0 h 2532"/>
                  <a:gd name="T84" fmla="*/ 0 w 2199"/>
                  <a:gd name="T85" fmla="*/ 0 h 2532"/>
                  <a:gd name="T86" fmla="*/ 0 w 2199"/>
                  <a:gd name="T87" fmla="*/ 0 h 2532"/>
                  <a:gd name="T88" fmla="*/ 0 w 2199"/>
                  <a:gd name="T89" fmla="*/ 0 h 2532"/>
                  <a:gd name="T90" fmla="*/ 0 w 2199"/>
                  <a:gd name="T91" fmla="*/ 0 h 2532"/>
                  <a:gd name="T92" fmla="*/ 0 w 2199"/>
                  <a:gd name="T93" fmla="*/ 0 h 2532"/>
                  <a:gd name="T94" fmla="*/ 0 w 2199"/>
                  <a:gd name="T95" fmla="*/ 0 h 2532"/>
                  <a:gd name="T96" fmla="*/ 0 w 2199"/>
                  <a:gd name="T97" fmla="*/ 0 h 2532"/>
                  <a:gd name="T98" fmla="*/ 0 w 2199"/>
                  <a:gd name="T99" fmla="*/ 0 h 2532"/>
                  <a:gd name="T100" fmla="*/ 0 w 2199"/>
                  <a:gd name="T101" fmla="*/ 0 h 2532"/>
                  <a:gd name="T102" fmla="*/ 0 w 2199"/>
                  <a:gd name="T103" fmla="*/ 0 h 2532"/>
                  <a:gd name="T104" fmla="*/ 0 w 2199"/>
                  <a:gd name="T105" fmla="*/ 0 h 2532"/>
                  <a:gd name="T106" fmla="*/ 0 w 2199"/>
                  <a:gd name="T107" fmla="*/ 0 h 2532"/>
                  <a:gd name="T108" fmla="*/ 0 w 2199"/>
                  <a:gd name="T109" fmla="*/ 0 h 2532"/>
                  <a:gd name="T110" fmla="*/ 0 w 2199"/>
                  <a:gd name="T111" fmla="*/ 0 h 2532"/>
                  <a:gd name="T112" fmla="*/ 0 w 2199"/>
                  <a:gd name="T113" fmla="*/ 0 h 2532"/>
                  <a:gd name="T114" fmla="*/ 0 w 2199"/>
                  <a:gd name="T115" fmla="*/ 0 h 2532"/>
                  <a:gd name="T116" fmla="*/ 0 w 2199"/>
                  <a:gd name="T117" fmla="*/ 0 h 2532"/>
                  <a:gd name="T118" fmla="*/ 0 w 2199"/>
                  <a:gd name="T119" fmla="*/ 0 h 2532"/>
                  <a:gd name="T120" fmla="*/ 0 w 2199"/>
                  <a:gd name="T121" fmla="*/ 0 h 2532"/>
                  <a:gd name="T122" fmla="*/ 0 w 2199"/>
                  <a:gd name="T123" fmla="*/ 0 h 25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99" h="2532">
                    <a:moveTo>
                      <a:pt x="1966" y="1164"/>
                    </a:moveTo>
                    <a:lnTo>
                      <a:pt x="1954" y="1168"/>
                    </a:lnTo>
                    <a:lnTo>
                      <a:pt x="1951" y="1174"/>
                    </a:lnTo>
                    <a:lnTo>
                      <a:pt x="1959" y="1185"/>
                    </a:lnTo>
                    <a:lnTo>
                      <a:pt x="1966" y="1185"/>
                    </a:lnTo>
                    <a:lnTo>
                      <a:pt x="1972" y="1191"/>
                    </a:lnTo>
                    <a:lnTo>
                      <a:pt x="1984" y="1197"/>
                    </a:lnTo>
                    <a:lnTo>
                      <a:pt x="1989" y="1201"/>
                    </a:lnTo>
                    <a:lnTo>
                      <a:pt x="1984" y="1209"/>
                    </a:lnTo>
                    <a:lnTo>
                      <a:pt x="1984" y="1212"/>
                    </a:lnTo>
                    <a:lnTo>
                      <a:pt x="1983" y="1216"/>
                    </a:lnTo>
                    <a:lnTo>
                      <a:pt x="1993" y="1230"/>
                    </a:lnTo>
                    <a:lnTo>
                      <a:pt x="2001" y="1227"/>
                    </a:lnTo>
                    <a:lnTo>
                      <a:pt x="2007" y="1231"/>
                    </a:lnTo>
                    <a:lnTo>
                      <a:pt x="2013" y="1248"/>
                    </a:lnTo>
                    <a:lnTo>
                      <a:pt x="2019" y="1249"/>
                    </a:lnTo>
                    <a:lnTo>
                      <a:pt x="2019" y="1263"/>
                    </a:lnTo>
                    <a:lnTo>
                      <a:pt x="2026" y="1266"/>
                    </a:lnTo>
                    <a:lnTo>
                      <a:pt x="2023" y="1273"/>
                    </a:lnTo>
                    <a:lnTo>
                      <a:pt x="2017" y="1278"/>
                    </a:lnTo>
                    <a:lnTo>
                      <a:pt x="2020" y="1288"/>
                    </a:lnTo>
                    <a:lnTo>
                      <a:pt x="2031" y="1309"/>
                    </a:lnTo>
                    <a:lnTo>
                      <a:pt x="2041" y="1330"/>
                    </a:lnTo>
                    <a:lnTo>
                      <a:pt x="2046" y="1333"/>
                    </a:lnTo>
                    <a:lnTo>
                      <a:pt x="2052" y="1338"/>
                    </a:lnTo>
                    <a:lnTo>
                      <a:pt x="2055" y="1354"/>
                    </a:lnTo>
                    <a:lnTo>
                      <a:pt x="2062" y="1360"/>
                    </a:lnTo>
                    <a:lnTo>
                      <a:pt x="2068" y="1363"/>
                    </a:lnTo>
                    <a:lnTo>
                      <a:pt x="2077" y="1360"/>
                    </a:lnTo>
                    <a:lnTo>
                      <a:pt x="2086" y="1368"/>
                    </a:lnTo>
                    <a:lnTo>
                      <a:pt x="2089" y="1378"/>
                    </a:lnTo>
                    <a:lnTo>
                      <a:pt x="2109" y="1393"/>
                    </a:lnTo>
                    <a:lnTo>
                      <a:pt x="2116" y="1395"/>
                    </a:lnTo>
                    <a:lnTo>
                      <a:pt x="2125" y="1405"/>
                    </a:lnTo>
                    <a:lnTo>
                      <a:pt x="2143" y="1419"/>
                    </a:lnTo>
                    <a:lnTo>
                      <a:pt x="2143" y="1423"/>
                    </a:lnTo>
                    <a:lnTo>
                      <a:pt x="2145" y="1426"/>
                    </a:lnTo>
                    <a:lnTo>
                      <a:pt x="2154" y="1444"/>
                    </a:lnTo>
                    <a:lnTo>
                      <a:pt x="2158" y="1447"/>
                    </a:lnTo>
                    <a:lnTo>
                      <a:pt x="2152" y="1459"/>
                    </a:lnTo>
                    <a:lnTo>
                      <a:pt x="2160" y="1479"/>
                    </a:lnTo>
                    <a:lnTo>
                      <a:pt x="2160" y="1486"/>
                    </a:lnTo>
                    <a:lnTo>
                      <a:pt x="2163" y="1494"/>
                    </a:lnTo>
                    <a:lnTo>
                      <a:pt x="2166" y="1504"/>
                    </a:lnTo>
                    <a:lnTo>
                      <a:pt x="2169" y="1507"/>
                    </a:lnTo>
                    <a:lnTo>
                      <a:pt x="2175" y="1512"/>
                    </a:lnTo>
                    <a:lnTo>
                      <a:pt x="2184" y="1515"/>
                    </a:lnTo>
                    <a:lnTo>
                      <a:pt x="2182" y="1525"/>
                    </a:lnTo>
                    <a:lnTo>
                      <a:pt x="2181" y="1531"/>
                    </a:lnTo>
                    <a:lnTo>
                      <a:pt x="2170" y="1539"/>
                    </a:lnTo>
                    <a:lnTo>
                      <a:pt x="2169" y="1551"/>
                    </a:lnTo>
                    <a:lnTo>
                      <a:pt x="2173" y="1555"/>
                    </a:lnTo>
                    <a:lnTo>
                      <a:pt x="2170" y="1567"/>
                    </a:lnTo>
                    <a:lnTo>
                      <a:pt x="2173" y="1573"/>
                    </a:lnTo>
                    <a:lnTo>
                      <a:pt x="2163" y="1578"/>
                    </a:lnTo>
                    <a:lnTo>
                      <a:pt x="2163" y="1587"/>
                    </a:lnTo>
                    <a:lnTo>
                      <a:pt x="2139" y="1596"/>
                    </a:lnTo>
                    <a:lnTo>
                      <a:pt x="2130" y="1602"/>
                    </a:lnTo>
                    <a:lnTo>
                      <a:pt x="2122" y="1605"/>
                    </a:lnTo>
                    <a:lnTo>
                      <a:pt x="2121" y="1612"/>
                    </a:lnTo>
                    <a:lnTo>
                      <a:pt x="2115" y="1615"/>
                    </a:lnTo>
                    <a:lnTo>
                      <a:pt x="2107" y="1635"/>
                    </a:lnTo>
                    <a:lnTo>
                      <a:pt x="2110" y="1644"/>
                    </a:lnTo>
                    <a:lnTo>
                      <a:pt x="2107" y="1648"/>
                    </a:lnTo>
                    <a:lnTo>
                      <a:pt x="2112" y="1668"/>
                    </a:lnTo>
                    <a:lnTo>
                      <a:pt x="2106" y="1674"/>
                    </a:lnTo>
                    <a:lnTo>
                      <a:pt x="2095" y="1675"/>
                    </a:lnTo>
                    <a:lnTo>
                      <a:pt x="2086" y="1675"/>
                    </a:lnTo>
                    <a:lnTo>
                      <a:pt x="2076" y="1672"/>
                    </a:lnTo>
                    <a:lnTo>
                      <a:pt x="2068" y="1663"/>
                    </a:lnTo>
                    <a:lnTo>
                      <a:pt x="2065" y="1666"/>
                    </a:lnTo>
                    <a:lnTo>
                      <a:pt x="2061" y="1662"/>
                    </a:lnTo>
                    <a:lnTo>
                      <a:pt x="2062" y="1650"/>
                    </a:lnTo>
                    <a:lnTo>
                      <a:pt x="2053" y="1650"/>
                    </a:lnTo>
                    <a:lnTo>
                      <a:pt x="2052" y="1644"/>
                    </a:lnTo>
                    <a:lnTo>
                      <a:pt x="2049" y="1645"/>
                    </a:lnTo>
                    <a:lnTo>
                      <a:pt x="2044" y="1641"/>
                    </a:lnTo>
                    <a:lnTo>
                      <a:pt x="2041" y="1641"/>
                    </a:lnTo>
                    <a:lnTo>
                      <a:pt x="2038" y="1638"/>
                    </a:lnTo>
                    <a:lnTo>
                      <a:pt x="2035" y="1638"/>
                    </a:lnTo>
                    <a:lnTo>
                      <a:pt x="2029" y="1645"/>
                    </a:lnTo>
                    <a:lnTo>
                      <a:pt x="2025" y="1651"/>
                    </a:lnTo>
                    <a:lnTo>
                      <a:pt x="2023" y="1665"/>
                    </a:lnTo>
                    <a:lnTo>
                      <a:pt x="2026" y="1671"/>
                    </a:lnTo>
                    <a:lnTo>
                      <a:pt x="2029" y="1674"/>
                    </a:lnTo>
                    <a:lnTo>
                      <a:pt x="2026" y="1678"/>
                    </a:lnTo>
                    <a:lnTo>
                      <a:pt x="2017" y="1681"/>
                    </a:lnTo>
                    <a:lnTo>
                      <a:pt x="2014" y="1684"/>
                    </a:lnTo>
                    <a:lnTo>
                      <a:pt x="2007" y="1683"/>
                    </a:lnTo>
                    <a:lnTo>
                      <a:pt x="2001" y="1678"/>
                    </a:lnTo>
                    <a:lnTo>
                      <a:pt x="1995" y="1675"/>
                    </a:lnTo>
                    <a:lnTo>
                      <a:pt x="1992" y="1678"/>
                    </a:lnTo>
                    <a:lnTo>
                      <a:pt x="1984" y="1678"/>
                    </a:lnTo>
                    <a:lnTo>
                      <a:pt x="1981" y="1672"/>
                    </a:lnTo>
                    <a:lnTo>
                      <a:pt x="1972" y="1666"/>
                    </a:lnTo>
                    <a:lnTo>
                      <a:pt x="1968" y="1669"/>
                    </a:lnTo>
                    <a:lnTo>
                      <a:pt x="1962" y="1671"/>
                    </a:lnTo>
                    <a:lnTo>
                      <a:pt x="1956" y="1674"/>
                    </a:lnTo>
                    <a:lnTo>
                      <a:pt x="1953" y="1668"/>
                    </a:lnTo>
                    <a:lnTo>
                      <a:pt x="1959" y="1662"/>
                    </a:lnTo>
                    <a:lnTo>
                      <a:pt x="1957" y="1654"/>
                    </a:lnTo>
                    <a:lnTo>
                      <a:pt x="1948" y="1659"/>
                    </a:lnTo>
                    <a:lnTo>
                      <a:pt x="1948" y="1651"/>
                    </a:lnTo>
                    <a:lnTo>
                      <a:pt x="1942" y="1645"/>
                    </a:lnTo>
                    <a:lnTo>
                      <a:pt x="1938" y="1648"/>
                    </a:lnTo>
                    <a:lnTo>
                      <a:pt x="1935" y="1642"/>
                    </a:lnTo>
                    <a:lnTo>
                      <a:pt x="1932" y="1648"/>
                    </a:lnTo>
                    <a:lnTo>
                      <a:pt x="1929" y="1645"/>
                    </a:lnTo>
                    <a:lnTo>
                      <a:pt x="1926" y="1662"/>
                    </a:lnTo>
                    <a:lnTo>
                      <a:pt x="1926" y="1668"/>
                    </a:lnTo>
                    <a:lnTo>
                      <a:pt x="1923" y="1671"/>
                    </a:lnTo>
                    <a:lnTo>
                      <a:pt x="1909" y="1672"/>
                    </a:lnTo>
                    <a:lnTo>
                      <a:pt x="1908" y="1687"/>
                    </a:lnTo>
                    <a:lnTo>
                      <a:pt x="1900" y="1689"/>
                    </a:lnTo>
                    <a:lnTo>
                      <a:pt x="1893" y="1698"/>
                    </a:lnTo>
                    <a:lnTo>
                      <a:pt x="1884" y="1692"/>
                    </a:lnTo>
                    <a:lnTo>
                      <a:pt x="1876" y="1681"/>
                    </a:lnTo>
                    <a:lnTo>
                      <a:pt x="1866" y="1672"/>
                    </a:lnTo>
                    <a:lnTo>
                      <a:pt x="1863" y="1666"/>
                    </a:lnTo>
                    <a:lnTo>
                      <a:pt x="1864" y="1659"/>
                    </a:lnTo>
                    <a:lnTo>
                      <a:pt x="1863" y="1653"/>
                    </a:lnTo>
                    <a:lnTo>
                      <a:pt x="1861" y="1642"/>
                    </a:lnTo>
                    <a:lnTo>
                      <a:pt x="1854" y="1632"/>
                    </a:lnTo>
                    <a:lnTo>
                      <a:pt x="1851" y="1621"/>
                    </a:lnTo>
                    <a:lnTo>
                      <a:pt x="1845" y="1630"/>
                    </a:lnTo>
                    <a:lnTo>
                      <a:pt x="1840" y="1633"/>
                    </a:lnTo>
                    <a:lnTo>
                      <a:pt x="1837" y="1626"/>
                    </a:lnTo>
                    <a:lnTo>
                      <a:pt x="1828" y="1623"/>
                    </a:lnTo>
                    <a:lnTo>
                      <a:pt x="1818" y="1623"/>
                    </a:lnTo>
                    <a:lnTo>
                      <a:pt x="1812" y="1615"/>
                    </a:lnTo>
                    <a:lnTo>
                      <a:pt x="1803" y="1612"/>
                    </a:lnTo>
                    <a:lnTo>
                      <a:pt x="1800" y="1597"/>
                    </a:lnTo>
                    <a:lnTo>
                      <a:pt x="1795" y="1593"/>
                    </a:lnTo>
                    <a:lnTo>
                      <a:pt x="1785" y="1599"/>
                    </a:lnTo>
                    <a:lnTo>
                      <a:pt x="1774" y="1608"/>
                    </a:lnTo>
                    <a:lnTo>
                      <a:pt x="1770" y="1609"/>
                    </a:lnTo>
                    <a:lnTo>
                      <a:pt x="1767" y="1624"/>
                    </a:lnTo>
                    <a:lnTo>
                      <a:pt x="1758" y="1623"/>
                    </a:lnTo>
                    <a:lnTo>
                      <a:pt x="1747" y="1623"/>
                    </a:lnTo>
                    <a:lnTo>
                      <a:pt x="1738" y="1626"/>
                    </a:lnTo>
                    <a:lnTo>
                      <a:pt x="1732" y="1624"/>
                    </a:lnTo>
                    <a:lnTo>
                      <a:pt x="1725" y="1621"/>
                    </a:lnTo>
                    <a:lnTo>
                      <a:pt x="1722" y="1624"/>
                    </a:lnTo>
                    <a:lnTo>
                      <a:pt x="1716" y="1624"/>
                    </a:lnTo>
                    <a:lnTo>
                      <a:pt x="1711" y="1623"/>
                    </a:lnTo>
                    <a:lnTo>
                      <a:pt x="1707" y="1624"/>
                    </a:lnTo>
                    <a:lnTo>
                      <a:pt x="1701" y="1621"/>
                    </a:lnTo>
                    <a:lnTo>
                      <a:pt x="1690" y="1612"/>
                    </a:lnTo>
                    <a:lnTo>
                      <a:pt x="1687" y="1603"/>
                    </a:lnTo>
                    <a:lnTo>
                      <a:pt x="1672" y="1603"/>
                    </a:lnTo>
                    <a:lnTo>
                      <a:pt x="1666" y="1611"/>
                    </a:lnTo>
                    <a:lnTo>
                      <a:pt x="1665" y="1626"/>
                    </a:lnTo>
                    <a:lnTo>
                      <a:pt x="1660" y="1627"/>
                    </a:lnTo>
                    <a:lnTo>
                      <a:pt x="1654" y="1614"/>
                    </a:lnTo>
                    <a:lnTo>
                      <a:pt x="1647" y="1608"/>
                    </a:lnTo>
                    <a:lnTo>
                      <a:pt x="1639" y="1603"/>
                    </a:lnTo>
                    <a:lnTo>
                      <a:pt x="1633" y="1606"/>
                    </a:lnTo>
                    <a:lnTo>
                      <a:pt x="1629" y="1617"/>
                    </a:lnTo>
                    <a:lnTo>
                      <a:pt x="1623" y="1626"/>
                    </a:lnTo>
                    <a:lnTo>
                      <a:pt x="1602" y="1636"/>
                    </a:lnTo>
                    <a:lnTo>
                      <a:pt x="1597" y="1638"/>
                    </a:lnTo>
                    <a:lnTo>
                      <a:pt x="1591" y="1632"/>
                    </a:lnTo>
                    <a:lnTo>
                      <a:pt x="1585" y="1636"/>
                    </a:lnTo>
                    <a:lnTo>
                      <a:pt x="1581" y="1641"/>
                    </a:lnTo>
                    <a:lnTo>
                      <a:pt x="1578" y="1650"/>
                    </a:lnTo>
                    <a:lnTo>
                      <a:pt x="1575" y="1656"/>
                    </a:lnTo>
                    <a:lnTo>
                      <a:pt x="1572" y="1662"/>
                    </a:lnTo>
                    <a:lnTo>
                      <a:pt x="1567" y="1663"/>
                    </a:lnTo>
                    <a:lnTo>
                      <a:pt x="1558" y="1659"/>
                    </a:lnTo>
                    <a:lnTo>
                      <a:pt x="1554" y="1660"/>
                    </a:lnTo>
                    <a:lnTo>
                      <a:pt x="1552" y="1668"/>
                    </a:lnTo>
                    <a:lnTo>
                      <a:pt x="1543" y="1666"/>
                    </a:lnTo>
                    <a:lnTo>
                      <a:pt x="1539" y="1669"/>
                    </a:lnTo>
                    <a:lnTo>
                      <a:pt x="1540" y="1678"/>
                    </a:lnTo>
                    <a:lnTo>
                      <a:pt x="1515" y="1678"/>
                    </a:lnTo>
                    <a:lnTo>
                      <a:pt x="1501" y="1681"/>
                    </a:lnTo>
                    <a:lnTo>
                      <a:pt x="1494" y="1684"/>
                    </a:lnTo>
                    <a:lnTo>
                      <a:pt x="1486" y="1690"/>
                    </a:lnTo>
                    <a:lnTo>
                      <a:pt x="1486" y="1693"/>
                    </a:lnTo>
                    <a:lnTo>
                      <a:pt x="1491" y="1696"/>
                    </a:lnTo>
                    <a:lnTo>
                      <a:pt x="1491" y="1705"/>
                    </a:lnTo>
                    <a:lnTo>
                      <a:pt x="1492" y="1710"/>
                    </a:lnTo>
                    <a:lnTo>
                      <a:pt x="1491" y="1714"/>
                    </a:lnTo>
                    <a:lnTo>
                      <a:pt x="1480" y="1711"/>
                    </a:lnTo>
                    <a:lnTo>
                      <a:pt x="1473" y="1713"/>
                    </a:lnTo>
                    <a:lnTo>
                      <a:pt x="1471" y="1717"/>
                    </a:lnTo>
                    <a:lnTo>
                      <a:pt x="1477" y="1723"/>
                    </a:lnTo>
                    <a:lnTo>
                      <a:pt x="1482" y="1728"/>
                    </a:lnTo>
                    <a:lnTo>
                      <a:pt x="1492" y="1735"/>
                    </a:lnTo>
                    <a:lnTo>
                      <a:pt x="1488" y="1738"/>
                    </a:lnTo>
                    <a:lnTo>
                      <a:pt x="1486" y="1743"/>
                    </a:lnTo>
                    <a:lnTo>
                      <a:pt x="1474" y="1744"/>
                    </a:lnTo>
                    <a:lnTo>
                      <a:pt x="1467" y="1743"/>
                    </a:lnTo>
                    <a:lnTo>
                      <a:pt x="1467" y="1750"/>
                    </a:lnTo>
                    <a:lnTo>
                      <a:pt x="1470" y="1752"/>
                    </a:lnTo>
                    <a:lnTo>
                      <a:pt x="1468" y="1761"/>
                    </a:lnTo>
                    <a:lnTo>
                      <a:pt x="1476" y="1759"/>
                    </a:lnTo>
                    <a:lnTo>
                      <a:pt x="1479" y="1756"/>
                    </a:lnTo>
                    <a:lnTo>
                      <a:pt x="1501" y="1765"/>
                    </a:lnTo>
                    <a:lnTo>
                      <a:pt x="1506" y="1762"/>
                    </a:lnTo>
                    <a:lnTo>
                      <a:pt x="1513" y="1759"/>
                    </a:lnTo>
                    <a:lnTo>
                      <a:pt x="1516" y="1759"/>
                    </a:lnTo>
                    <a:lnTo>
                      <a:pt x="1524" y="1755"/>
                    </a:lnTo>
                    <a:lnTo>
                      <a:pt x="1527" y="1753"/>
                    </a:lnTo>
                    <a:lnTo>
                      <a:pt x="1531" y="1759"/>
                    </a:lnTo>
                    <a:lnTo>
                      <a:pt x="1537" y="1765"/>
                    </a:lnTo>
                    <a:lnTo>
                      <a:pt x="1533" y="1780"/>
                    </a:lnTo>
                    <a:lnTo>
                      <a:pt x="1533" y="1785"/>
                    </a:lnTo>
                    <a:lnTo>
                      <a:pt x="1540" y="1783"/>
                    </a:lnTo>
                    <a:lnTo>
                      <a:pt x="1551" y="1774"/>
                    </a:lnTo>
                    <a:lnTo>
                      <a:pt x="1557" y="1771"/>
                    </a:lnTo>
                    <a:lnTo>
                      <a:pt x="1569" y="1770"/>
                    </a:lnTo>
                    <a:lnTo>
                      <a:pt x="1572" y="1773"/>
                    </a:lnTo>
                    <a:lnTo>
                      <a:pt x="1576" y="1774"/>
                    </a:lnTo>
                    <a:lnTo>
                      <a:pt x="1579" y="1783"/>
                    </a:lnTo>
                    <a:lnTo>
                      <a:pt x="1582" y="1788"/>
                    </a:lnTo>
                    <a:lnTo>
                      <a:pt x="1578" y="1797"/>
                    </a:lnTo>
                    <a:lnTo>
                      <a:pt x="1579" y="1803"/>
                    </a:lnTo>
                    <a:lnTo>
                      <a:pt x="1576" y="1813"/>
                    </a:lnTo>
                    <a:lnTo>
                      <a:pt x="1579" y="1819"/>
                    </a:lnTo>
                    <a:lnTo>
                      <a:pt x="1587" y="1818"/>
                    </a:lnTo>
                    <a:lnTo>
                      <a:pt x="1588" y="1824"/>
                    </a:lnTo>
                    <a:lnTo>
                      <a:pt x="1587" y="1836"/>
                    </a:lnTo>
                    <a:lnTo>
                      <a:pt x="1588" y="1840"/>
                    </a:lnTo>
                    <a:lnTo>
                      <a:pt x="1594" y="1842"/>
                    </a:lnTo>
                    <a:lnTo>
                      <a:pt x="1603" y="1842"/>
                    </a:lnTo>
                    <a:lnTo>
                      <a:pt x="1602" y="1849"/>
                    </a:lnTo>
                    <a:lnTo>
                      <a:pt x="1606" y="1851"/>
                    </a:lnTo>
                    <a:lnTo>
                      <a:pt x="1612" y="1846"/>
                    </a:lnTo>
                    <a:lnTo>
                      <a:pt x="1617" y="1858"/>
                    </a:lnTo>
                    <a:lnTo>
                      <a:pt x="1615" y="1867"/>
                    </a:lnTo>
                    <a:lnTo>
                      <a:pt x="1618" y="1872"/>
                    </a:lnTo>
                    <a:lnTo>
                      <a:pt x="1611" y="1878"/>
                    </a:lnTo>
                    <a:lnTo>
                      <a:pt x="1608" y="1899"/>
                    </a:lnTo>
                    <a:lnTo>
                      <a:pt x="1612" y="1903"/>
                    </a:lnTo>
                    <a:lnTo>
                      <a:pt x="1614" y="1912"/>
                    </a:lnTo>
                    <a:lnTo>
                      <a:pt x="1617" y="1912"/>
                    </a:lnTo>
                    <a:lnTo>
                      <a:pt x="1621" y="1911"/>
                    </a:lnTo>
                    <a:lnTo>
                      <a:pt x="1618" y="1923"/>
                    </a:lnTo>
                    <a:lnTo>
                      <a:pt x="1621" y="1927"/>
                    </a:lnTo>
                    <a:lnTo>
                      <a:pt x="1620" y="1930"/>
                    </a:lnTo>
                    <a:lnTo>
                      <a:pt x="1624" y="1936"/>
                    </a:lnTo>
                    <a:lnTo>
                      <a:pt x="1627" y="1948"/>
                    </a:lnTo>
                    <a:lnTo>
                      <a:pt x="1630" y="1945"/>
                    </a:lnTo>
                    <a:lnTo>
                      <a:pt x="1635" y="1944"/>
                    </a:lnTo>
                    <a:lnTo>
                      <a:pt x="1642" y="1945"/>
                    </a:lnTo>
                    <a:lnTo>
                      <a:pt x="1644" y="1948"/>
                    </a:lnTo>
                    <a:lnTo>
                      <a:pt x="1645" y="1950"/>
                    </a:lnTo>
                    <a:lnTo>
                      <a:pt x="1650" y="1956"/>
                    </a:lnTo>
                    <a:lnTo>
                      <a:pt x="1659" y="1957"/>
                    </a:lnTo>
                    <a:lnTo>
                      <a:pt x="1666" y="1960"/>
                    </a:lnTo>
                    <a:lnTo>
                      <a:pt x="1677" y="1962"/>
                    </a:lnTo>
                    <a:lnTo>
                      <a:pt x="1678" y="1968"/>
                    </a:lnTo>
                    <a:lnTo>
                      <a:pt x="1686" y="1971"/>
                    </a:lnTo>
                    <a:lnTo>
                      <a:pt x="1687" y="1974"/>
                    </a:lnTo>
                    <a:lnTo>
                      <a:pt x="1677" y="1974"/>
                    </a:lnTo>
                    <a:lnTo>
                      <a:pt x="1665" y="1974"/>
                    </a:lnTo>
                    <a:lnTo>
                      <a:pt x="1660" y="1978"/>
                    </a:lnTo>
                    <a:lnTo>
                      <a:pt x="1654" y="1975"/>
                    </a:lnTo>
                    <a:lnTo>
                      <a:pt x="1639" y="1965"/>
                    </a:lnTo>
                    <a:lnTo>
                      <a:pt x="1633" y="1968"/>
                    </a:lnTo>
                    <a:lnTo>
                      <a:pt x="1629" y="1968"/>
                    </a:lnTo>
                    <a:lnTo>
                      <a:pt x="1624" y="1965"/>
                    </a:lnTo>
                    <a:lnTo>
                      <a:pt x="1626" y="1972"/>
                    </a:lnTo>
                    <a:lnTo>
                      <a:pt x="1629" y="1974"/>
                    </a:lnTo>
                    <a:lnTo>
                      <a:pt x="1627" y="1981"/>
                    </a:lnTo>
                    <a:lnTo>
                      <a:pt x="1624" y="1987"/>
                    </a:lnTo>
                    <a:lnTo>
                      <a:pt x="1635" y="1987"/>
                    </a:lnTo>
                    <a:lnTo>
                      <a:pt x="1638" y="1986"/>
                    </a:lnTo>
                    <a:lnTo>
                      <a:pt x="1644" y="1990"/>
                    </a:lnTo>
                    <a:lnTo>
                      <a:pt x="1650" y="1992"/>
                    </a:lnTo>
                    <a:lnTo>
                      <a:pt x="1647" y="1998"/>
                    </a:lnTo>
                    <a:lnTo>
                      <a:pt x="1645" y="2004"/>
                    </a:lnTo>
                    <a:lnTo>
                      <a:pt x="1642" y="2007"/>
                    </a:lnTo>
                    <a:lnTo>
                      <a:pt x="1641" y="2014"/>
                    </a:lnTo>
                    <a:lnTo>
                      <a:pt x="1635" y="2020"/>
                    </a:lnTo>
                    <a:lnTo>
                      <a:pt x="1635" y="2026"/>
                    </a:lnTo>
                    <a:lnTo>
                      <a:pt x="1638" y="2035"/>
                    </a:lnTo>
                    <a:lnTo>
                      <a:pt x="1632" y="2047"/>
                    </a:lnTo>
                    <a:lnTo>
                      <a:pt x="1645" y="2067"/>
                    </a:lnTo>
                    <a:lnTo>
                      <a:pt x="1651" y="2061"/>
                    </a:lnTo>
                    <a:lnTo>
                      <a:pt x="1656" y="2055"/>
                    </a:lnTo>
                    <a:lnTo>
                      <a:pt x="1659" y="2059"/>
                    </a:lnTo>
                    <a:lnTo>
                      <a:pt x="1666" y="2058"/>
                    </a:lnTo>
                    <a:lnTo>
                      <a:pt x="1660" y="2068"/>
                    </a:lnTo>
                    <a:lnTo>
                      <a:pt x="1656" y="2077"/>
                    </a:lnTo>
                    <a:lnTo>
                      <a:pt x="1674" y="2071"/>
                    </a:lnTo>
                    <a:lnTo>
                      <a:pt x="1677" y="2077"/>
                    </a:lnTo>
                    <a:lnTo>
                      <a:pt x="1678" y="2089"/>
                    </a:lnTo>
                    <a:lnTo>
                      <a:pt x="1686" y="2085"/>
                    </a:lnTo>
                    <a:lnTo>
                      <a:pt x="1689" y="2082"/>
                    </a:lnTo>
                    <a:lnTo>
                      <a:pt x="1692" y="2083"/>
                    </a:lnTo>
                    <a:lnTo>
                      <a:pt x="1689" y="2097"/>
                    </a:lnTo>
                    <a:lnTo>
                      <a:pt x="1683" y="2103"/>
                    </a:lnTo>
                    <a:lnTo>
                      <a:pt x="1672" y="2106"/>
                    </a:lnTo>
                    <a:lnTo>
                      <a:pt x="1674" y="2122"/>
                    </a:lnTo>
                    <a:lnTo>
                      <a:pt x="1680" y="2124"/>
                    </a:lnTo>
                    <a:lnTo>
                      <a:pt x="1689" y="2128"/>
                    </a:lnTo>
                    <a:lnTo>
                      <a:pt x="1678" y="2142"/>
                    </a:lnTo>
                    <a:lnTo>
                      <a:pt x="1669" y="2143"/>
                    </a:lnTo>
                    <a:lnTo>
                      <a:pt x="1657" y="2151"/>
                    </a:lnTo>
                    <a:lnTo>
                      <a:pt x="1647" y="2164"/>
                    </a:lnTo>
                    <a:lnTo>
                      <a:pt x="1635" y="2170"/>
                    </a:lnTo>
                    <a:lnTo>
                      <a:pt x="1630" y="2179"/>
                    </a:lnTo>
                    <a:lnTo>
                      <a:pt x="1620" y="2181"/>
                    </a:lnTo>
                    <a:lnTo>
                      <a:pt x="1614" y="2178"/>
                    </a:lnTo>
                    <a:lnTo>
                      <a:pt x="1609" y="2169"/>
                    </a:lnTo>
                    <a:lnTo>
                      <a:pt x="1608" y="2158"/>
                    </a:lnTo>
                    <a:lnTo>
                      <a:pt x="1599" y="2160"/>
                    </a:lnTo>
                    <a:lnTo>
                      <a:pt x="1590" y="2170"/>
                    </a:lnTo>
                    <a:lnTo>
                      <a:pt x="1591" y="2184"/>
                    </a:lnTo>
                    <a:lnTo>
                      <a:pt x="1587" y="2196"/>
                    </a:lnTo>
                    <a:lnTo>
                      <a:pt x="1588" y="2209"/>
                    </a:lnTo>
                    <a:lnTo>
                      <a:pt x="1587" y="2226"/>
                    </a:lnTo>
                    <a:lnTo>
                      <a:pt x="1581" y="2230"/>
                    </a:lnTo>
                    <a:lnTo>
                      <a:pt x="1567" y="2236"/>
                    </a:lnTo>
                    <a:lnTo>
                      <a:pt x="1554" y="2239"/>
                    </a:lnTo>
                    <a:lnTo>
                      <a:pt x="1545" y="2253"/>
                    </a:lnTo>
                    <a:lnTo>
                      <a:pt x="1539" y="2245"/>
                    </a:lnTo>
                    <a:lnTo>
                      <a:pt x="1527" y="2221"/>
                    </a:lnTo>
                    <a:lnTo>
                      <a:pt x="1518" y="2212"/>
                    </a:lnTo>
                    <a:lnTo>
                      <a:pt x="1510" y="2205"/>
                    </a:lnTo>
                    <a:lnTo>
                      <a:pt x="1506" y="2206"/>
                    </a:lnTo>
                    <a:lnTo>
                      <a:pt x="1501" y="2220"/>
                    </a:lnTo>
                    <a:lnTo>
                      <a:pt x="1488" y="2230"/>
                    </a:lnTo>
                    <a:lnTo>
                      <a:pt x="1488" y="2253"/>
                    </a:lnTo>
                    <a:lnTo>
                      <a:pt x="1480" y="2269"/>
                    </a:lnTo>
                    <a:lnTo>
                      <a:pt x="1480" y="2284"/>
                    </a:lnTo>
                    <a:lnTo>
                      <a:pt x="1477" y="2289"/>
                    </a:lnTo>
                    <a:lnTo>
                      <a:pt x="1462" y="2286"/>
                    </a:lnTo>
                    <a:lnTo>
                      <a:pt x="1459" y="2289"/>
                    </a:lnTo>
                    <a:lnTo>
                      <a:pt x="1456" y="2298"/>
                    </a:lnTo>
                    <a:lnTo>
                      <a:pt x="1443" y="2307"/>
                    </a:lnTo>
                    <a:lnTo>
                      <a:pt x="1438" y="2317"/>
                    </a:lnTo>
                    <a:lnTo>
                      <a:pt x="1434" y="2335"/>
                    </a:lnTo>
                    <a:lnTo>
                      <a:pt x="1434" y="2358"/>
                    </a:lnTo>
                    <a:lnTo>
                      <a:pt x="1434" y="2365"/>
                    </a:lnTo>
                    <a:lnTo>
                      <a:pt x="1426" y="2376"/>
                    </a:lnTo>
                    <a:lnTo>
                      <a:pt x="1426" y="2391"/>
                    </a:lnTo>
                    <a:lnTo>
                      <a:pt x="1423" y="2403"/>
                    </a:lnTo>
                    <a:lnTo>
                      <a:pt x="1428" y="2409"/>
                    </a:lnTo>
                    <a:lnTo>
                      <a:pt x="1431" y="2418"/>
                    </a:lnTo>
                    <a:lnTo>
                      <a:pt x="1423" y="2422"/>
                    </a:lnTo>
                    <a:lnTo>
                      <a:pt x="1414" y="2424"/>
                    </a:lnTo>
                    <a:lnTo>
                      <a:pt x="1402" y="2446"/>
                    </a:lnTo>
                    <a:lnTo>
                      <a:pt x="1390" y="2481"/>
                    </a:lnTo>
                    <a:lnTo>
                      <a:pt x="1390" y="2490"/>
                    </a:lnTo>
                    <a:lnTo>
                      <a:pt x="1393" y="2512"/>
                    </a:lnTo>
                    <a:lnTo>
                      <a:pt x="1384" y="2502"/>
                    </a:lnTo>
                    <a:lnTo>
                      <a:pt x="1375" y="2499"/>
                    </a:lnTo>
                    <a:lnTo>
                      <a:pt x="1369" y="2493"/>
                    </a:lnTo>
                    <a:lnTo>
                      <a:pt x="1356" y="2469"/>
                    </a:lnTo>
                    <a:lnTo>
                      <a:pt x="1350" y="2466"/>
                    </a:lnTo>
                    <a:lnTo>
                      <a:pt x="1342" y="2424"/>
                    </a:lnTo>
                    <a:lnTo>
                      <a:pt x="1339" y="2413"/>
                    </a:lnTo>
                    <a:lnTo>
                      <a:pt x="1336" y="2406"/>
                    </a:lnTo>
                    <a:lnTo>
                      <a:pt x="1341" y="2401"/>
                    </a:lnTo>
                    <a:lnTo>
                      <a:pt x="1347" y="2391"/>
                    </a:lnTo>
                    <a:lnTo>
                      <a:pt x="1344" y="2380"/>
                    </a:lnTo>
                    <a:lnTo>
                      <a:pt x="1336" y="2377"/>
                    </a:lnTo>
                    <a:lnTo>
                      <a:pt x="1330" y="2376"/>
                    </a:lnTo>
                    <a:lnTo>
                      <a:pt x="1327" y="2371"/>
                    </a:lnTo>
                    <a:lnTo>
                      <a:pt x="1329" y="2365"/>
                    </a:lnTo>
                    <a:lnTo>
                      <a:pt x="1332" y="2364"/>
                    </a:lnTo>
                    <a:lnTo>
                      <a:pt x="1341" y="2368"/>
                    </a:lnTo>
                    <a:lnTo>
                      <a:pt x="1345" y="2361"/>
                    </a:lnTo>
                    <a:lnTo>
                      <a:pt x="1344" y="2346"/>
                    </a:lnTo>
                    <a:lnTo>
                      <a:pt x="1339" y="2343"/>
                    </a:lnTo>
                    <a:lnTo>
                      <a:pt x="1335" y="2332"/>
                    </a:lnTo>
                    <a:lnTo>
                      <a:pt x="1330" y="2334"/>
                    </a:lnTo>
                    <a:lnTo>
                      <a:pt x="1321" y="2346"/>
                    </a:lnTo>
                    <a:lnTo>
                      <a:pt x="1309" y="2341"/>
                    </a:lnTo>
                    <a:lnTo>
                      <a:pt x="1306" y="2331"/>
                    </a:lnTo>
                    <a:lnTo>
                      <a:pt x="1300" y="2323"/>
                    </a:lnTo>
                    <a:lnTo>
                      <a:pt x="1296" y="2301"/>
                    </a:lnTo>
                    <a:lnTo>
                      <a:pt x="1300" y="2292"/>
                    </a:lnTo>
                    <a:lnTo>
                      <a:pt x="1294" y="2283"/>
                    </a:lnTo>
                    <a:lnTo>
                      <a:pt x="1291" y="2275"/>
                    </a:lnTo>
                    <a:lnTo>
                      <a:pt x="1291" y="2269"/>
                    </a:lnTo>
                    <a:lnTo>
                      <a:pt x="1287" y="2259"/>
                    </a:lnTo>
                    <a:lnTo>
                      <a:pt x="1288" y="2250"/>
                    </a:lnTo>
                    <a:lnTo>
                      <a:pt x="1293" y="2241"/>
                    </a:lnTo>
                    <a:lnTo>
                      <a:pt x="1284" y="2242"/>
                    </a:lnTo>
                    <a:lnTo>
                      <a:pt x="1267" y="2242"/>
                    </a:lnTo>
                    <a:lnTo>
                      <a:pt x="1252" y="2241"/>
                    </a:lnTo>
                    <a:lnTo>
                      <a:pt x="1246" y="2239"/>
                    </a:lnTo>
                    <a:lnTo>
                      <a:pt x="1240" y="2244"/>
                    </a:lnTo>
                    <a:lnTo>
                      <a:pt x="1233" y="2248"/>
                    </a:lnTo>
                    <a:lnTo>
                      <a:pt x="1227" y="2260"/>
                    </a:lnTo>
                    <a:lnTo>
                      <a:pt x="1218" y="2256"/>
                    </a:lnTo>
                    <a:lnTo>
                      <a:pt x="1218" y="2247"/>
                    </a:lnTo>
                    <a:lnTo>
                      <a:pt x="1219" y="2236"/>
                    </a:lnTo>
                    <a:lnTo>
                      <a:pt x="1225" y="2226"/>
                    </a:lnTo>
                    <a:lnTo>
                      <a:pt x="1222" y="2209"/>
                    </a:lnTo>
                    <a:lnTo>
                      <a:pt x="1222" y="2197"/>
                    </a:lnTo>
                    <a:lnTo>
                      <a:pt x="1221" y="2191"/>
                    </a:lnTo>
                    <a:lnTo>
                      <a:pt x="1212" y="2178"/>
                    </a:lnTo>
                    <a:lnTo>
                      <a:pt x="1209" y="2172"/>
                    </a:lnTo>
                    <a:lnTo>
                      <a:pt x="1203" y="2173"/>
                    </a:lnTo>
                    <a:lnTo>
                      <a:pt x="1195" y="2176"/>
                    </a:lnTo>
                    <a:lnTo>
                      <a:pt x="1197" y="2166"/>
                    </a:lnTo>
                    <a:lnTo>
                      <a:pt x="1195" y="2163"/>
                    </a:lnTo>
                    <a:lnTo>
                      <a:pt x="1188" y="2167"/>
                    </a:lnTo>
                    <a:lnTo>
                      <a:pt x="1183" y="2179"/>
                    </a:lnTo>
                    <a:lnTo>
                      <a:pt x="1176" y="2176"/>
                    </a:lnTo>
                    <a:lnTo>
                      <a:pt x="1173" y="2190"/>
                    </a:lnTo>
                    <a:lnTo>
                      <a:pt x="1167" y="2199"/>
                    </a:lnTo>
                    <a:lnTo>
                      <a:pt x="1156" y="2205"/>
                    </a:lnTo>
                    <a:lnTo>
                      <a:pt x="1147" y="2202"/>
                    </a:lnTo>
                    <a:lnTo>
                      <a:pt x="1129" y="2224"/>
                    </a:lnTo>
                    <a:lnTo>
                      <a:pt x="1129" y="2233"/>
                    </a:lnTo>
                    <a:lnTo>
                      <a:pt x="1126" y="2242"/>
                    </a:lnTo>
                    <a:lnTo>
                      <a:pt x="1120" y="2242"/>
                    </a:lnTo>
                    <a:lnTo>
                      <a:pt x="1110" y="2239"/>
                    </a:lnTo>
                    <a:lnTo>
                      <a:pt x="1099" y="2262"/>
                    </a:lnTo>
                    <a:lnTo>
                      <a:pt x="1096" y="2263"/>
                    </a:lnTo>
                    <a:lnTo>
                      <a:pt x="1087" y="2274"/>
                    </a:lnTo>
                    <a:lnTo>
                      <a:pt x="1093" y="2283"/>
                    </a:lnTo>
                    <a:lnTo>
                      <a:pt x="1092" y="2290"/>
                    </a:lnTo>
                    <a:lnTo>
                      <a:pt x="1084" y="2295"/>
                    </a:lnTo>
                    <a:lnTo>
                      <a:pt x="1080" y="2301"/>
                    </a:lnTo>
                    <a:lnTo>
                      <a:pt x="1084" y="2326"/>
                    </a:lnTo>
                    <a:lnTo>
                      <a:pt x="1080" y="2338"/>
                    </a:lnTo>
                    <a:lnTo>
                      <a:pt x="1072" y="2344"/>
                    </a:lnTo>
                    <a:lnTo>
                      <a:pt x="1062" y="2343"/>
                    </a:lnTo>
                    <a:lnTo>
                      <a:pt x="1056" y="2349"/>
                    </a:lnTo>
                    <a:lnTo>
                      <a:pt x="1051" y="2371"/>
                    </a:lnTo>
                    <a:lnTo>
                      <a:pt x="1045" y="2377"/>
                    </a:lnTo>
                    <a:lnTo>
                      <a:pt x="1045" y="2386"/>
                    </a:lnTo>
                    <a:lnTo>
                      <a:pt x="1045" y="2395"/>
                    </a:lnTo>
                    <a:lnTo>
                      <a:pt x="1048" y="2404"/>
                    </a:lnTo>
                    <a:lnTo>
                      <a:pt x="1048" y="2412"/>
                    </a:lnTo>
                    <a:lnTo>
                      <a:pt x="1044" y="2418"/>
                    </a:lnTo>
                    <a:lnTo>
                      <a:pt x="1042" y="2422"/>
                    </a:lnTo>
                    <a:lnTo>
                      <a:pt x="1030" y="2425"/>
                    </a:lnTo>
                    <a:lnTo>
                      <a:pt x="1018" y="2434"/>
                    </a:lnTo>
                    <a:lnTo>
                      <a:pt x="1018" y="2445"/>
                    </a:lnTo>
                    <a:lnTo>
                      <a:pt x="1017" y="2446"/>
                    </a:lnTo>
                    <a:lnTo>
                      <a:pt x="1011" y="2445"/>
                    </a:lnTo>
                    <a:lnTo>
                      <a:pt x="1005" y="2452"/>
                    </a:lnTo>
                    <a:lnTo>
                      <a:pt x="994" y="2475"/>
                    </a:lnTo>
                    <a:lnTo>
                      <a:pt x="994" y="2479"/>
                    </a:lnTo>
                    <a:lnTo>
                      <a:pt x="997" y="2487"/>
                    </a:lnTo>
                    <a:lnTo>
                      <a:pt x="991" y="2494"/>
                    </a:lnTo>
                    <a:lnTo>
                      <a:pt x="985" y="2497"/>
                    </a:lnTo>
                    <a:lnTo>
                      <a:pt x="981" y="2494"/>
                    </a:lnTo>
                    <a:lnTo>
                      <a:pt x="978" y="2503"/>
                    </a:lnTo>
                    <a:lnTo>
                      <a:pt x="963" y="2500"/>
                    </a:lnTo>
                    <a:lnTo>
                      <a:pt x="955" y="2509"/>
                    </a:lnTo>
                    <a:lnTo>
                      <a:pt x="951" y="2508"/>
                    </a:lnTo>
                    <a:lnTo>
                      <a:pt x="945" y="2505"/>
                    </a:lnTo>
                    <a:lnTo>
                      <a:pt x="939" y="2505"/>
                    </a:lnTo>
                    <a:lnTo>
                      <a:pt x="934" y="2503"/>
                    </a:lnTo>
                    <a:lnTo>
                      <a:pt x="925" y="2499"/>
                    </a:lnTo>
                    <a:lnTo>
                      <a:pt x="916" y="2503"/>
                    </a:lnTo>
                    <a:lnTo>
                      <a:pt x="915" y="2496"/>
                    </a:lnTo>
                    <a:lnTo>
                      <a:pt x="910" y="2494"/>
                    </a:lnTo>
                    <a:lnTo>
                      <a:pt x="907" y="2500"/>
                    </a:lnTo>
                    <a:lnTo>
                      <a:pt x="901" y="2505"/>
                    </a:lnTo>
                    <a:lnTo>
                      <a:pt x="892" y="2508"/>
                    </a:lnTo>
                    <a:lnTo>
                      <a:pt x="886" y="2503"/>
                    </a:lnTo>
                    <a:lnTo>
                      <a:pt x="877" y="2497"/>
                    </a:lnTo>
                    <a:lnTo>
                      <a:pt x="876" y="2490"/>
                    </a:lnTo>
                    <a:lnTo>
                      <a:pt x="877" y="2479"/>
                    </a:lnTo>
                    <a:lnTo>
                      <a:pt x="874" y="2478"/>
                    </a:lnTo>
                    <a:lnTo>
                      <a:pt x="867" y="2472"/>
                    </a:lnTo>
                    <a:lnTo>
                      <a:pt x="861" y="2478"/>
                    </a:lnTo>
                    <a:lnTo>
                      <a:pt x="853" y="2479"/>
                    </a:lnTo>
                    <a:lnTo>
                      <a:pt x="852" y="2481"/>
                    </a:lnTo>
                    <a:lnTo>
                      <a:pt x="846" y="2478"/>
                    </a:lnTo>
                    <a:lnTo>
                      <a:pt x="841" y="2476"/>
                    </a:lnTo>
                    <a:lnTo>
                      <a:pt x="831" y="2478"/>
                    </a:lnTo>
                    <a:lnTo>
                      <a:pt x="829" y="2479"/>
                    </a:lnTo>
                    <a:lnTo>
                      <a:pt x="826" y="2481"/>
                    </a:lnTo>
                    <a:lnTo>
                      <a:pt x="822" y="2482"/>
                    </a:lnTo>
                    <a:lnTo>
                      <a:pt x="811" y="2491"/>
                    </a:lnTo>
                    <a:lnTo>
                      <a:pt x="807" y="2491"/>
                    </a:lnTo>
                    <a:lnTo>
                      <a:pt x="796" y="2488"/>
                    </a:lnTo>
                    <a:lnTo>
                      <a:pt x="789" y="2490"/>
                    </a:lnTo>
                    <a:lnTo>
                      <a:pt x="781" y="2493"/>
                    </a:lnTo>
                    <a:lnTo>
                      <a:pt x="775" y="2497"/>
                    </a:lnTo>
                    <a:lnTo>
                      <a:pt x="777" y="2505"/>
                    </a:lnTo>
                    <a:lnTo>
                      <a:pt x="778" y="2520"/>
                    </a:lnTo>
                    <a:lnTo>
                      <a:pt x="784" y="2523"/>
                    </a:lnTo>
                    <a:lnTo>
                      <a:pt x="784" y="2527"/>
                    </a:lnTo>
                    <a:lnTo>
                      <a:pt x="781" y="2527"/>
                    </a:lnTo>
                    <a:lnTo>
                      <a:pt x="775" y="2532"/>
                    </a:lnTo>
                    <a:lnTo>
                      <a:pt x="757" y="2520"/>
                    </a:lnTo>
                    <a:lnTo>
                      <a:pt x="742" y="2508"/>
                    </a:lnTo>
                    <a:lnTo>
                      <a:pt x="741" y="2505"/>
                    </a:lnTo>
                    <a:lnTo>
                      <a:pt x="742" y="2500"/>
                    </a:lnTo>
                    <a:lnTo>
                      <a:pt x="745" y="2491"/>
                    </a:lnTo>
                    <a:lnTo>
                      <a:pt x="744" y="2485"/>
                    </a:lnTo>
                    <a:lnTo>
                      <a:pt x="738" y="2478"/>
                    </a:lnTo>
                    <a:lnTo>
                      <a:pt x="744" y="2475"/>
                    </a:lnTo>
                    <a:lnTo>
                      <a:pt x="748" y="2467"/>
                    </a:lnTo>
                    <a:lnTo>
                      <a:pt x="745" y="2464"/>
                    </a:lnTo>
                    <a:lnTo>
                      <a:pt x="730" y="2439"/>
                    </a:lnTo>
                    <a:lnTo>
                      <a:pt x="718" y="2445"/>
                    </a:lnTo>
                    <a:lnTo>
                      <a:pt x="711" y="2439"/>
                    </a:lnTo>
                    <a:lnTo>
                      <a:pt x="711" y="2428"/>
                    </a:lnTo>
                    <a:lnTo>
                      <a:pt x="721" y="2416"/>
                    </a:lnTo>
                    <a:lnTo>
                      <a:pt x="724" y="2406"/>
                    </a:lnTo>
                    <a:lnTo>
                      <a:pt x="729" y="2377"/>
                    </a:lnTo>
                    <a:lnTo>
                      <a:pt x="724" y="2362"/>
                    </a:lnTo>
                    <a:lnTo>
                      <a:pt x="726" y="2356"/>
                    </a:lnTo>
                    <a:lnTo>
                      <a:pt x="738" y="2352"/>
                    </a:lnTo>
                    <a:lnTo>
                      <a:pt x="739" y="2344"/>
                    </a:lnTo>
                    <a:lnTo>
                      <a:pt x="741" y="2334"/>
                    </a:lnTo>
                    <a:lnTo>
                      <a:pt x="735" y="2320"/>
                    </a:lnTo>
                    <a:lnTo>
                      <a:pt x="736" y="2305"/>
                    </a:lnTo>
                    <a:lnTo>
                      <a:pt x="729" y="2302"/>
                    </a:lnTo>
                    <a:lnTo>
                      <a:pt x="724" y="2298"/>
                    </a:lnTo>
                    <a:lnTo>
                      <a:pt x="717" y="2290"/>
                    </a:lnTo>
                    <a:lnTo>
                      <a:pt x="711" y="2274"/>
                    </a:lnTo>
                    <a:lnTo>
                      <a:pt x="708" y="2266"/>
                    </a:lnTo>
                    <a:lnTo>
                      <a:pt x="700" y="2262"/>
                    </a:lnTo>
                    <a:lnTo>
                      <a:pt x="684" y="2235"/>
                    </a:lnTo>
                    <a:lnTo>
                      <a:pt x="679" y="2226"/>
                    </a:lnTo>
                    <a:lnTo>
                      <a:pt x="676" y="2202"/>
                    </a:lnTo>
                    <a:lnTo>
                      <a:pt x="684" y="2199"/>
                    </a:lnTo>
                    <a:lnTo>
                      <a:pt x="690" y="2193"/>
                    </a:lnTo>
                    <a:lnTo>
                      <a:pt x="691" y="2185"/>
                    </a:lnTo>
                    <a:lnTo>
                      <a:pt x="684" y="2176"/>
                    </a:lnTo>
                    <a:lnTo>
                      <a:pt x="673" y="2167"/>
                    </a:lnTo>
                    <a:lnTo>
                      <a:pt x="670" y="2160"/>
                    </a:lnTo>
                    <a:lnTo>
                      <a:pt x="670" y="2151"/>
                    </a:lnTo>
                    <a:lnTo>
                      <a:pt x="672" y="2140"/>
                    </a:lnTo>
                    <a:lnTo>
                      <a:pt x="660" y="2116"/>
                    </a:lnTo>
                    <a:lnTo>
                      <a:pt x="654" y="2118"/>
                    </a:lnTo>
                    <a:lnTo>
                      <a:pt x="646" y="2113"/>
                    </a:lnTo>
                    <a:lnTo>
                      <a:pt x="639" y="2110"/>
                    </a:lnTo>
                    <a:lnTo>
                      <a:pt x="619" y="2115"/>
                    </a:lnTo>
                    <a:lnTo>
                      <a:pt x="601" y="2119"/>
                    </a:lnTo>
                    <a:lnTo>
                      <a:pt x="583" y="2130"/>
                    </a:lnTo>
                    <a:lnTo>
                      <a:pt x="570" y="2143"/>
                    </a:lnTo>
                    <a:lnTo>
                      <a:pt x="564" y="2145"/>
                    </a:lnTo>
                    <a:lnTo>
                      <a:pt x="562" y="2125"/>
                    </a:lnTo>
                    <a:lnTo>
                      <a:pt x="562" y="2119"/>
                    </a:lnTo>
                    <a:lnTo>
                      <a:pt x="555" y="2116"/>
                    </a:lnTo>
                    <a:lnTo>
                      <a:pt x="544" y="2113"/>
                    </a:lnTo>
                    <a:lnTo>
                      <a:pt x="538" y="2113"/>
                    </a:lnTo>
                    <a:lnTo>
                      <a:pt x="532" y="2115"/>
                    </a:lnTo>
                    <a:lnTo>
                      <a:pt x="529" y="2125"/>
                    </a:lnTo>
                    <a:lnTo>
                      <a:pt x="525" y="2128"/>
                    </a:lnTo>
                    <a:lnTo>
                      <a:pt x="519" y="2139"/>
                    </a:lnTo>
                    <a:lnTo>
                      <a:pt x="520" y="2143"/>
                    </a:lnTo>
                    <a:lnTo>
                      <a:pt x="504" y="2142"/>
                    </a:lnTo>
                    <a:lnTo>
                      <a:pt x="499" y="2151"/>
                    </a:lnTo>
                    <a:lnTo>
                      <a:pt x="496" y="2149"/>
                    </a:lnTo>
                    <a:lnTo>
                      <a:pt x="489" y="2149"/>
                    </a:lnTo>
                    <a:lnTo>
                      <a:pt x="483" y="2158"/>
                    </a:lnTo>
                    <a:lnTo>
                      <a:pt x="477" y="2152"/>
                    </a:lnTo>
                    <a:lnTo>
                      <a:pt x="471" y="2157"/>
                    </a:lnTo>
                    <a:lnTo>
                      <a:pt x="472" y="2167"/>
                    </a:lnTo>
                    <a:lnTo>
                      <a:pt x="465" y="2172"/>
                    </a:lnTo>
                    <a:lnTo>
                      <a:pt x="457" y="2167"/>
                    </a:lnTo>
                    <a:lnTo>
                      <a:pt x="456" y="2173"/>
                    </a:lnTo>
                    <a:lnTo>
                      <a:pt x="453" y="2175"/>
                    </a:lnTo>
                    <a:lnTo>
                      <a:pt x="453" y="2172"/>
                    </a:lnTo>
                    <a:lnTo>
                      <a:pt x="441" y="2164"/>
                    </a:lnTo>
                    <a:lnTo>
                      <a:pt x="430" y="2175"/>
                    </a:lnTo>
                    <a:lnTo>
                      <a:pt x="427" y="2167"/>
                    </a:lnTo>
                    <a:lnTo>
                      <a:pt x="412" y="2161"/>
                    </a:lnTo>
                    <a:lnTo>
                      <a:pt x="415" y="2151"/>
                    </a:lnTo>
                    <a:lnTo>
                      <a:pt x="412" y="2139"/>
                    </a:lnTo>
                    <a:lnTo>
                      <a:pt x="406" y="2136"/>
                    </a:lnTo>
                    <a:lnTo>
                      <a:pt x="402" y="2133"/>
                    </a:lnTo>
                    <a:lnTo>
                      <a:pt x="397" y="2127"/>
                    </a:lnTo>
                    <a:lnTo>
                      <a:pt x="387" y="2127"/>
                    </a:lnTo>
                    <a:lnTo>
                      <a:pt x="382" y="2125"/>
                    </a:lnTo>
                    <a:lnTo>
                      <a:pt x="378" y="2122"/>
                    </a:lnTo>
                    <a:lnTo>
                      <a:pt x="379" y="2107"/>
                    </a:lnTo>
                    <a:lnTo>
                      <a:pt x="375" y="2104"/>
                    </a:lnTo>
                    <a:lnTo>
                      <a:pt x="366" y="2095"/>
                    </a:lnTo>
                    <a:lnTo>
                      <a:pt x="361" y="2086"/>
                    </a:lnTo>
                    <a:lnTo>
                      <a:pt x="360" y="2082"/>
                    </a:lnTo>
                    <a:lnTo>
                      <a:pt x="349" y="2082"/>
                    </a:lnTo>
                    <a:lnTo>
                      <a:pt x="349" y="2077"/>
                    </a:lnTo>
                    <a:lnTo>
                      <a:pt x="342" y="2071"/>
                    </a:lnTo>
                    <a:lnTo>
                      <a:pt x="337" y="2068"/>
                    </a:lnTo>
                    <a:lnTo>
                      <a:pt x="334" y="2062"/>
                    </a:lnTo>
                    <a:lnTo>
                      <a:pt x="333" y="2058"/>
                    </a:lnTo>
                    <a:lnTo>
                      <a:pt x="322" y="2053"/>
                    </a:lnTo>
                    <a:lnTo>
                      <a:pt x="319" y="2052"/>
                    </a:lnTo>
                    <a:lnTo>
                      <a:pt x="310" y="2049"/>
                    </a:lnTo>
                    <a:lnTo>
                      <a:pt x="301" y="2050"/>
                    </a:lnTo>
                    <a:lnTo>
                      <a:pt x="289" y="2044"/>
                    </a:lnTo>
                    <a:lnTo>
                      <a:pt x="273" y="2040"/>
                    </a:lnTo>
                    <a:lnTo>
                      <a:pt x="258" y="2053"/>
                    </a:lnTo>
                    <a:lnTo>
                      <a:pt x="250" y="2053"/>
                    </a:lnTo>
                    <a:lnTo>
                      <a:pt x="244" y="2032"/>
                    </a:lnTo>
                    <a:lnTo>
                      <a:pt x="237" y="2037"/>
                    </a:lnTo>
                    <a:lnTo>
                      <a:pt x="231" y="2040"/>
                    </a:lnTo>
                    <a:lnTo>
                      <a:pt x="219" y="2043"/>
                    </a:lnTo>
                    <a:lnTo>
                      <a:pt x="211" y="2053"/>
                    </a:lnTo>
                    <a:lnTo>
                      <a:pt x="199" y="2055"/>
                    </a:lnTo>
                    <a:lnTo>
                      <a:pt x="198" y="2061"/>
                    </a:lnTo>
                    <a:lnTo>
                      <a:pt x="192" y="2068"/>
                    </a:lnTo>
                    <a:lnTo>
                      <a:pt x="180" y="2073"/>
                    </a:lnTo>
                    <a:lnTo>
                      <a:pt x="174" y="2065"/>
                    </a:lnTo>
                    <a:lnTo>
                      <a:pt x="171" y="2071"/>
                    </a:lnTo>
                    <a:lnTo>
                      <a:pt x="166" y="2064"/>
                    </a:lnTo>
                    <a:lnTo>
                      <a:pt x="163" y="2058"/>
                    </a:lnTo>
                    <a:lnTo>
                      <a:pt x="151" y="2044"/>
                    </a:lnTo>
                    <a:lnTo>
                      <a:pt x="147" y="2029"/>
                    </a:lnTo>
                    <a:lnTo>
                      <a:pt x="141" y="2028"/>
                    </a:lnTo>
                    <a:lnTo>
                      <a:pt x="142" y="2014"/>
                    </a:lnTo>
                    <a:lnTo>
                      <a:pt x="135" y="2019"/>
                    </a:lnTo>
                    <a:lnTo>
                      <a:pt x="133" y="2011"/>
                    </a:lnTo>
                    <a:lnTo>
                      <a:pt x="138" y="2004"/>
                    </a:lnTo>
                    <a:lnTo>
                      <a:pt x="129" y="1993"/>
                    </a:lnTo>
                    <a:lnTo>
                      <a:pt x="127" y="1978"/>
                    </a:lnTo>
                    <a:lnTo>
                      <a:pt x="124" y="1974"/>
                    </a:lnTo>
                    <a:lnTo>
                      <a:pt x="118" y="1969"/>
                    </a:lnTo>
                    <a:lnTo>
                      <a:pt x="117" y="1965"/>
                    </a:lnTo>
                    <a:lnTo>
                      <a:pt x="129" y="1963"/>
                    </a:lnTo>
                    <a:lnTo>
                      <a:pt x="136" y="1960"/>
                    </a:lnTo>
                    <a:lnTo>
                      <a:pt x="144" y="1950"/>
                    </a:lnTo>
                    <a:lnTo>
                      <a:pt x="142" y="1944"/>
                    </a:lnTo>
                    <a:lnTo>
                      <a:pt x="132" y="1938"/>
                    </a:lnTo>
                    <a:lnTo>
                      <a:pt x="126" y="1935"/>
                    </a:lnTo>
                    <a:lnTo>
                      <a:pt x="118" y="1932"/>
                    </a:lnTo>
                    <a:lnTo>
                      <a:pt x="102" y="1936"/>
                    </a:lnTo>
                    <a:lnTo>
                      <a:pt x="94" y="1932"/>
                    </a:lnTo>
                    <a:lnTo>
                      <a:pt x="94" y="1926"/>
                    </a:lnTo>
                    <a:lnTo>
                      <a:pt x="85" y="1929"/>
                    </a:lnTo>
                    <a:lnTo>
                      <a:pt x="79" y="1927"/>
                    </a:lnTo>
                    <a:lnTo>
                      <a:pt x="72" y="1923"/>
                    </a:lnTo>
                    <a:lnTo>
                      <a:pt x="61" y="1932"/>
                    </a:lnTo>
                    <a:lnTo>
                      <a:pt x="54" y="1926"/>
                    </a:lnTo>
                    <a:lnTo>
                      <a:pt x="49" y="1929"/>
                    </a:lnTo>
                    <a:lnTo>
                      <a:pt x="40" y="1917"/>
                    </a:lnTo>
                    <a:lnTo>
                      <a:pt x="31" y="1909"/>
                    </a:lnTo>
                    <a:lnTo>
                      <a:pt x="19" y="1902"/>
                    </a:lnTo>
                    <a:lnTo>
                      <a:pt x="19" y="1896"/>
                    </a:lnTo>
                    <a:lnTo>
                      <a:pt x="30" y="1896"/>
                    </a:lnTo>
                    <a:lnTo>
                      <a:pt x="36" y="1891"/>
                    </a:lnTo>
                    <a:lnTo>
                      <a:pt x="45" y="1890"/>
                    </a:lnTo>
                    <a:lnTo>
                      <a:pt x="49" y="1884"/>
                    </a:lnTo>
                    <a:lnTo>
                      <a:pt x="49" y="1873"/>
                    </a:lnTo>
                    <a:lnTo>
                      <a:pt x="36" y="1860"/>
                    </a:lnTo>
                    <a:lnTo>
                      <a:pt x="16" y="1863"/>
                    </a:lnTo>
                    <a:lnTo>
                      <a:pt x="4" y="1863"/>
                    </a:lnTo>
                    <a:lnTo>
                      <a:pt x="1" y="1858"/>
                    </a:lnTo>
                    <a:lnTo>
                      <a:pt x="1" y="1843"/>
                    </a:lnTo>
                    <a:lnTo>
                      <a:pt x="6" y="1834"/>
                    </a:lnTo>
                    <a:lnTo>
                      <a:pt x="22" y="1830"/>
                    </a:lnTo>
                    <a:lnTo>
                      <a:pt x="31" y="1824"/>
                    </a:lnTo>
                    <a:lnTo>
                      <a:pt x="39" y="1812"/>
                    </a:lnTo>
                    <a:lnTo>
                      <a:pt x="40" y="1803"/>
                    </a:lnTo>
                    <a:lnTo>
                      <a:pt x="37" y="1794"/>
                    </a:lnTo>
                    <a:lnTo>
                      <a:pt x="31" y="1794"/>
                    </a:lnTo>
                    <a:lnTo>
                      <a:pt x="21" y="1795"/>
                    </a:lnTo>
                    <a:lnTo>
                      <a:pt x="12" y="1792"/>
                    </a:lnTo>
                    <a:lnTo>
                      <a:pt x="9" y="1782"/>
                    </a:lnTo>
                    <a:lnTo>
                      <a:pt x="3" y="1777"/>
                    </a:lnTo>
                    <a:lnTo>
                      <a:pt x="0" y="1765"/>
                    </a:lnTo>
                    <a:lnTo>
                      <a:pt x="1" y="1758"/>
                    </a:lnTo>
                    <a:lnTo>
                      <a:pt x="9" y="1753"/>
                    </a:lnTo>
                    <a:lnTo>
                      <a:pt x="7" y="1744"/>
                    </a:lnTo>
                    <a:lnTo>
                      <a:pt x="7" y="1737"/>
                    </a:lnTo>
                    <a:lnTo>
                      <a:pt x="7" y="1731"/>
                    </a:lnTo>
                    <a:lnTo>
                      <a:pt x="3" y="1720"/>
                    </a:lnTo>
                    <a:lnTo>
                      <a:pt x="25" y="1719"/>
                    </a:lnTo>
                    <a:lnTo>
                      <a:pt x="40" y="1699"/>
                    </a:lnTo>
                    <a:lnTo>
                      <a:pt x="43" y="1681"/>
                    </a:lnTo>
                    <a:lnTo>
                      <a:pt x="64" y="1677"/>
                    </a:lnTo>
                    <a:lnTo>
                      <a:pt x="70" y="1669"/>
                    </a:lnTo>
                    <a:lnTo>
                      <a:pt x="67" y="1660"/>
                    </a:lnTo>
                    <a:lnTo>
                      <a:pt x="73" y="1651"/>
                    </a:lnTo>
                    <a:lnTo>
                      <a:pt x="61" y="1641"/>
                    </a:lnTo>
                    <a:lnTo>
                      <a:pt x="52" y="1632"/>
                    </a:lnTo>
                    <a:lnTo>
                      <a:pt x="45" y="1647"/>
                    </a:lnTo>
                    <a:lnTo>
                      <a:pt x="39" y="1647"/>
                    </a:lnTo>
                    <a:lnTo>
                      <a:pt x="36" y="1636"/>
                    </a:lnTo>
                    <a:lnTo>
                      <a:pt x="39" y="1626"/>
                    </a:lnTo>
                    <a:lnTo>
                      <a:pt x="30" y="1632"/>
                    </a:lnTo>
                    <a:lnTo>
                      <a:pt x="24" y="1630"/>
                    </a:lnTo>
                    <a:lnTo>
                      <a:pt x="21" y="1623"/>
                    </a:lnTo>
                    <a:lnTo>
                      <a:pt x="25" y="1608"/>
                    </a:lnTo>
                    <a:lnTo>
                      <a:pt x="34" y="1611"/>
                    </a:lnTo>
                    <a:lnTo>
                      <a:pt x="45" y="1609"/>
                    </a:lnTo>
                    <a:lnTo>
                      <a:pt x="48" y="1603"/>
                    </a:lnTo>
                    <a:lnTo>
                      <a:pt x="42" y="1594"/>
                    </a:lnTo>
                    <a:lnTo>
                      <a:pt x="46" y="1590"/>
                    </a:lnTo>
                    <a:lnTo>
                      <a:pt x="51" y="1588"/>
                    </a:lnTo>
                    <a:lnTo>
                      <a:pt x="46" y="1584"/>
                    </a:lnTo>
                    <a:lnTo>
                      <a:pt x="36" y="1588"/>
                    </a:lnTo>
                    <a:lnTo>
                      <a:pt x="31" y="1585"/>
                    </a:lnTo>
                    <a:lnTo>
                      <a:pt x="22" y="1578"/>
                    </a:lnTo>
                    <a:lnTo>
                      <a:pt x="21" y="1564"/>
                    </a:lnTo>
                    <a:lnTo>
                      <a:pt x="30" y="1561"/>
                    </a:lnTo>
                    <a:lnTo>
                      <a:pt x="31" y="1542"/>
                    </a:lnTo>
                    <a:lnTo>
                      <a:pt x="33" y="1534"/>
                    </a:lnTo>
                    <a:lnTo>
                      <a:pt x="40" y="1534"/>
                    </a:lnTo>
                    <a:lnTo>
                      <a:pt x="46" y="1527"/>
                    </a:lnTo>
                    <a:lnTo>
                      <a:pt x="46" y="1519"/>
                    </a:lnTo>
                    <a:lnTo>
                      <a:pt x="61" y="1524"/>
                    </a:lnTo>
                    <a:lnTo>
                      <a:pt x="75" y="1536"/>
                    </a:lnTo>
                    <a:lnTo>
                      <a:pt x="99" y="1543"/>
                    </a:lnTo>
                    <a:lnTo>
                      <a:pt x="102" y="1536"/>
                    </a:lnTo>
                    <a:lnTo>
                      <a:pt x="111" y="1530"/>
                    </a:lnTo>
                    <a:lnTo>
                      <a:pt x="111" y="1519"/>
                    </a:lnTo>
                    <a:lnTo>
                      <a:pt x="120" y="1515"/>
                    </a:lnTo>
                    <a:lnTo>
                      <a:pt x="132" y="1512"/>
                    </a:lnTo>
                    <a:lnTo>
                      <a:pt x="132" y="1506"/>
                    </a:lnTo>
                    <a:lnTo>
                      <a:pt x="136" y="1504"/>
                    </a:lnTo>
                    <a:lnTo>
                      <a:pt x="135" y="1500"/>
                    </a:lnTo>
                    <a:lnTo>
                      <a:pt x="139" y="1489"/>
                    </a:lnTo>
                    <a:lnTo>
                      <a:pt x="148" y="1476"/>
                    </a:lnTo>
                    <a:lnTo>
                      <a:pt x="157" y="1474"/>
                    </a:lnTo>
                    <a:lnTo>
                      <a:pt x="163" y="1474"/>
                    </a:lnTo>
                    <a:lnTo>
                      <a:pt x="163" y="1479"/>
                    </a:lnTo>
                    <a:lnTo>
                      <a:pt x="168" y="1486"/>
                    </a:lnTo>
                    <a:lnTo>
                      <a:pt x="174" y="1476"/>
                    </a:lnTo>
                    <a:lnTo>
                      <a:pt x="181" y="1453"/>
                    </a:lnTo>
                    <a:lnTo>
                      <a:pt x="175" y="1450"/>
                    </a:lnTo>
                    <a:lnTo>
                      <a:pt x="177" y="1444"/>
                    </a:lnTo>
                    <a:lnTo>
                      <a:pt x="190" y="1446"/>
                    </a:lnTo>
                    <a:lnTo>
                      <a:pt x="198" y="1441"/>
                    </a:lnTo>
                    <a:lnTo>
                      <a:pt x="198" y="1431"/>
                    </a:lnTo>
                    <a:lnTo>
                      <a:pt x="207" y="1434"/>
                    </a:lnTo>
                    <a:lnTo>
                      <a:pt x="210" y="1446"/>
                    </a:lnTo>
                    <a:lnTo>
                      <a:pt x="211" y="1449"/>
                    </a:lnTo>
                    <a:lnTo>
                      <a:pt x="219" y="1449"/>
                    </a:lnTo>
                    <a:lnTo>
                      <a:pt x="223" y="1446"/>
                    </a:lnTo>
                    <a:lnTo>
                      <a:pt x="225" y="1441"/>
                    </a:lnTo>
                    <a:lnTo>
                      <a:pt x="222" y="1434"/>
                    </a:lnTo>
                    <a:lnTo>
                      <a:pt x="237" y="1435"/>
                    </a:lnTo>
                    <a:lnTo>
                      <a:pt x="238" y="1441"/>
                    </a:lnTo>
                    <a:lnTo>
                      <a:pt x="247" y="1446"/>
                    </a:lnTo>
                    <a:lnTo>
                      <a:pt x="249" y="1444"/>
                    </a:lnTo>
                    <a:lnTo>
                      <a:pt x="252" y="1441"/>
                    </a:lnTo>
                    <a:lnTo>
                      <a:pt x="255" y="1447"/>
                    </a:lnTo>
                    <a:lnTo>
                      <a:pt x="256" y="1449"/>
                    </a:lnTo>
                    <a:lnTo>
                      <a:pt x="264" y="1444"/>
                    </a:lnTo>
                    <a:lnTo>
                      <a:pt x="279" y="1443"/>
                    </a:lnTo>
                    <a:lnTo>
                      <a:pt x="283" y="1435"/>
                    </a:lnTo>
                    <a:lnTo>
                      <a:pt x="283" y="1423"/>
                    </a:lnTo>
                    <a:lnTo>
                      <a:pt x="288" y="1416"/>
                    </a:lnTo>
                    <a:lnTo>
                      <a:pt x="292" y="1417"/>
                    </a:lnTo>
                    <a:lnTo>
                      <a:pt x="315" y="1417"/>
                    </a:lnTo>
                    <a:lnTo>
                      <a:pt x="318" y="1411"/>
                    </a:lnTo>
                    <a:lnTo>
                      <a:pt x="321" y="1416"/>
                    </a:lnTo>
                    <a:lnTo>
                      <a:pt x="322" y="1408"/>
                    </a:lnTo>
                    <a:lnTo>
                      <a:pt x="325" y="1410"/>
                    </a:lnTo>
                    <a:lnTo>
                      <a:pt x="325" y="1405"/>
                    </a:lnTo>
                    <a:lnTo>
                      <a:pt x="334" y="1399"/>
                    </a:lnTo>
                    <a:lnTo>
                      <a:pt x="337" y="1396"/>
                    </a:lnTo>
                    <a:lnTo>
                      <a:pt x="340" y="1396"/>
                    </a:lnTo>
                    <a:lnTo>
                      <a:pt x="342" y="1389"/>
                    </a:lnTo>
                    <a:lnTo>
                      <a:pt x="340" y="1386"/>
                    </a:lnTo>
                    <a:lnTo>
                      <a:pt x="343" y="1377"/>
                    </a:lnTo>
                    <a:lnTo>
                      <a:pt x="354" y="1368"/>
                    </a:lnTo>
                    <a:lnTo>
                      <a:pt x="355" y="1363"/>
                    </a:lnTo>
                    <a:lnTo>
                      <a:pt x="369" y="1354"/>
                    </a:lnTo>
                    <a:lnTo>
                      <a:pt x="379" y="1353"/>
                    </a:lnTo>
                    <a:lnTo>
                      <a:pt x="376" y="1347"/>
                    </a:lnTo>
                    <a:lnTo>
                      <a:pt x="379" y="1342"/>
                    </a:lnTo>
                    <a:lnTo>
                      <a:pt x="382" y="1347"/>
                    </a:lnTo>
                    <a:lnTo>
                      <a:pt x="394" y="1350"/>
                    </a:lnTo>
                    <a:lnTo>
                      <a:pt x="394" y="1342"/>
                    </a:lnTo>
                    <a:lnTo>
                      <a:pt x="408" y="1336"/>
                    </a:lnTo>
                    <a:lnTo>
                      <a:pt x="412" y="1339"/>
                    </a:lnTo>
                    <a:lnTo>
                      <a:pt x="414" y="1327"/>
                    </a:lnTo>
                    <a:lnTo>
                      <a:pt x="423" y="1327"/>
                    </a:lnTo>
                    <a:lnTo>
                      <a:pt x="427" y="1323"/>
                    </a:lnTo>
                    <a:lnTo>
                      <a:pt x="435" y="1321"/>
                    </a:lnTo>
                    <a:lnTo>
                      <a:pt x="439" y="1308"/>
                    </a:lnTo>
                    <a:lnTo>
                      <a:pt x="439" y="1299"/>
                    </a:lnTo>
                    <a:lnTo>
                      <a:pt x="444" y="1296"/>
                    </a:lnTo>
                    <a:lnTo>
                      <a:pt x="451" y="1308"/>
                    </a:lnTo>
                    <a:lnTo>
                      <a:pt x="454" y="1303"/>
                    </a:lnTo>
                    <a:lnTo>
                      <a:pt x="466" y="1299"/>
                    </a:lnTo>
                    <a:lnTo>
                      <a:pt x="471" y="1315"/>
                    </a:lnTo>
                    <a:lnTo>
                      <a:pt x="480" y="1318"/>
                    </a:lnTo>
                    <a:lnTo>
                      <a:pt x="481" y="1315"/>
                    </a:lnTo>
                    <a:lnTo>
                      <a:pt x="489" y="1320"/>
                    </a:lnTo>
                    <a:lnTo>
                      <a:pt x="492" y="1314"/>
                    </a:lnTo>
                    <a:lnTo>
                      <a:pt x="492" y="1308"/>
                    </a:lnTo>
                    <a:lnTo>
                      <a:pt x="495" y="1306"/>
                    </a:lnTo>
                    <a:lnTo>
                      <a:pt x="501" y="1309"/>
                    </a:lnTo>
                    <a:lnTo>
                      <a:pt x="504" y="1315"/>
                    </a:lnTo>
                    <a:lnTo>
                      <a:pt x="511" y="1317"/>
                    </a:lnTo>
                    <a:lnTo>
                      <a:pt x="516" y="1312"/>
                    </a:lnTo>
                    <a:lnTo>
                      <a:pt x="513" y="1308"/>
                    </a:lnTo>
                    <a:lnTo>
                      <a:pt x="516" y="1302"/>
                    </a:lnTo>
                    <a:lnTo>
                      <a:pt x="517" y="1297"/>
                    </a:lnTo>
                    <a:lnTo>
                      <a:pt x="526" y="1300"/>
                    </a:lnTo>
                    <a:lnTo>
                      <a:pt x="529" y="1297"/>
                    </a:lnTo>
                    <a:lnTo>
                      <a:pt x="541" y="1297"/>
                    </a:lnTo>
                    <a:lnTo>
                      <a:pt x="538" y="1290"/>
                    </a:lnTo>
                    <a:lnTo>
                      <a:pt x="538" y="1282"/>
                    </a:lnTo>
                    <a:lnTo>
                      <a:pt x="531" y="1281"/>
                    </a:lnTo>
                    <a:lnTo>
                      <a:pt x="525" y="1278"/>
                    </a:lnTo>
                    <a:lnTo>
                      <a:pt x="520" y="1276"/>
                    </a:lnTo>
                    <a:lnTo>
                      <a:pt x="517" y="1270"/>
                    </a:lnTo>
                    <a:lnTo>
                      <a:pt x="513" y="1269"/>
                    </a:lnTo>
                    <a:lnTo>
                      <a:pt x="520" y="1260"/>
                    </a:lnTo>
                    <a:lnTo>
                      <a:pt x="522" y="1252"/>
                    </a:lnTo>
                    <a:lnTo>
                      <a:pt x="508" y="1252"/>
                    </a:lnTo>
                    <a:lnTo>
                      <a:pt x="514" y="1228"/>
                    </a:lnTo>
                    <a:lnTo>
                      <a:pt x="508" y="1215"/>
                    </a:lnTo>
                    <a:lnTo>
                      <a:pt x="513" y="1213"/>
                    </a:lnTo>
                    <a:lnTo>
                      <a:pt x="528" y="1210"/>
                    </a:lnTo>
                    <a:lnTo>
                      <a:pt x="528" y="1203"/>
                    </a:lnTo>
                    <a:lnTo>
                      <a:pt x="520" y="1201"/>
                    </a:lnTo>
                    <a:lnTo>
                      <a:pt x="514" y="1170"/>
                    </a:lnTo>
                    <a:lnTo>
                      <a:pt x="493" y="1159"/>
                    </a:lnTo>
                    <a:lnTo>
                      <a:pt x="490" y="1155"/>
                    </a:lnTo>
                    <a:lnTo>
                      <a:pt x="486" y="1152"/>
                    </a:lnTo>
                    <a:lnTo>
                      <a:pt x="480" y="1143"/>
                    </a:lnTo>
                    <a:lnTo>
                      <a:pt x="477" y="1137"/>
                    </a:lnTo>
                    <a:lnTo>
                      <a:pt x="471" y="1155"/>
                    </a:lnTo>
                    <a:lnTo>
                      <a:pt x="462" y="1152"/>
                    </a:lnTo>
                    <a:lnTo>
                      <a:pt x="456" y="1141"/>
                    </a:lnTo>
                    <a:lnTo>
                      <a:pt x="448" y="1138"/>
                    </a:lnTo>
                    <a:lnTo>
                      <a:pt x="445" y="1132"/>
                    </a:lnTo>
                    <a:lnTo>
                      <a:pt x="438" y="1135"/>
                    </a:lnTo>
                    <a:lnTo>
                      <a:pt x="429" y="1129"/>
                    </a:lnTo>
                    <a:lnTo>
                      <a:pt x="429" y="1117"/>
                    </a:lnTo>
                    <a:lnTo>
                      <a:pt x="433" y="1107"/>
                    </a:lnTo>
                    <a:lnTo>
                      <a:pt x="423" y="1087"/>
                    </a:lnTo>
                    <a:lnTo>
                      <a:pt x="414" y="1090"/>
                    </a:lnTo>
                    <a:lnTo>
                      <a:pt x="415" y="1101"/>
                    </a:lnTo>
                    <a:lnTo>
                      <a:pt x="405" y="1105"/>
                    </a:lnTo>
                    <a:lnTo>
                      <a:pt x="397" y="1116"/>
                    </a:lnTo>
                    <a:lnTo>
                      <a:pt x="394" y="1116"/>
                    </a:lnTo>
                    <a:lnTo>
                      <a:pt x="382" y="1119"/>
                    </a:lnTo>
                    <a:lnTo>
                      <a:pt x="366" y="1116"/>
                    </a:lnTo>
                    <a:lnTo>
                      <a:pt x="354" y="1123"/>
                    </a:lnTo>
                    <a:lnTo>
                      <a:pt x="349" y="1120"/>
                    </a:lnTo>
                    <a:lnTo>
                      <a:pt x="340" y="1126"/>
                    </a:lnTo>
                    <a:lnTo>
                      <a:pt x="337" y="1116"/>
                    </a:lnTo>
                    <a:lnTo>
                      <a:pt x="313" y="1110"/>
                    </a:lnTo>
                    <a:lnTo>
                      <a:pt x="295" y="1099"/>
                    </a:lnTo>
                    <a:lnTo>
                      <a:pt x="297" y="1089"/>
                    </a:lnTo>
                    <a:lnTo>
                      <a:pt x="294" y="1074"/>
                    </a:lnTo>
                    <a:lnTo>
                      <a:pt x="286" y="1072"/>
                    </a:lnTo>
                    <a:lnTo>
                      <a:pt x="294" y="1063"/>
                    </a:lnTo>
                    <a:lnTo>
                      <a:pt x="303" y="1062"/>
                    </a:lnTo>
                    <a:lnTo>
                      <a:pt x="301" y="1071"/>
                    </a:lnTo>
                    <a:lnTo>
                      <a:pt x="306" y="1072"/>
                    </a:lnTo>
                    <a:lnTo>
                      <a:pt x="307" y="1062"/>
                    </a:lnTo>
                    <a:lnTo>
                      <a:pt x="306" y="1051"/>
                    </a:lnTo>
                    <a:lnTo>
                      <a:pt x="312" y="1051"/>
                    </a:lnTo>
                    <a:lnTo>
                      <a:pt x="312" y="1057"/>
                    </a:lnTo>
                    <a:lnTo>
                      <a:pt x="319" y="1065"/>
                    </a:lnTo>
                    <a:lnTo>
                      <a:pt x="325" y="1057"/>
                    </a:lnTo>
                    <a:lnTo>
                      <a:pt x="322" y="1050"/>
                    </a:lnTo>
                    <a:lnTo>
                      <a:pt x="315" y="1045"/>
                    </a:lnTo>
                    <a:lnTo>
                      <a:pt x="319" y="1039"/>
                    </a:lnTo>
                    <a:lnTo>
                      <a:pt x="312" y="1035"/>
                    </a:lnTo>
                    <a:lnTo>
                      <a:pt x="312" y="1027"/>
                    </a:lnTo>
                    <a:lnTo>
                      <a:pt x="321" y="1023"/>
                    </a:lnTo>
                    <a:lnTo>
                      <a:pt x="319" y="1018"/>
                    </a:lnTo>
                    <a:lnTo>
                      <a:pt x="312" y="1018"/>
                    </a:lnTo>
                    <a:lnTo>
                      <a:pt x="310" y="1014"/>
                    </a:lnTo>
                    <a:lnTo>
                      <a:pt x="304" y="1012"/>
                    </a:lnTo>
                    <a:lnTo>
                      <a:pt x="289" y="1014"/>
                    </a:lnTo>
                    <a:lnTo>
                      <a:pt x="277" y="1015"/>
                    </a:lnTo>
                    <a:lnTo>
                      <a:pt x="273" y="1021"/>
                    </a:lnTo>
                    <a:lnTo>
                      <a:pt x="274" y="1030"/>
                    </a:lnTo>
                    <a:lnTo>
                      <a:pt x="264" y="1032"/>
                    </a:lnTo>
                    <a:lnTo>
                      <a:pt x="256" y="1026"/>
                    </a:lnTo>
                    <a:lnTo>
                      <a:pt x="249" y="1033"/>
                    </a:lnTo>
                    <a:lnTo>
                      <a:pt x="235" y="1014"/>
                    </a:lnTo>
                    <a:lnTo>
                      <a:pt x="225" y="1017"/>
                    </a:lnTo>
                    <a:lnTo>
                      <a:pt x="219" y="1012"/>
                    </a:lnTo>
                    <a:lnTo>
                      <a:pt x="217" y="1005"/>
                    </a:lnTo>
                    <a:lnTo>
                      <a:pt x="225" y="1006"/>
                    </a:lnTo>
                    <a:lnTo>
                      <a:pt x="228" y="1003"/>
                    </a:lnTo>
                    <a:lnTo>
                      <a:pt x="223" y="1000"/>
                    </a:lnTo>
                    <a:lnTo>
                      <a:pt x="225" y="996"/>
                    </a:lnTo>
                    <a:lnTo>
                      <a:pt x="243" y="987"/>
                    </a:lnTo>
                    <a:lnTo>
                      <a:pt x="246" y="981"/>
                    </a:lnTo>
                    <a:lnTo>
                      <a:pt x="249" y="981"/>
                    </a:lnTo>
                    <a:lnTo>
                      <a:pt x="255" y="976"/>
                    </a:lnTo>
                    <a:lnTo>
                      <a:pt x="262" y="976"/>
                    </a:lnTo>
                    <a:lnTo>
                      <a:pt x="268" y="964"/>
                    </a:lnTo>
                    <a:lnTo>
                      <a:pt x="265" y="943"/>
                    </a:lnTo>
                    <a:lnTo>
                      <a:pt x="256" y="936"/>
                    </a:lnTo>
                    <a:lnTo>
                      <a:pt x="249" y="940"/>
                    </a:lnTo>
                    <a:lnTo>
                      <a:pt x="241" y="937"/>
                    </a:lnTo>
                    <a:lnTo>
                      <a:pt x="237" y="921"/>
                    </a:lnTo>
                    <a:lnTo>
                      <a:pt x="243" y="901"/>
                    </a:lnTo>
                    <a:lnTo>
                      <a:pt x="250" y="895"/>
                    </a:lnTo>
                    <a:lnTo>
                      <a:pt x="244" y="891"/>
                    </a:lnTo>
                    <a:lnTo>
                      <a:pt x="238" y="877"/>
                    </a:lnTo>
                    <a:lnTo>
                      <a:pt x="237" y="864"/>
                    </a:lnTo>
                    <a:lnTo>
                      <a:pt x="241" y="858"/>
                    </a:lnTo>
                    <a:lnTo>
                      <a:pt x="241" y="846"/>
                    </a:lnTo>
                    <a:lnTo>
                      <a:pt x="237" y="843"/>
                    </a:lnTo>
                    <a:lnTo>
                      <a:pt x="232" y="846"/>
                    </a:lnTo>
                    <a:lnTo>
                      <a:pt x="228" y="840"/>
                    </a:lnTo>
                    <a:lnTo>
                      <a:pt x="229" y="835"/>
                    </a:lnTo>
                    <a:lnTo>
                      <a:pt x="220" y="828"/>
                    </a:lnTo>
                    <a:lnTo>
                      <a:pt x="217" y="832"/>
                    </a:lnTo>
                    <a:lnTo>
                      <a:pt x="211" y="829"/>
                    </a:lnTo>
                    <a:lnTo>
                      <a:pt x="211" y="823"/>
                    </a:lnTo>
                    <a:lnTo>
                      <a:pt x="211" y="813"/>
                    </a:lnTo>
                    <a:lnTo>
                      <a:pt x="202" y="813"/>
                    </a:lnTo>
                    <a:lnTo>
                      <a:pt x="205" y="805"/>
                    </a:lnTo>
                    <a:lnTo>
                      <a:pt x="207" y="796"/>
                    </a:lnTo>
                    <a:lnTo>
                      <a:pt x="214" y="795"/>
                    </a:lnTo>
                    <a:lnTo>
                      <a:pt x="214" y="787"/>
                    </a:lnTo>
                    <a:lnTo>
                      <a:pt x="210" y="781"/>
                    </a:lnTo>
                    <a:lnTo>
                      <a:pt x="208" y="771"/>
                    </a:lnTo>
                    <a:lnTo>
                      <a:pt x="201" y="775"/>
                    </a:lnTo>
                    <a:lnTo>
                      <a:pt x="186" y="760"/>
                    </a:lnTo>
                    <a:lnTo>
                      <a:pt x="181" y="762"/>
                    </a:lnTo>
                    <a:lnTo>
                      <a:pt x="175" y="756"/>
                    </a:lnTo>
                    <a:lnTo>
                      <a:pt x="186" y="745"/>
                    </a:lnTo>
                    <a:lnTo>
                      <a:pt x="186" y="742"/>
                    </a:lnTo>
                    <a:lnTo>
                      <a:pt x="184" y="742"/>
                    </a:lnTo>
                    <a:lnTo>
                      <a:pt x="181" y="733"/>
                    </a:lnTo>
                    <a:lnTo>
                      <a:pt x="183" y="729"/>
                    </a:lnTo>
                    <a:lnTo>
                      <a:pt x="181" y="726"/>
                    </a:lnTo>
                    <a:lnTo>
                      <a:pt x="177" y="727"/>
                    </a:lnTo>
                    <a:lnTo>
                      <a:pt x="177" y="726"/>
                    </a:lnTo>
                    <a:lnTo>
                      <a:pt x="169" y="726"/>
                    </a:lnTo>
                    <a:lnTo>
                      <a:pt x="162" y="732"/>
                    </a:lnTo>
                    <a:lnTo>
                      <a:pt x="157" y="727"/>
                    </a:lnTo>
                    <a:lnTo>
                      <a:pt x="145" y="729"/>
                    </a:lnTo>
                    <a:lnTo>
                      <a:pt x="145" y="724"/>
                    </a:lnTo>
                    <a:lnTo>
                      <a:pt x="141" y="723"/>
                    </a:lnTo>
                    <a:lnTo>
                      <a:pt x="130" y="712"/>
                    </a:lnTo>
                    <a:lnTo>
                      <a:pt x="132" y="705"/>
                    </a:lnTo>
                    <a:lnTo>
                      <a:pt x="127" y="706"/>
                    </a:lnTo>
                    <a:lnTo>
                      <a:pt x="121" y="696"/>
                    </a:lnTo>
                    <a:lnTo>
                      <a:pt x="121" y="690"/>
                    </a:lnTo>
                    <a:lnTo>
                      <a:pt x="117" y="690"/>
                    </a:lnTo>
                    <a:lnTo>
                      <a:pt x="114" y="682"/>
                    </a:lnTo>
                    <a:lnTo>
                      <a:pt x="118" y="676"/>
                    </a:lnTo>
                    <a:lnTo>
                      <a:pt x="127" y="670"/>
                    </a:lnTo>
                    <a:lnTo>
                      <a:pt x="135" y="654"/>
                    </a:lnTo>
                    <a:lnTo>
                      <a:pt x="148" y="655"/>
                    </a:lnTo>
                    <a:lnTo>
                      <a:pt x="153" y="648"/>
                    </a:lnTo>
                    <a:lnTo>
                      <a:pt x="148" y="645"/>
                    </a:lnTo>
                    <a:lnTo>
                      <a:pt x="148" y="640"/>
                    </a:lnTo>
                    <a:lnTo>
                      <a:pt x="142" y="643"/>
                    </a:lnTo>
                    <a:lnTo>
                      <a:pt x="141" y="639"/>
                    </a:lnTo>
                    <a:lnTo>
                      <a:pt x="144" y="625"/>
                    </a:lnTo>
                    <a:lnTo>
                      <a:pt x="153" y="619"/>
                    </a:lnTo>
                    <a:lnTo>
                      <a:pt x="160" y="622"/>
                    </a:lnTo>
                    <a:lnTo>
                      <a:pt x="163" y="618"/>
                    </a:lnTo>
                    <a:lnTo>
                      <a:pt x="162" y="609"/>
                    </a:lnTo>
                    <a:lnTo>
                      <a:pt x="153" y="612"/>
                    </a:lnTo>
                    <a:lnTo>
                      <a:pt x="148" y="604"/>
                    </a:lnTo>
                    <a:lnTo>
                      <a:pt x="160" y="586"/>
                    </a:lnTo>
                    <a:lnTo>
                      <a:pt x="165" y="586"/>
                    </a:lnTo>
                    <a:lnTo>
                      <a:pt x="171" y="579"/>
                    </a:lnTo>
                    <a:lnTo>
                      <a:pt x="168" y="574"/>
                    </a:lnTo>
                    <a:lnTo>
                      <a:pt x="165" y="562"/>
                    </a:lnTo>
                    <a:lnTo>
                      <a:pt x="171" y="550"/>
                    </a:lnTo>
                    <a:lnTo>
                      <a:pt x="169" y="544"/>
                    </a:lnTo>
                    <a:lnTo>
                      <a:pt x="156" y="541"/>
                    </a:lnTo>
                    <a:lnTo>
                      <a:pt x="147" y="537"/>
                    </a:lnTo>
                    <a:lnTo>
                      <a:pt x="154" y="528"/>
                    </a:lnTo>
                    <a:lnTo>
                      <a:pt x="171" y="514"/>
                    </a:lnTo>
                    <a:lnTo>
                      <a:pt x="171" y="505"/>
                    </a:lnTo>
                    <a:lnTo>
                      <a:pt x="184" y="495"/>
                    </a:lnTo>
                    <a:lnTo>
                      <a:pt x="193" y="492"/>
                    </a:lnTo>
                    <a:lnTo>
                      <a:pt x="193" y="487"/>
                    </a:lnTo>
                    <a:lnTo>
                      <a:pt x="202" y="472"/>
                    </a:lnTo>
                    <a:lnTo>
                      <a:pt x="210" y="469"/>
                    </a:lnTo>
                    <a:lnTo>
                      <a:pt x="213" y="465"/>
                    </a:lnTo>
                    <a:lnTo>
                      <a:pt x="213" y="457"/>
                    </a:lnTo>
                    <a:lnTo>
                      <a:pt x="217" y="456"/>
                    </a:lnTo>
                    <a:lnTo>
                      <a:pt x="220" y="447"/>
                    </a:lnTo>
                    <a:lnTo>
                      <a:pt x="226" y="442"/>
                    </a:lnTo>
                    <a:lnTo>
                      <a:pt x="231" y="438"/>
                    </a:lnTo>
                    <a:lnTo>
                      <a:pt x="238" y="441"/>
                    </a:lnTo>
                    <a:lnTo>
                      <a:pt x="238" y="445"/>
                    </a:lnTo>
                    <a:lnTo>
                      <a:pt x="246" y="448"/>
                    </a:lnTo>
                    <a:lnTo>
                      <a:pt x="244" y="480"/>
                    </a:lnTo>
                    <a:lnTo>
                      <a:pt x="249" y="478"/>
                    </a:lnTo>
                    <a:lnTo>
                      <a:pt x="259" y="469"/>
                    </a:lnTo>
                    <a:lnTo>
                      <a:pt x="267" y="463"/>
                    </a:lnTo>
                    <a:lnTo>
                      <a:pt x="271" y="459"/>
                    </a:lnTo>
                    <a:lnTo>
                      <a:pt x="274" y="459"/>
                    </a:lnTo>
                    <a:lnTo>
                      <a:pt x="286" y="460"/>
                    </a:lnTo>
                    <a:lnTo>
                      <a:pt x="292" y="447"/>
                    </a:lnTo>
                    <a:lnTo>
                      <a:pt x="297" y="444"/>
                    </a:lnTo>
                    <a:lnTo>
                      <a:pt x="304" y="450"/>
                    </a:lnTo>
                    <a:lnTo>
                      <a:pt x="300" y="460"/>
                    </a:lnTo>
                    <a:lnTo>
                      <a:pt x="301" y="472"/>
                    </a:lnTo>
                    <a:lnTo>
                      <a:pt x="309" y="478"/>
                    </a:lnTo>
                    <a:lnTo>
                      <a:pt x="309" y="483"/>
                    </a:lnTo>
                    <a:lnTo>
                      <a:pt x="324" y="484"/>
                    </a:lnTo>
                    <a:lnTo>
                      <a:pt x="333" y="475"/>
                    </a:lnTo>
                    <a:lnTo>
                      <a:pt x="337" y="466"/>
                    </a:lnTo>
                    <a:lnTo>
                      <a:pt x="351" y="453"/>
                    </a:lnTo>
                    <a:lnTo>
                      <a:pt x="358" y="448"/>
                    </a:lnTo>
                    <a:lnTo>
                      <a:pt x="358" y="454"/>
                    </a:lnTo>
                    <a:lnTo>
                      <a:pt x="363" y="456"/>
                    </a:lnTo>
                    <a:lnTo>
                      <a:pt x="376" y="480"/>
                    </a:lnTo>
                    <a:lnTo>
                      <a:pt x="388" y="477"/>
                    </a:lnTo>
                    <a:lnTo>
                      <a:pt x="406" y="463"/>
                    </a:lnTo>
                    <a:lnTo>
                      <a:pt x="408" y="459"/>
                    </a:lnTo>
                    <a:lnTo>
                      <a:pt x="411" y="448"/>
                    </a:lnTo>
                    <a:lnTo>
                      <a:pt x="414" y="430"/>
                    </a:lnTo>
                    <a:lnTo>
                      <a:pt x="411" y="423"/>
                    </a:lnTo>
                    <a:lnTo>
                      <a:pt x="412" y="420"/>
                    </a:lnTo>
                    <a:lnTo>
                      <a:pt x="406" y="409"/>
                    </a:lnTo>
                    <a:lnTo>
                      <a:pt x="438" y="403"/>
                    </a:lnTo>
                    <a:lnTo>
                      <a:pt x="442" y="406"/>
                    </a:lnTo>
                    <a:lnTo>
                      <a:pt x="448" y="408"/>
                    </a:lnTo>
                    <a:lnTo>
                      <a:pt x="462" y="424"/>
                    </a:lnTo>
                    <a:lnTo>
                      <a:pt x="463" y="432"/>
                    </a:lnTo>
                    <a:lnTo>
                      <a:pt x="466" y="438"/>
                    </a:lnTo>
                    <a:lnTo>
                      <a:pt x="480" y="439"/>
                    </a:lnTo>
                    <a:lnTo>
                      <a:pt x="487" y="430"/>
                    </a:lnTo>
                    <a:lnTo>
                      <a:pt x="517" y="429"/>
                    </a:lnTo>
                    <a:lnTo>
                      <a:pt x="517" y="421"/>
                    </a:lnTo>
                    <a:lnTo>
                      <a:pt x="528" y="424"/>
                    </a:lnTo>
                    <a:lnTo>
                      <a:pt x="534" y="421"/>
                    </a:lnTo>
                    <a:lnTo>
                      <a:pt x="538" y="418"/>
                    </a:lnTo>
                    <a:lnTo>
                      <a:pt x="547" y="424"/>
                    </a:lnTo>
                    <a:lnTo>
                      <a:pt x="546" y="433"/>
                    </a:lnTo>
                    <a:lnTo>
                      <a:pt x="559" y="433"/>
                    </a:lnTo>
                    <a:lnTo>
                      <a:pt x="573" y="426"/>
                    </a:lnTo>
                    <a:lnTo>
                      <a:pt x="591" y="421"/>
                    </a:lnTo>
                    <a:lnTo>
                      <a:pt x="600" y="430"/>
                    </a:lnTo>
                    <a:lnTo>
                      <a:pt x="603" y="433"/>
                    </a:lnTo>
                    <a:lnTo>
                      <a:pt x="624" y="436"/>
                    </a:lnTo>
                    <a:lnTo>
                      <a:pt x="631" y="441"/>
                    </a:lnTo>
                    <a:lnTo>
                      <a:pt x="640" y="441"/>
                    </a:lnTo>
                    <a:lnTo>
                      <a:pt x="646" y="444"/>
                    </a:lnTo>
                    <a:lnTo>
                      <a:pt x="655" y="444"/>
                    </a:lnTo>
                    <a:lnTo>
                      <a:pt x="661" y="445"/>
                    </a:lnTo>
                    <a:lnTo>
                      <a:pt x="664" y="445"/>
                    </a:lnTo>
                    <a:lnTo>
                      <a:pt x="669" y="454"/>
                    </a:lnTo>
                    <a:lnTo>
                      <a:pt x="676" y="457"/>
                    </a:lnTo>
                    <a:lnTo>
                      <a:pt x="688" y="457"/>
                    </a:lnTo>
                    <a:lnTo>
                      <a:pt x="700" y="442"/>
                    </a:lnTo>
                    <a:lnTo>
                      <a:pt x="709" y="445"/>
                    </a:lnTo>
                    <a:lnTo>
                      <a:pt x="720" y="442"/>
                    </a:lnTo>
                    <a:lnTo>
                      <a:pt x="723" y="442"/>
                    </a:lnTo>
                    <a:lnTo>
                      <a:pt x="745" y="439"/>
                    </a:lnTo>
                    <a:lnTo>
                      <a:pt x="754" y="441"/>
                    </a:lnTo>
                    <a:lnTo>
                      <a:pt x="765" y="432"/>
                    </a:lnTo>
                    <a:lnTo>
                      <a:pt x="768" y="439"/>
                    </a:lnTo>
                    <a:lnTo>
                      <a:pt x="781" y="444"/>
                    </a:lnTo>
                    <a:lnTo>
                      <a:pt x="786" y="441"/>
                    </a:lnTo>
                    <a:lnTo>
                      <a:pt x="793" y="444"/>
                    </a:lnTo>
                    <a:lnTo>
                      <a:pt x="805" y="436"/>
                    </a:lnTo>
                    <a:lnTo>
                      <a:pt x="810" y="436"/>
                    </a:lnTo>
                    <a:lnTo>
                      <a:pt x="810" y="439"/>
                    </a:lnTo>
                    <a:lnTo>
                      <a:pt x="828" y="445"/>
                    </a:lnTo>
                    <a:lnTo>
                      <a:pt x="825" y="438"/>
                    </a:lnTo>
                    <a:lnTo>
                      <a:pt x="831" y="429"/>
                    </a:lnTo>
                    <a:lnTo>
                      <a:pt x="832" y="406"/>
                    </a:lnTo>
                    <a:lnTo>
                      <a:pt x="840" y="394"/>
                    </a:lnTo>
                    <a:lnTo>
                      <a:pt x="849" y="378"/>
                    </a:lnTo>
                    <a:lnTo>
                      <a:pt x="855" y="378"/>
                    </a:lnTo>
                    <a:lnTo>
                      <a:pt x="861" y="387"/>
                    </a:lnTo>
                    <a:lnTo>
                      <a:pt x="864" y="385"/>
                    </a:lnTo>
                    <a:lnTo>
                      <a:pt x="867" y="381"/>
                    </a:lnTo>
                    <a:lnTo>
                      <a:pt x="868" y="372"/>
                    </a:lnTo>
                    <a:lnTo>
                      <a:pt x="862" y="369"/>
                    </a:lnTo>
                    <a:lnTo>
                      <a:pt x="862" y="363"/>
                    </a:lnTo>
                    <a:lnTo>
                      <a:pt x="871" y="352"/>
                    </a:lnTo>
                    <a:lnTo>
                      <a:pt x="897" y="334"/>
                    </a:lnTo>
                    <a:lnTo>
                      <a:pt x="907" y="331"/>
                    </a:lnTo>
                    <a:lnTo>
                      <a:pt x="936" y="328"/>
                    </a:lnTo>
                    <a:lnTo>
                      <a:pt x="940" y="321"/>
                    </a:lnTo>
                    <a:lnTo>
                      <a:pt x="955" y="321"/>
                    </a:lnTo>
                    <a:lnTo>
                      <a:pt x="963" y="327"/>
                    </a:lnTo>
                    <a:lnTo>
                      <a:pt x="973" y="322"/>
                    </a:lnTo>
                    <a:lnTo>
                      <a:pt x="979" y="322"/>
                    </a:lnTo>
                    <a:lnTo>
                      <a:pt x="997" y="313"/>
                    </a:lnTo>
                    <a:lnTo>
                      <a:pt x="1002" y="321"/>
                    </a:lnTo>
                    <a:lnTo>
                      <a:pt x="1003" y="328"/>
                    </a:lnTo>
                    <a:lnTo>
                      <a:pt x="1009" y="328"/>
                    </a:lnTo>
                    <a:lnTo>
                      <a:pt x="1012" y="321"/>
                    </a:lnTo>
                    <a:lnTo>
                      <a:pt x="1023" y="316"/>
                    </a:lnTo>
                    <a:lnTo>
                      <a:pt x="1029" y="325"/>
                    </a:lnTo>
                    <a:lnTo>
                      <a:pt x="1032" y="328"/>
                    </a:lnTo>
                    <a:lnTo>
                      <a:pt x="1069" y="306"/>
                    </a:lnTo>
                    <a:lnTo>
                      <a:pt x="1093" y="294"/>
                    </a:lnTo>
                    <a:lnTo>
                      <a:pt x="1093" y="285"/>
                    </a:lnTo>
                    <a:lnTo>
                      <a:pt x="1087" y="280"/>
                    </a:lnTo>
                    <a:lnTo>
                      <a:pt x="1090" y="268"/>
                    </a:lnTo>
                    <a:lnTo>
                      <a:pt x="1084" y="252"/>
                    </a:lnTo>
                    <a:lnTo>
                      <a:pt x="1086" y="238"/>
                    </a:lnTo>
                    <a:lnTo>
                      <a:pt x="1074" y="244"/>
                    </a:lnTo>
                    <a:lnTo>
                      <a:pt x="1068" y="244"/>
                    </a:lnTo>
                    <a:lnTo>
                      <a:pt x="1066" y="234"/>
                    </a:lnTo>
                    <a:lnTo>
                      <a:pt x="1059" y="226"/>
                    </a:lnTo>
                    <a:lnTo>
                      <a:pt x="1072" y="219"/>
                    </a:lnTo>
                    <a:lnTo>
                      <a:pt x="1074" y="214"/>
                    </a:lnTo>
                    <a:lnTo>
                      <a:pt x="1071" y="205"/>
                    </a:lnTo>
                    <a:lnTo>
                      <a:pt x="1080" y="192"/>
                    </a:lnTo>
                    <a:lnTo>
                      <a:pt x="1077" y="181"/>
                    </a:lnTo>
                    <a:lnTo>
                      <a:pt x="1069" y="180"/>
                    </a:lnTo>
                    <a:lnTo>
                      <a:pt x="1062" y="181"/>
                    </a:lnTo>
                    <a:lnTo>
                      <a:pt x="1057" y="171"/>
                    </a:lnTo>
                    <a:lnTo>
                      <a:pt x="1090" y="154"/>
                    </a:lnTo>
                    <a:lnTo>
                      <a:pt x="1092" y="162"/>
                    </a:lnTo>
                    <a:lnTo>
                      <a:pt x="1098" y="165"/>
                    </a:lnTo>
                    <a:lnTo>
                      <a:pt x="1107" y="166"/>
                    </a:lnTo>
                    <a:lnTo>
                      <a:pt x="1111" y="153"/>
                    </a:lnTo>
                    <a:lnTo>
                      <a:pt x="1108" y="150"/>
                    </a:lnTo>
                    <a:lnTo>
                      <a:pt x="1104" y="151"/>
                    </a:lnTo>
                    <a:lnTo>
                      <a:pt x="1101" y="135"/>
                    </a:lnTo>
                    <a:lnTo>
                      <a:pt x="1102" y="129"/>
                    </a:lnTo>
                    <a:lnTo>
                      <a:pt x="1119" y="133"/>
                    </a:lnTo>
                    <a:lnTo>
                      <a:pt x="1123" y="127"/>
                    </a:lnTo>
                    <a:lnTo>
                      <a:pt x="1144" y="114"/>
                    </a:lnTo>
                    <a:lnTo>
                      <a:pt x="1144" y="108"/>
                    </a:lnTo>
                    <a:lnTo>
                      <a:pt x="1150" y="100"/>
                    </a:lnTo>
                    <a:lnTo>
                      <a:pt x="1152" y="94"/>
                    </a:lnTo>
                    <a:lnTo>
                      <a:pt x="1159" y="94"/>
                    </a:lnTo>
                    <a:lnTo>
                      <a:pt x="1162" y="99"/>
                    </a:lnTo>
                    <a:lnTo>
                      <a:pt x="1168" y="96"/>
                    </a:lnTo>
                    <a:lnTo>
                      <a:pt x="1164" y="88"/>
                    </a:lnTo>
                    <a:lnTo>
                      <a:pt x="1174" y="72"/>
                    </a:lnTo>
                    <a:lnTo>
                      <a:pt x="1188" y="66"/>
                    </a:lnTo>
                    <a:lnTo>
                      <a:pt x="1194" y="72"/>
                    </a:lnTo>
                    <a:lnTo>
                      <a:pt x="1195" y="78"/>
                    </a:lnTo>
                    <a:lnTo>
                      <a:pt x="1203" y="91"/>
                    </a:lnTo>
                    <a:lnTo>
                      <a:pt x="1207" y="91"/>
                    </a:lnTo>
                    <a:lnTo>
                      <a:pt x="1212" y="100"/>
                    </a:lnTo>
                    <a:lnTo>
                      <a:pt x="1219" y="91"/>
                    </a:lnTo>
                    <a:lnTo>
                      <a:pt x="1224" y="96"/>
                    </a:lnTo>
                    <a:lnTo>
                      <a:pt x="1230" y="94"/>
                    </a:lnTo>
                    <a:lnTo>
                      <a:pt x="1237" y="82"/>
                    </a:lnTo>
                    <a:lnTo>
                      <a:pt x="1263" y="81"/>
                    </a:lnTo>
                    <a:lnTo>
                      <a:pt x="1276" y="87"/>
                    </a:lnTo>
                    <a:lnTo>
                      <a:pt x="1282" y="82"/>
                    </a:lnTo>
                    <a:lnTo>
                      <a:pt x="1281" y="67"/>
                    </a:lnTo>
                    <a:lnTo>
                      <a:pt x="1300" y="54"/>
                    </a:lnTo>
                    <a:lnTo>
                      <a:pt x="1306" y="43"/>
                    </a:lnTo>
                    <a:lnTo>
                      <a:pt x="1327" y="36"/>
                    </a:lnTo>
                    <a:lnTo>
                      <a:pt x="1333" y="19"/>
                    </a:lnTo>
                    <a:lnTo>
                      <a:pt x="1345" y="13"/>
                    </a:lnTo>
                    <a:lnTo>
                      <a:pt x="1356" y="12"/>
                    </a:lnTo>
                    <a:lnTo>
                      <a:pt x="1366" y="15"/>
                    </a:lnTo>
                    <a:lnTo>
                      <a:pt x="1371" y="1"/>
                    </a:lnTo>
                    <a:lnTo>
                      <a:pt x="1377" y="1"/>
                    </a:lnTo>
                    <a:lnTo>
                      <a:pt x="1381" y="0"/>
                    </a:lnTo>
                    <a:lnTo>
                      <a:pt x="1389" y="3"/>
                    </a:lnTo>
                    <a:lnTo>
                      <a:pt x="1393" y="3"/>
                    </a:lnTo>
                    <a:lnTo>
                      <a:pt x="1396" y="7"/>
                    </a:lnTo>
                    <a:lnTo>
                      <a:pt x="1401" y="12"/>
                    </a:lnTo>
                    <a:lnTo>
                      <a:pt x="1405" y="6"/>
                    </a:lnTo>
                    <a:lnTo>
                      <a:pt x="1414" y="4"/>
                    </a:lnTo>
                    <a:lnTo>
                      <a:pt x="1425" y="10"/>
                    </a:lnTo>
                    <a:lnTo>
                      <a:pt x="1431" y="19"/>
                    </a:lnTo>
                    <a:lnTo>
                      <a:pt x="1435" y="45"/>
                    </a:lnTo>
                    <a:lnTo>
                      <a:pt x="1455" y="69"/>
                    </a:lnTo>
                    <a:lnTo>
                      <a:pt x="1465" y="81"/>
                    </a:lnTo>
                    <a:lnTo>
                      <a:pt x="1480" y="82"/>
                    </a:lnTo>
                    <a:lnTo>
                      <a:pt x="1507" y="91"/>
                    </a:lnTo>
                    <a:lnTo>
                      <a:pt x="1518" y="108"/>
                    </a:lnTo>
                    <a:lnTo>
                      <a:pt x="1521" y="114"/>
                    </a:lnTo>
                    <a:lnTo>
                      <a:pt x="1533" y="130"/>
                    </a:lnTo>
                    <a:lnTo>
                      <a:pt x="1560" y="144"/>
                    </a:lnTo>
                    <a:lnTo>
                      <a:pt x="1579" y="141"/>
                    </a:lnTo>
                    <a:lnTo>
                      <a:pt x="1587" y="127"/>
                    </a:lnTo>
                    <a:lnTo>
                      <a:pt x="1617" y="105"/>
                    </a:lnTo>
                    <a:lnTo>
                      <a:pt x="1629" y="108"/>
                    </a:lnTo>
                    <a:lnTo>
                      <a:pt x="1644" y="103"/>
                    </a:lnTo>
                    <a:lnTo>
                      <a:pt x="1639" y="112"/>
                    </a:lnTo>
                    <a:lnTo>
                      <a:pt x="1642" y="123"/>
                    </a:lnTo>
                    <a:lnTo>
                      <a:pt x="1650" y="136"/>
                    </a:lnTo>
                    <a:lnTo>
                      <a:pt x="1662" y="138"/>
                    </a:lnTo>
                    <a:lnTo>
                      <a:pt x="1669" y="138"/>
                    </a:lnTo>
                    <a:lnTo>
                      <a:pt x="1675" y="141"/>
                    </a:lnTo>
                    <a:lnTo>
                      <a:pt x="1683" y="136"/>
                    </a:lnTo>
                    <a:lnTo>
                      <a:pt x="1690" y="130"/>
                    </a:lnTo>
                    <a:lnTo>
                      <a:pt x="1693" y="132"/>
                    </a:lnTo>
                    <a:lnTo>
                      <a:pt x="1699" y="123"/>
                    </a:lnTo>
                    <a:lnTo>
                      <a:pt x="1702" y="111"/>
                    </a:lnTo>
                    <a:lnTo>
                      <a:pt x="1710" y="106"/>
                    </a:lnTo>
                    <a:lnTo>
                      <a:pt x="1726" y="108"/>
                    </a:lnTo>
                    <a:lnTo>
                      <a:pt x="1743" y="108"/>
                    </a:lnTo>
                    <a:lnTo>
                      <a:pt x="1744" y="127"/>
                    </a:lnTo>
                    <a:lnTo>
                      <a:pt x="1750" y="132"/>
                    </a:lnTo>
                    <a:lnTo>
                      <a:pt x="1758" y="129"/>
                    </a:lnTo>
                    <a:lnTo>
                      <a:pt x="1764" y="130"/>
                    </a:lnTo>
                    <a:lnTo>
                      <a:pt x="1761" y="148"/>
                    </a:lnTo>
                    <a:lnTo>
                      <a:pt x="1764" y="153"/>
                    </a:lnTo>
                    <a:lnTo>
                      <a:pt x="1756" y="157"/>
                    </a:lnTo>
                    <a:lnTo>
                      <a:pt x="1756" y="165"/>
                    </a:lnTo>
                    <a:lnTo>
                      <a:pt x="1761" y="177"/>
                    </a:lnTo>
                    <a:lnTo>
                      <a:pt x="1788" y="174"/>
                    </a:lnTo>
                    <a:lnTo>
                      <a:pt x="1792" y="165"/>
                    </a:lnTo>
                    <a:lnTo>
                      <a:pt x="1803" y="156"/>
                    </a:lnTo>
                    <a:lnTo>
                      <a:pt x="1809" y="142"/>
                    </a:lnTo>
                    <a:lnTo>
                      <a:pt x="1824" y="136"/>
                    </a:lnTo>
                    <a:lnTo>
                      <a:pt x="1833" y="150"/>
                    </a:lnTo>
                    <a:lnTo>
                      <a:pt x="1836" y="144"/>
                    </a:lnTo>
                    <a:lnTo>
                      <a:pt x="1845" y="139"/>
                    </a:lnTo>
                    <a:lnTo>
                      <a:pt x="1848" y="136"/>
                    </a:lnTo>
                    <a:lnTo>
                      <a:pt x="1839" y="126"/>
                    </a:lnTo>
                    <a:lnTo>
                      <a:pt x="1834" y="117"/>
                    </a:lnTo>
                    <a:lnTo>
                      <a:pt x="1837" y="99"/>
                    </a:lnTo>
                    <a:lnTo>
                      <a:pt x="1849" y="105"/>
                    </a:lnTo>
                    <a:lnTo>
                      <a:pt x="1857" y="96"/>
                    </a:lnTo>
                    <a:lnTo>
                      <a:pt x="1863" y="94"/>
                    </a:lnTo>
                    <a:lnTo>
                      <a:pt x="1861" y="103"/>
                    </a:lnTo>
                    <a:lnTo>
                      <a:pt x="1879" y="96"/>
                    </a:lnTo>
                    <a:lnTo>
                      <a:pt x="1875" y="84"/>
                    </a:lnTo>
                    <a:lnTo>
                      <a:pt x="1864" y="76"/>
                    </a:lnTo>
                    <a:lnTo>
                      <a:pt x="1864" y="69"/>
                    </a:lnTo>
                    <a:lnTo>
                      <a:pt x="1857" y="64"/>
                    </a:lnTo>
                    <a:lnTo>
                      <a:pt x="1866" y="57"/>
                    </a:lnTo>
                    <a:lnTo>
                      <a:pt x="1873" y="52"/>
                    </a:lnTo>
                    <a:lnTo>
                      <a:pt x="1885" y="60"/>
                    </a:lnTo>
                    <a:lnTo>
                      <a:pt x="1894" y="55"/>
                    </a:lnTo>
                    <a:lnTo>
                      <a:pt x="1902" y="57"/>
                    </a:lnTo>
                    <a:lnTo>
                      <a:pt x="1902" y="67"/>
                    </a:lnTo>
                    <a:lnTo>
                      <a:pt x="1900" y="78"/>
                    </a:lnTo>
                    <a:lnTo>
                      <a:pt x="1909" y="85"/>
                    </a:lnTo>
                    <a:lnTo>
                      <a:pt x="1909" y="94"/>
                    </a:lnTo>
                    <a:lnTo>
                      <a:pt x="1912" y="105"/>
                    </a:lnTo>
                    <a:lnTo>
                      <a:pt x="1921" y="117"/>
                    </a:lnTo>
                    <a:lnTo>
                      <a:pt x="1923" y="130"/>
                    </a:lnTo>
                    <a:lnTo>
                      <a:pt x="1927" y="141"/>
                    </a:lnTo>
                    <a:lnTo>
                      <a:pt x="1941" y="159"/>
                    </a:lnTo>
                    <a:lnTo>
                      <a:pt x="1956" y="160"/>
                    </a:lnTo>
                    <a:lnTo>
                      <a:pt x="1956" y="171"/>
                    </a:lnTo>
                    <a:lnTo>
                      <a:pt x="1954" y="180"/>
                    </a:lnTo>
                    <a:lnTo>
                      <a:pt x="1959" y="189"/>
                    </a:lnTo>
                    <a:lnTo>
                      <a:pt x="1968" y="201"/>
                    </a:lnTo>
                    <a:lnTo>
                      <a:pt x="1980" y="211"/>
                    </a:lnTo>
                    <a:lnTo>
                      <a:pt x="1972" y="220"/>
                    </a:lnTo>
                    <a:lnTo>
                      <a:pt x="1968" y="232"/>
                    </a:lnTo>
                    <a:lnTo>
                      <a:pt x="1972" y="237"/>
                    </a:lnTo>
                    <a:lnTo>
                      <a:pt x="1977" y="228"/>
                    </a:lnTo>
                    <a:lnTo>
                      <a:pt x="1986" y="228"/>
                    </a:lnTo>
                    <a:lnTo>
                      <a:pt x="1984" y="246"/>
                    </a:lnTo>
                    <a:lnTo>
                      <a:pt x="1987" y="256"/>
                    </a:lnTo>
                    <a:lnTo>
                      <a:pt x="1987" y="262"/>
                    </a:lnTo>
                    <a:lnTo>
                      <a:pt x="1989" y="274"/>
                    </a:lnTo>
                    <a:lnTo>
                      <a:pt x="1981" y="294"/>
                    </a:lnTo>
                    <a:lnTo>
                      <a:pt x="1989" y="307"/>
                    </a:lnTo>
                    <a:lnTo>
                      <a:pt x="2001" y="309"/>
                    </a:lnTo>
                    <a:lnTo>
                      <a:pt x="2011" y="309"/>
                    </a:lnTo>
                    <a:lnTo>
                      <a:pt x="2016" y="316"/>
                    </a:lnTo>
                    <a:lnTo>
                      <a:pt x="2025" y="321"/>
                    </a:lnTo>
                    <a:lnTo>
                      <a:pt x="2028" y="322"/>
                    </a:lnTo>
                    <a:lnTo>
                      <a:pt x="2037" y="331"/>
                    </a:lnTo>
                    <a:lnTo>
                      <a:pt x="2056" y="321"/>
                    </a:lnTo>
                    <a:lnTo>
                      <a:pt x="2070" y="316"/>
                    </a:lnTo>
                    <a:lnTo>
                      <a:pt x="2068" y="331"/>
                    </a:lnTo>
                    <a:lnTo>
                      <a:pt x="2073" y="334"/>
                    </a:lnTo>
                    <a:lnTo>
                      <a:pt x="2077" y="331"/>
                    </a:lnTo>
                    <a:lnTo>
                      <a:pt x="2088" y="334"/>
                    </a:lnTo>
                    <a:lnTo>
                      <a:pt x="2089" y="348"/>
                    </a:lnTo>
                    <a:lnTo>
                      <a:pt x="2086" y="361"/>
                    </a:lnTo>
                    <a:lnTo>
                      <a:pt x="2112" y="367"/>
                    </a:lnTo>
                    <a:lnTo>
                      <a:pt x="2122" y="355"/>
                    </a:lnTo>
                    <a:lnTo>
                      <a:pt x="2136" y="358"/>
                    </a:lnTo>
                    <a:lnTo>
                      <a:pt x="2161" y="361"/>
                    </a:lnTo>
                    <a:lnTo>
                      <a:pt x="2160" y="369"/>
                    </a:lnTo>
                    <a:lnTo>
                      <a:pt x="2154" y="372"/>
                    </a:lnTo>
                    <a:lnTo>
                      <a:pt x="2154" y="376"/>
                    </a:lnTo>
                    <a:lnTo>
                      <a:pt x="2166" y="372"/>
                    </a:lnTo>
                    <a:lnTo>
                      <a:pt x="2172" y="378"/>
                    </a:lnTo>
                    <a:lnTo>
                      <a:pt x="2178" y="378"/>
                    </a:lnTo>
                    <a:lnTo>
                      <a:pt x="2179" y="381"/>
                    </a:lnTo>
                    <a:lnTo>
                      <a:pt x="2185" y="382"/>
                    </a:lnTo>
                    <a:lnTo>
                      <a:pt x="2193" y="391"/>
                    </a:lnTo>
                    <a:lnTo>
                      <a:pt x="2193" y="400"/>
                    </a:lnTo>
                    <a:lnTo>
                      <a:pt x="2193" y="408"/>
                    </a:lnTo>
                    <a:lnTo>
                      <a:pt x="2199" y="420"/>
                    </a:lnTo>
                    <a:lnTo>
                      <a:pt x="2191" y="421"/>
                    </a:lnTo>
                    <a:lnTo>
                      <a:pt x="2187" y="427"/>
                    </a:lnTo>
                    <a:lnTo>
                      <a:pt x="2193" y="433"/>
                    </a:lnTo>
                    <a:lnTo>
                      <a:pt x="2188" y="441"/>
                    </a:lnTo>
                    <a:lnTo>
                      <a:pt x="2181" y="451"/>
                    </a:lnTo>
                    <a:lnTo>
                      <a:pt x="2184" y="457"/>
                    </a:lnTo>
                    <a:lnTo>
                      <a:pt x="2178" y="469"/>
                    </a:lnTo>
                    <a:lnTo>
                      <a:pt x="2181" y="489"/>
                    </a:lnTo>
                    <a:lnTo>
                      <a:pt x="2188" y="499"/>
                    </a:lnTo>
                    <a:lnTo>
                      <a:pt x="2182" y="513"/>
                    </a:lnTo>
                    <a:lnTo>
                      <a:pt x="2185" y="520"/>
                    </a:lnTo>
                    <a:lnTo>
                      <a:pt x="2184" y="543"/>
                    </a:lnTo>
                    <a:lnTo>
                      <a:pt x="2182" y="555"/>
                    </a:lnTo>
                    <a:lnTo>
                      <a:pt x="2196" y="556"/>
                    </a:lnTo>
                    <a:lnTo>
                      <a:pt x="2196" y="562"/>
                    </a:lnTo>
                    <a:lnTo>
                      <a:pt x="2184" y="565"/>
                    </a:lnTo>
                    <a:lnTo>
                      <a:pt x="2173" y="565"/>
                    </a:lnTo>
                    <a:lnTo>
                      <a:pt x="2161" y="562"/>
                    </a:lnTo>
                    <a:lnTo>
                      <a:pt x="2152" y="561"/>
                    </a:lnTo>
                    <a:lnTo>
                      <a:pt x="2148" y="565"/>
                    </a:lnTo>
                    <a:lnTo>
                      <a:pt x="2152" y="574"/>
                    </a:lnTo>
                    <a:lnTo>
                      <a:pt x="2152" y="583"/>
                    </a:lnTo>
                    <a:lnTo>
                      <a:pt x="2124" y="588"/>
                    </a:lnTo>
                    <a:lnTo>
                      <a:pt x="2121" y="591"/>
                    </a:lnTo>
                    <a:lnTo>
                      <a:pt x="2116" y="591"/>
                    </a:lnTo>
                    <a:lnTo>
                      <a:pt x="2109" y="603"/>
                    </a:lnTo>
                    <a:lnTo>
                      <a:pt x="2121" y="613"/>
                    </a:lnTo>
                    <a:lnTo>
                      <a:pt x="2109" y="618"/>
                    </a:lnTo>
                    <a:lnTo>
                      <a:pt x="2097" y="616"/>
                    </a:lnTo>
                    <a:lnTo>
                      <a:pt x="2091" y="630"/>
                    </a:lnTo>
                    <a:lnTo>
                      <a:pt x="2080" y="628"/>
                    </a:lnTo>
                    <a:lnTo>
                      <a:pt x="2076" y="630"/>
                    </a:lnTo>
                    <a:lnTo>
                      <a:pt x="2062" y="634"/>
                    </a:lnTo>
                    <a:lnTo>
                      <a:pt x="2056" y="631"/>
                    </a:lnTo>
                    <a:lnTo>
                      <a:pt x="2044" y="637"/>
                    </a:lnTo>
                    <a:lnTo>
                      <a:pt x="2046" y="651"/>
                    </a:lnTo>
                    <a:lnTo>
                      <a:pt x="2038" y="657"/>
                    </a:lnTo>
                    <a:lnTo>
                      <a:pt x="2016" y="655"/>
                    </a:lnTo>
                    <a:lnTo>
                      <a:pt x="2017" y="669"/>
                    </a:lnTo>
                    <a:lnTo>
                      <a:pt x="2022" y="675"/>
                    </a:lnTo>
                    <a:lnTo>
                      <a:pt x="2031" y="693"/>
                    </a:lnTo>
                    <a:lnTo>
                      <a:pt x="2029" y="700"/>
                    </a:lnTo>
                    <a:lnTo>
                      <a:pt x="2031" y="708"/>
                    </a:lnTo>
                    <a:lnTo>
                      <a:pt x="2029" y="712"/>
                    </a:lnTo>
                    <a:lnTo>
                      <a:pt x="2044" y="744"/>
                    </a:lnTo>
                    <a:lnTo>
                      <a:pt x="2041" y="748"/>
                    </a:lnTo>
                    <a:lnTo>
                      <a:pt x="2031" y="754"/>
                    </a:lnTo>
                    <a:lnTo>
                      <a:pt x="2034" y="766"/>
                    </a:lnTo>
                    <a:lnTo>
                      <a:pt x="2038" y="780"/>
                    </a:lnTo>
                    <a:lnTo>
                      <a:pt x="2032" y="790"/>
                    </a:lnTo>
                    <a:lnTo>
                      <a:pt x="2034" y="798"/>
                    </a:lnTo>
                    <a:lnTo>
                      <a:pt x="2035" y="802"/>
                    </a:lnTo>
                    <a:lnTo>
                      <a:pt x="2046" y="814"/>
                    </a:lnTo>
                    <a:lnTo>
                      <a:pt x="2055" y="829"/>
                    </a:lnTo>
                    <a:lnTo>
                      <a:pt x="2052" y="847"/>
                    </a:lnTo>
                    <a:lnTo>
                      <a:pt x="2046" y="861"/>
                    </a:lnTo>
                    <a:lnTo>
                      <a:pt x="2046" y="873"/>
                    </a:lnTo>
                    <a:lnTo>
                      <a:pt x="2044" y="879"/>
                    </a:lnTo>
                    <a:lnTo>
                      <a:pt x="2050" y="888"/>
                    </a:lnTo>
                    <a:lnTo>
                      <a:pt x="2052" y="910"/>
                    </a:lnTo>
                    <a:lnTo>
                      <a:pt x="2058" y="922"/>
                    </a:lnTo>
                    <a:lnTo>
                      <a:pt x="2062" y="933"/>
                    </a:lnTo>
                    <a:lnTo>
                      <a:pt x="2056" y="948"/>
                    </a:lnTo>
                    <a:lnTo>
                      <a:pt x="2037" y="954"/>
                    </a:lnTo>
                    <a:lnTo>
                      <a:pt x="2022" y="964"/>
                    </a:lnTo>
                    <a:lnTo>
                      <a:pt x="2005" y="954"/>
                    </a:lnTo>
                    <a:lnTo>
                      <a:pt x="2001" y="969"/>
                    </a:lnTo>
                    <a:lnTo>
                      <a:pt x="1989" y="972"/>
                    </a:lnTo>
                    <a:lnTo>
                      <a:pt x="1972" y="963"/>
                    </a:lnTo>
                    <a:lnTo>
                      <a:pt x="1962" y="970"/>
                    </a:lnTo>
                    <a:lnTo>
                      <a:pt x="1965" y="987"/>
                    </a:lnTo>
                    <a:lnTo>
                      <a:pt x="1954" y="993"/>
                    </a:lnTo>
                    <a:lnTo>
                      <a:pt x="1956" y="1014"/>
                    </a:lnTo>
                    <a:lnTo>
                      <a:pt x="1977" y="1023"/>
                    </a:lnTo>
                    <a:lnTo>
                      <a:pt x="1980" y="1033"/>
                    </a:lnTo>
                    <a:lnTo>
                      <a:pt x="1990" y="1038"/>
                    </a:lnTo>
                    <a:lnTo>
                      <a:pt x="1998" y="1054"/>
                    </a:lnTo>
                    <a:lnTo>
                      <a:pt x="2002" y="1068"/>
                    </a:lnTo>
                    <a:lnTo>
                      <a:pt x="1995" y="1069"/>
                    </a:lnTo>
                    <a:lnTo>
                      <a:pt x="1987" y="1078"/>
                    </a:lnTo>
                    <a:lnTo>
                      <a:pt x="1986" y="1077"/>
                    </a:lnTo>
                    <a:lnTo>
                      <a:pt x="1983" y="1080"/>
                    </a:lnTo>
                    <a:lnTo>
                      <a:pt x="1971" y="1081"/>
                    </a:lnTo>
                    <a:lnTo>
                      <a:pt x="1972" y="1087"/>
                    </a:lnTo>
                    <a:lnTo>
                      <a:pt x="1974" y="1093"/>
                    </a:lnTo>
                    <a:lnTo>
                      <a:pt x="1980" y="1093"/>
                    </a:lnTo>
                    <a:lnTo>
                      <a:pt x="1977" y="1099"/>
                    </a:lnTo>
                    <a:lnTo>
                      <a:pt x="1975" y="1104"/>
                    </a:lnTo>
                    <a:lnTo>
                      <a:pt x="1974" y="1110"/>
                    </a:lnTo>
                    <a:lnTo>
                      <a:pt x="1974" y="1114"/>
                    </a:lnTo>
                    <a:lnTo>
                      <a:pt x="1977" y="1119"/>
                    </a:lnTo>
                    <a:lnTo>
                      <a:pt x="1978" y="1135"/>
                    </a:lnTo>
                    <a:lnTo>
                      <a:pt x="1972" y="1143"/>
                    </a:lnTo>
                    <a:lnTo>
                      <a:pt x="1975" y="1153"/>
                    </a:lnTo>
                    <a:lnTo>
                      <a:pt x="1969" y="1159"/>
                    </a:lnTo>
                    <a:lnTo>
                      <a:pt x="1966" y="1164"/>
                    </a:lnTo>
                    <a:lnTo>
                      <a:pt x="820" y="1758"/>
                    </a:lnTo>
                    <a:lnTo>
                      <a:pt x="825" y="1759"/>
                    </a:lnTo>
                    <a:lnTo>
                      <a:pt x="828" y="1756"/>
                    </a:lnTo>
                    <a:lnTo>
                      <a:pt x="820" y="1758"/>
                    </a:lnTo>
                    <a:lnTo>
                      <a:pt x="1966" y="1164"/>
                    </a:lnTo>
                    <a:close/>
                  </a:path>
                </a:pathLst>
              </a:custGeom>
              <a:no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62" name="Freeform 365">
                <a:extLst>
                  <a:ext uri="{FF2B5EF4-FFF2-40B4-BE49-F238E27FC236}">
                    <a16:creationId xmlns:a16="http://schemas.microsoft.com/office/drawing/2014/main" id="{D6131BF9-21B9-050E-11D4-5BB8AE332277}"/>
                  </a:ext>
                </a:extLst>
              </p:cNvPr>
              <p:cNvSpPr>
                <a:spLocks/>
              </p:cNvSpPr>
              <p:nvPr/>
            </p:nvSpPr>
            <p:spPr bwMode="auto">
              <a:xfrm>
                <a:off x="3940" y="1848"/>
                <a:ext cx="672" cy="657"/>
              </a:xfrm>
              <a:custGeom>
                <a:avLst/>
                <a:gdLst>
                  <a:gd name="T0" fmla="*/ 0 w 2015"/>
                  <a:gd name="T1" fmla="*/ 0 h 1970"/>
                  <a:gd name="T2" fmla="*/ 0 w 2015"/>
                  <a:gd name="T3" fmla="*/ 0 h 1970"/>
                  <a:gd name="T4" fmla="*/ 0 w 2015"/>
                  <a:gd name="T5" fmla="*/ 0 h 1970"/>
                  <a:gd name="T6" fmla="*/ 0 w 2015"/>
                  <a:gd name="T7" fmla="*/ 0 h 1970"/>
                  <a:gd name="T8" fmla="*/ 0 w 2015"/>
                  <a:gd name="T9" fmla="*/ 0 h 1970"/>
                  <a:gd name="T10" fmla="*/ 0 w 2015"/>
                  <a:gd name="T11" fmla="*/ 0 h 1970"/>
                  <a:gd name="T12" fmla="*/ 0 w 2015"/>
                  <a:gd name="T13" fmla="*/ 0 h 1970"/>
                  <a:gd name="T14" fmla="*/ 0 w 2015"/>
                  <a:gd name="T15" fmla="*/ 0 h 1970"/>
                  <a:gd name="T16" fmla="*/ 0 w 2015"/>
                  <a:gd name="T17" fmla="*/ 0 h 1970"/>
                  <a:gd name="T18" fmla="*/ 0 w 2015"/>
                  <a:gd name="T19" fmla="*/ 0 h 1970"/>
                  <a:gd name="T20" fmla="*/ 0 w 2015"/>
                  <a:gd name="T21" fmla="*/ 0 h 1970"/>
                  <a:gd name="T22" fmla="*/ 0 w 2015"/>
                  <a:gd name="T23" fmla="*/ 0 h 1970"/>
                  <a:gd name="T24" fmla="*/ 0 w 2015"/>
                  <a:gd name="T25" fmla="*/ 0 h 1970"/>
                  <a:gd name="T26" fmla="*/ 0 w 2015"/>
                  <a:gd name="T27" fmla="*/ 0 h 1970"/>
                  <a:gd name="T28" fmla="*/ 0 w 2015"/>
                  <a:gd name="T29" fmla="*/ 0 h 1970"/>
                  <a:gd name="T30" fmla="*/ 0 w 2015"/>
                  <a:gd name="T31" fmla="*/ 0 h 1970"/>
                  <a:gd name="T32" fmla="*/ 0 w 2015"/>
                  <a:gd name="T33" fmla="*/ 0 h 1970"/>
                  <a:gd name="T34" fmla="*/ 0 w 2015"/>
                  <a:gd name="T35" fmla="*/ 0 h 1970"/>
                  <a:gd name="T36" fmla="*/ 0 w 2015"/>
                  <a:gd name="T37" fmla="*/ 0 h 1970"/>
                  <a:gd name="T38" fmla="*/ 0 w 2015"/>
                  <a:gd name="T39" fmla="*/ 0 h 1970"/>
                  <a:gd name="T40" fmla="*/ 0 w 2015"/>
                  <a:gd name="T41" fmla="*/ 0 h 1970"/>
                  <a:gd name="T42" fmla="*/ 0 w 2015"/>
                  <a:gd name="T43" fmla="*/ 0 h 1970"/>
                  <a:gd name="T44" fmla="*/ 0 w 2015"/>
                  <a:gd name="T45" fmla="*/ 0 h 1970"/>
                  <a:gd name="T46" fmla="*/ 0 w 2015"/>
                  <a:gd name="T47" fmla="*/ 0 h 1970"/>
                  <a:gd name="T48" fmla="*/ 0 w 2015"/>
                  <a:gd name="T49" fmla="*/ 0 h 1970"/>
                  <a:gd name="T50" fmla="*/ 0 w 2015"/>
                  <a:gd name="T51" fmla="*/ 0 h 1970"/>
                  <a:gd name="T52" fmla="*/ 0 w 2015"/>
                  <a:gd name="T53" fmla="*/ 0 h 1970"/>
                  <a:gd name="T54" fmla="*/ 0 w 2015"/>
                  <a:gd name="T55" fmla="*/ 0 h 1970"/>
                  <a:gd name="T56" fmla="*/ 0 w 2015"/>
                  <a:gd name="T57" fmla="*/ 0 h 1970"/>
                  <a:gd name="T58" fmla="*/ 0 w 2015"/>
                  <a:gd name="T59" fmla="*/ 0 h 1970"/>
                  <a:gd name="T60" fmla="*/ 0 w 2015"/>
                  <a:gd name="T61" fmla="*/ 0 h 1970"/>
                  <a:gd name="T62" fmla="*/ 0 w 2015"/>
                  <a:gd name="T63" fmla="*/ 0 h 1970"/>
                  <a:gd name="T64" fmla="*/ 0 w 2015"/>
                  <a:gd name="T65" fmla="*/ 0 h 1970"/>
                  <a:gd name="T66" fmla="*/ 0 w 2015"/>
                  <a:gd name="T67" fmla="*/ 0 h 1970"/>
                  <a:gd name="T68" fmla="*/ 0 w 2015"/>
                  <a:gd name="T69" fmla="*/ 0 h 1970"/>
                  <a:gd name="T70" fmla="*/ 0 w 2015"/>
                  <a:gd name="T71" fmla="*/ 0 h 1970"/>
                  <a:gd name="T72" fmla="*/ 0 w 2015"/>
                  <a:gd name="T73" fmla="*/ 0 h 1970"/>
                  <a:gd name="T74" fmla="*/ 0 w 2015"/>
                  <a:gd name="T75" fmla="*/ 0 h 1970"/>
                  <a:gd name="T76" fmla="*/ 0 w 2015"/>
                  <a:gd name="T77" fmla="*/ 0 h 1970"/>
                  <a:gd name="T78" fmla="*/ 0 w 2015"/>
                  <a:gd name="T79" fmla="*/ 0 h 1970"/>
                  <a:gd name="T80" fmla="*/ 0 w 2015"/>
                  <a:gd name="T81" fmla="*/ 0 h 1970"/>
                  <a:gd name="T82" fmla="*/ 0 w 2015"/>
                  <a:gd name="T83" fmla="*/ 0 h 1970"/>
                  <a:gd name="T84" fmla="*/ 0 w 2015"/>
                  <a:gd name="T85" fmla="*/ 0 h 1970"/>
                  <a:gd name="T86" fmla="*/ 0 w 2015"/>
                  <a:gd name="T87" fmla="*/ 0 h 1970"/>
                  <a:gd name="T88" fmla="*/ 0 w 2015"/>
                  <a:gd name="T89" fmla="*/ 0 h 1970"/>
                  <a:gd name="T90" fmla="*/ 0 w 2015"/>
                  <a:gd name="T91" fmla="*/ 0 h 1970"/>
                  <a:gd name="T92" fmla="*/ 0 w 2015"/>
                  <a:gd name="T93" fmla="*/ 0 h 1970"/>
                  <a:gd name="T94" fmla="*/ 0 w 2015"/>
                  <a:gd name="T95" fmla="*/ 0 h 1970"/>
                  <a:gd name="T96" fmla="*/ 0 w 2015"/>
                  <a:gd name="T97" fmla="*/ 0 h 1970"/>
                  <a:gd name="T98" fmla="*/ 0 w 2015"/>
                  <a:gd name="T99" fmla="*/ 0 h 1970"/>
                  <a:gd name="T100" fmla="*/ 0 w 2015"/>
                  <a:gd name="T101" fmla="*/ 0 h 1970"/>
                  <a:gd name="T102" fmla="*/ 0 w 2015"/>
                  <a:gd name="T103" fmla="*/ 0 h 1970"/>
                  <a:gd name="T104" fmla="*/ 0 w 2015"/>
                  <a:gd name="T105" fmla="*/ 0 h 1970"/>
                  <a:gd name="T106" fmla="*/ 0 w 2015"/>
                  <a:gd name="T107" fmla="*/ 0 h 1970"/>
                  <a:gd name="T108" fmla="*/ 0 w 2015"/>
                  <a:gd name="T109" fmla="*/ 0 h 1970"/>
                  <a:gd name="T110" fmla="*/ 0 w 2015"/>
                  <a:gd name="T111" fmla="*/ 0 h 1970"/>
                  <a:gd name="T112" fmla="*/ 0 w 2015"/>
                  <a:gd name="T113" fmla="*/ 0 h 1970"/>
                  <a:gd name="T114" fmla="*/ 0 w 2015"/>
                  <a:gd name="T115" fmla="*/ 0 h 1970"/>
                  <a:gd name="T116" fmla="*/ 0 w 2015"/>
                  <a:gd name="T117" fmla="*/ 0 h 1970"/>
                  <a:gd name="T118" fmla="*/ 0 w 2015"/>
                  <a:gd name="T119" fmla="*/ 0 h 19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015" h="1970">
                    <a:moveTo>
                      <a:pt x="1335" y="821"/>
                    </a:moveTo>
                    <a:lnTo>
                      <a:pt x="1344" y="839"/>
                    </a:lnTo>
                    <a:lnTo>
                      <a:pt x="1335" y="845"/>
                    </a:lnTo>
                    <a:lnTo>
                      <a:pt x="1334" y="852"/>
                    </a:lnTo>
                    <a:lnTo>
                      <a:pt x="1338" y="855"/>
                    </a:lnTo>
                    <a:lnTo>
                      <a:pt x="1326" y="857"/>
                    </a:lnTo>
                    <a:lnTo>
                      <a:pt x="1334" y="863"/>
                    </a:lnTo>
                    <a:lnTo>
                      <a:pt x="1352" y="872"/>
                    </a:lnTo>
                    <a:lnTo>
                      <a:pt x="1365" y="873"/>
                    </a:lnTo>
                    <a:lnTo>
                      <a:pt x="1371" y="876"/>
                    </a:lnTo>
                    <a:lnTo>
                      <a:pt x="1371" y="881"/>
                    </a:lnTo>
                    <a:lnTo>
                      <a:pt x="1377" y="884"/>
                    </a:lnTo>
                    <a:lnTo>
                      <a:pt x="1382" y="884"/>
                    </a:lnTo>
                    <a:lnTo>
                      <a:pt x="1388" y="891"/>
                    </a:lnTo>
                    <a:lnTo>
                      <a:pt x="1379" y="906"/>
                    </a:lnTo>
                    <a:lnTo>
                      <a:pt x="1386" y="914"/>
                    </a:lnTo>
                    <a:lnTo>
                      <a:pt x="1388" y="923"/>
                    </a:lnTo>
                    <a:lnTo>
                      <a:pt x="1392" y="933"/>
                    </a:lnTo>
                    <a:lnTo>
                      <a:pt x="1404" y="942"/>
                    </a:lnTo>
                    <a:lnTo>
                      <a:pt x="1407" y="948"/>
                    </a:lnTo>
                    <a:lnTo>
                      <a:pt x="1412" y="960"/>
                    </a:lnTo>
                    <a:lnTo>
                      <a:pt x="1410" y="969"/>
                    </a:lnTo>
                    <a:lnTo>
                      <a:pt x="1409" y="975"/>
                    </a:lnTo>
                    <a:lnTo>
                      <a:pt x="1415" y="975"/>
                    </a:lnTo>
                    <a:lnTo>
                      <a:pt x="1419" y="936"/>
                    </a:lnTo>
                    <a:lnTo>
                      <a:pt x="1424" y="933"/>
                    </a:lnTo>
                    <a:lnTo>
                      <a:pt x="1437" y="971"/>
                    </a:lnTo>
                    <a:lnTo>
                      <a:pt x="1446" y="968"/>
                    </a:lnTo>
                    <a:lnTo>
                      <a:pt x="1457" y="963"/>
                    </a:lnTo>
                    <a:lnTo>
                      <a:pt x="1466" y="972"/>
                    </a:lnTo>
                    <a:lnTo>
                      <a:pt x="1463" y="987"/>
                    </a:lnTo>
                    <a:lnTo>
                      <a:pt x="1455" y="1001"/>
                    </a:lnTo>
                    <a:lnTo>
                      <a:pt x="1452" y="1014"/>
                    </a:lnTo>
                    <a:lnTo>
                      <a:pt x="1463" y="1026"/>
                    </a:lnTo>
                    <a:lnTo>
                      <a:pt x="1478" y="1028"/>
                    </a:lnTo>
                    <a:lnTo>
                      <a:pt x="1488" y="1023"/>
                    </a:lnTo>
                    <a:lnTo>
                      <a:pt x="1493" y="1026"/>
                    </a:lnTo>
                    <a:lnTo>
                      <a:pt x="1497" y="1028"/>
                    </a:lnTo>
                    <a:lnTo>
                      <a:pt x="1512" y="1025"/>
                    </a:lnTo>
                    <a:lnTo>
                      <a:pt x="1533" y="1005"/>
                    </a:lnTo>
                    <a:lnTo>
                      <a:pt x="1538" y="995"/>
                    </a:lnTo>
                    <a:lnTo>
                      <a:pt x="1556" y="995"/>
                    </a:lnTo>
                    <a:lnTo>
                      <a:pt x="1562" y="990"/>
                    </a:lnTo>
                    <a:lnTo>
                      <a:pt x="1566" y="980"/>
                    </a:lnTo>
                    <a:lnTo>
                      <a:pt x="1571" y="971"/>
                    </a:lnTo>
                    <a:lnTo>
                      <a:pt x="1578" y="954"/>
                    </a:lnTo>
                    <a:lnTo>
                      <a:pt x="1586" y="953"/>
                    </a:lnTo>
                    <a:lnTo>
                      <a:pt x="1589" y="945"/>
                    </a:lnTo>
                    <a:lnTo>
                      <a:pt x="1598" y="938"/>
                    </a:lnTo>
                    <a:lnTo>
                      <a:pt x="1605" y="939"/>
                    </a:lnTo>
                    <a:lnTo>
                      <a:pt x="1604" y="948"/>
                    </a:lnTo>
                    <a:lnTo>
                      <a:pt x="1599" y="959"/>
                    </a:lnTo>
                    <a:lnTo>
                      <a:pt x="1611" y="959"/>
                    </a:lnTo>
                    <a:lnTo>
                      <a:pt x="1626" y="965"/>
                    </a:lnTo>
                    <a:lnTo>
                      <a:pt x="1631" y="975"/>
                    </a:lnTo>
                    <a:lnTo>
                      <a:pt x="1653" y="978"/>
                    </a:lnTo>
                    <a:lnTo>
                      <a:pt x="1656" y="989"/>
                    </a:lnTo>
                    <a:lnTo>
                      <a:pt x="1658" y="1004"/>
                    </a:lnTo>
                    <a:lnTo>
                      <a:pt x="1655" y="1011"/>
                    </a:lnTo>
                    <a:lnTo>
                      <a:pt x="1664" y="1032"/>
                    </a:lnTo>
                    <a:lnTo>
                      <a:pt x="1668" y="1032"/>
                    </a:lnTo>
                    <a:lnTo>
                      <a:pt x="1676" y="1026"/>
                    </a:lnTo>
                    <a:lnTo>
                      <a:pt x="1698" y="1025"/>
                    </a:lnTo>
                    <a:lnTo>
                      <a:pt x="1736" y="1031"/>
                    </a:lnTo>
                    <a:lnTo>
                      <a:pt x="1743" y="1032"/>
                    </a:lnTo>
                    <a:lnTo>
                      <a:pt x="1758" y="1034"/>
                    </a:lnTo>
                    <a:lnTo>
                      <a:pt x="1766" y="1028"/>
                    </a:lnTo>
                    <a:lnTo>
                      <a:pt x="1770" y="1020"/>
                    </a:lnTo>
                    <a:lnTo>
                      <a:pt x="1775" y="1022"/>
                    </a:lnTo>
                    <a:lnTo>
                      <a:pt x="1778" y="1028"/>
                    </a:lnTo>
                    <a:lnTo>
                      <a:pt x="1782" y="1026"/>
                    </a:lnTo>
                    <a:lnTo>
                      <a:pt x="1799" y="1004"/>
                    </a:lnTo>
                    <a:lnTo>
                      <a:pt x="1808" y="1005"/>
                    </a:lnTo>
                    <a:lnTo>
                      <a:pt x="1814" y="999"/>
                    </a:lnTo>
                    <a:lnTo>
                      <a:pt x="1814" y="989"/>
                    </a:lnTo>
                    <a:lnTo>
                      <a:pt x="1815" y="978"/>
                    </a:lnTo>
                    <a:lnTo>
                      <a:pt x="1820" y="971"/>
                    </a:lnTo>
                    <a:lnTo>
                      <a:pt x="1830" y="975"/>
                    </a:lnTo>
                    <a:lnTo>
                      <a:pt x="1860" y="927"/>
                    </a:lnTo>
                    <a:lnTo>
                      <a:pt x="1866" y="914"/>
                    </a:lnTo>
                    <a:lnTo>
                      <a:pt x="1884" y="903"/>
                    </a:lnTo>
                    <a:lnTo>
                      <a:pt x="1911" y="876"/>
                    </a:lnTo>
                    <a:lnTo>
                      <a:pt x="1929" y="852"/>
                    </a:lnTo>
                    <a:lnTo>
                      <a:pt x="1935" y="854"/>
                    </a:lnTo>
                    <a:lnTo>
                      <a:pt x="1953" y="860"/>
                    </a:lnTo>
                    <a:lnTo>
                      <a:pt x="1962" y="870"/>
                    </a:lnTo>
                    <a:lnTo>
                      <a:pt x="1976" y="875"/>
                    </a:lnTo>
                    <a:lnTo>
                      <a:pt x="2001" y="896"/>
                    </a:lnTo>
                    <a:lnTo>
                      <a:pt x="2007" y="897"/>
                    </a:lnTo>
                    <a:lnTo>
                      <a:pt x="2015" y="906"/>
                    </a:lnTo>
                    <a:lnTo>
                      <a:pt x="2006" y="921"/>
                    </a:lnTo>
                    <a:lnTo>
                      <a:pt x="2001" y="935"/>
                    </a:lnTo>
                    <a:lnTo>
                      <a:pt x="1991" y="944"/>
                    </a:lnTo>
                    <a:lnTo>
                      <a:pt x="1989" y="948"/>
                    </a:lnTo>
                    <a:lnTo>
                      <a:pt x="1979" y="968"/>
                    </a:lnTo>
                    <a:lnTo>
                      <a:pt x="1974" y="977"/>
                    </a:lnTo>
                    <a:lnTo>
                      <a:pt x="1977" y="992"/>
                    </a:lnTo>
                    <a:lnTo>
                      <a:pt x="1964" y="1007"/>
                    </a:lnTo>
                    <a:lnTo>
                      <a:pt x="1962" y="1013"/>
                    </a:lnTo>
                    <a:lnTo>
                      <a:pt x="1971" y="1023"/>
                    </a:lnTo>
                    <a:lnTo>
                      <a:pt x="1973" y="1028"/>
                    </a:lnTo>
                    <a:lnTo>
                      <a:pt x="1976" y="1041"/>
                    </a:lnTo>
                    <a:lnTo>
                      <a:pt x="1976" y="1049"/>
                    </a:lnTo>
                    <a:lnTo>
                      <a:pt x="1959" y="1059"/>
                    </a:lnTo>
                    <a:lnTo>
                      <a:pt x="1953" y="1053"/>
                    </a:lnTo>
                    <a:lnTo>
                      <a:pt x="1949" y="1049"/>
                    </a:lnTo>
                    <a:lnTo>
                      <a:pt x="1932" y="1055"/>
                    </a:lnTo>
                    <a:lnTo>
                      <a:pt x="1926" y="1053"/>
                    </a:lnTo>
                    <a:lnTo>
                      <a:pt x="1917" y="1067"/>
                    </a:lnTo>
                    <a:lnTo>
                      <a:pt x="1911" y="1067"/>
                    </a:lnTo>
                    <a:lnTo>
                      <a:pt x="1904" y="1061"/>
                    </a:lnTo>
                    <a:lnTo>
                      <a:pt x="1895" y="1065"/>
                    </a:lnTo>
                    <a:lnTo>
                      <a:pt x="1872" y="1086"/>
                    </a:lnTo>
                    <a:lnTo>
                      <a:pt x="1863" y="1085"/>
                    </a:lnTo>
                    <a:lnTo>
                      <a:pt x="1856" y="1086"/>
                    </a:lnTo>
                    <a:lnTo>
                      <a:pt x="1851" y="1104"/>
                    </a:lnTo>
                    <a:lnTo>
                      <a:pt x="1851" y="1109"/>
                    </a:lnTo>
                    <a:lnTo>
                      <a:pt x="1875" y="1122"/>
                    </a:lnTo>
                    <a:lnTo>
                      <a:pt x="1857" y="1154"/>
                    </a:lnTo>
                    <a:lnTo>
                      <a:pt x="1853" y="1166"/>
                    </a:lnTo>
                    <a:lnTo>
                      <a:pt x="1854" y="1176"/>
                    </a:lnTo>
                    <a:lnTo>
                      <a:pt x="1847" y="1181"/>
                    </a:lnTo>
                    <a:lnTo>
                      <a:pt x="1838" y="1185"/>
                    </a:lnTo>
                    <a:lnTo>
                      <a:pt x="1830" y="1185"/>
                    </a:lnTo>
                    <a:lnTo>
                      <a:pt x="1817" y="1182"/>
                    </a:lnTo>
                    <a:lnTo>
                      <a:pt x="1808" y="1191"/>
                    </a:lnTo>
                    <a:lnTo>
                      <a:pt x="1799" y="1194"/>
                    </a:lnTo>
                    <a:lnTo>
                      <a:pt x="1790" y="1200"/>
                    </a:lnTo>
                    <a:lnTo>
                      <a:pt x="1791" y="1220"/>
                    </a:lnTo>
                    <a:lnTo>
                      <a:pt x="1794" y="1232"/>
                    </a:lnTo>
                    <a:lnTo>
                      <a:pt x="1785" y="1236"/>
                    </a:lnTo>
                    <a:lnTo>
                      <a:pt x="1766" y="1232"/>
                    </a:lnTo>
                    <a:lnTo>
                      <a:pt x="1754" y="1223"/>
                    </a:lnTo>
                    <a:lnTo>
                      <a:pt x="1751" y="1214"/>
                    </a:lnTo>
                    <a:lnTo>
                      <a:pt x="1742" y="1212"/>
                    </a:lnTo>
                    <a:lnTo>
                      <a:pt x="1736" y="1217"/>
                    </a:lnTo>
                    <a:lnTo>
                      <a:pt x="1739" y="1224"/>
                    </a:lnTo>
                    <a:lnTo>
                      <a:pt x="1736" y="1230"/>
                    </a:lnTo>
                    <a:lnTo>
                      <a:pt x="1728" y="1242"/>
                    </a:lnTo>
                    <a:lnTo>
                      <a:pt x="1727" y="1257"/>
                    </a:lnTo>
                    <a:lnTo>
                      <a:pt x="1727" y="1263"/>
                    </a:lnTo>
                    <a:lnTo>
                      <a:pt x="1730" y="1271"/>
                    </a:lnTo>
                    <a:lnTo>
                      <a:pt x="1730" y="1274"/>
                    </a:lnTo>
                    <a:lnTo>
                      <a:pt x="1727" y="1284"/>
                    </a:lnTo>
                    <a:lnTo>
                      <a:pt x="1728" y="1302"/>
                    </a:lnTo>
                    <a:lnTo>
                      <a:pt x="1725" y="1317"/>
                    </a:lnTo>
                    <a:lnTo>
                      <a:pt x="1728" y="1328"/>
                    </a:lnTo>
                    <a:lnTo>
                      <a:pt x="1727" y="1344"/>
                    </a:lnTo>
                    <a:lnTo>
                      <a:pt x="1731" y="1355"/>
                    </a:lnTo>
                    <a:lnTo>
                      <a:pt x="1740" y="1361"/>
                    </a:lnTo>
                    <a:lnTo>
                      <a:pt x="1748" y="1365"/>
                    </a:lnTo>
                    <a:lnTo>
                      <a:pt x="1748" y="1373"/>
                    </a:lnTo>
                    <a:lnTo>
                      <a:pt x="1749" y="1379"/>
                    </a:lnTo>
                    <a:lnTo>
                      <a:pt x="1748" y="1395"/>
                    </a:lnTo>
                    <a:lnTo>
                      <a:pt x="1743" y="1404"/>
                    </a:lnTo>
                    <a:lnTo>
                      <a:pt x="1742" y="1412"/>
                    </a:lnTo>
                    <a:lnTo>
                      <a:pt x="1739" y="1422"/>
                    </a:lnTo>
                    <a:lnTo>
                      <a:pt x="1743" y="1436"/>
                    </a:lnTo>
                    <a:lnTo>
                      <a:pt x="1740" y="1449"/>
                    </a:lnTo>
                    <a:lnTo>
                      <a:pt x="1736" y="1469"/>
                    </a:lnTo>
                    <a:lnTo>
                      <a:pt x="1734" y="1479"/>
                    </a:lnTo>
                    <a:lnTo>
                      <a:pt x="1733" y="1494"/>
                    </a:lnTo>
                    <a:lnTo>
                      <a:pt x="1728" y="1500"/>
                    </a:lnTo>
                    <a:lnTo>
                      <a:pt x="1722" y="1515"/>
                    </a:lnTo>
                    <a:lnTo>
                      <a:pt x="1716" y="1539"/>
                    </a:lnTo>
                    <a:lnTo>
                      <a:pt x="1709" y="1547"/>
                    </a:lnTo>
                    <a:lnTo>
                      <a:pt x="1709" y="1571"/>
                    </a:lnTo>
                    <a:lnTo>
                      <a:pt x="1707" y="1590"/>
                    </a:lnTo>
                    <a:lnTo>
                      <a:pt x="1706" y="1601"/>
                    </a:lnTo>
                    <a:lnTo>
                      <a:pt x="1704" y="1617"/>
                    </a:lnTo>
                    <a:lnTo>
                      <a:pt x="1707" y="1626"/>
                    </a:lnTo>
                    <a:lnTo>
                      <a:pt x="1706" y="1632"/>
                    </a:lnTo>
                    <a:lnTo>
                      <a:pt x="1697" y="1637"/>
                    </a:lnTo>
                    <a:lnTo>
                      <a:pt x="1703" y="1647"/>
                    </a:lnTo>
                    <a:lnTo>
                      <a:pt x="1701" y="1658"/>
                    </a:lnTo>
                    <a:lnTo>
                      <a:pt x="1695" y="1664"/>
                    </a:lnTo>
                    <a:lnTo>
                      <a:pt x="1691" y="1671"/>
                    </a:lnTo>
                    <a:lnTo>
                      <a:pt x="1685" y="1677"/>
                    </a:lnTo>
                    <a:lnTo>
                      <a:pt x="1671" y="1673"/>
                    </a:lnTo>
                    <a:lnTo>
                      <a:pt x="1667" y="1674"/>
                    </a:lnTo>
                    <a:lnTo>
                      <a:pt x="1661" y="1674"/>
                    </a:lnTo>
                    <a:lnTo>
                      <a:pt x="1644" y="1674"/>
                    </a:lnTo>
                    <a:lnTo>
                      <a:pt x="1643" y="1680"/>
                    </a:lnTo>
                    <a:lnTo>
                      <a:pt x="1646" y="1686"/>
                    </a:lnTo>
                    <a:lnTo>
                      <a:pt x="1652" y="1700"/>
                    </a:lnTo>
                    <a:lnTo>
                      <a:pt x="1643" y="1713"/>
                    </a:lnTo>
                    <a:lnTo>
                      <a:pt x="1629" y="1724"/>
                    </a:lnTo>
                    <a:lnTo>
                      <a:pt x="1631" y="1737"/>
                    </a:lnTo>
                    <a:lnTo>
                      <a:pt x="1631" y="1751"/>
                    </a:lnTo>
                    <a:lnTo>
                      <a:pt x="1629" y="1752"/>
                    </a:lnTo>
                    <a:lnTo>
                      <a:pt x="1604" y="1766"/>
                    </a:lnTo>
                    <a:lnTo>
                      <a:pt x="1593" y="1784"/>
                    </a:lnTo>
                    <a:lnTo>
                      <a:pt x="1583" y="1781"/>
                    </a:lnTo>
                    <a:lnTo>
                      <a:pt x="1578" y="1775"/>
                    </a:lnTo>
                    <a:lnTo>
                      <a:pt x="1578" y="1772"/>
                    </a:lnTo>
                    <a:lnTo>
                      <a:pt x="1569" y="1760"/>
                    </a:lnTo>
                    <a:lnTo>
                      <a:pt x="1566" y="1736"/>
                    </a:lnTo>
                    <a:lnTo>
                      <a:pt x="1554" y="1724"/>
                    </a:lnTo>
                    <a:lnTo>
                      <a:pt x="1544" y="1716"/>
                    </a:lnTo>
                    <a:lnTo>
                      <a:pt x="1533" y="1712"/>
                    </a:lnTo>
                    <a:lnTo>
                      <a:pt x="1527" y="1713"/>
                    </a:lnTo>
                    <a:lnTo>
                      <a:pt x="1527" y="1706"/>
                    </a:lnTo>
                    <a:lnTo>
                      <a:pt x="1521" y="1694"/>
                    </a:lnTo>
                    <a:lnTo>
                      <a:pt x="1524" y="1688"/>
                    </a:lnTo>
                    <a:lnTo>
                      <a:pt x="1533" y="1689"/>
                    </a:lnTo>
                    <a:lnTo>
                      <a:pt x="1535" y="1704"/>
                    </a:lnTo>
                    <a:lnTo>
                      <a:pt x="1542" y="1701"/>
                    </a:lnTo>
                    <a:lnTo>
                      <a:pt x="1545" y="1692"/>
                    </a:lnTo>
                    <a:lnTo>
                      <a:pt x="1542" y="1688"/>
                    </a:lnTo>
                    <a:lnTo>
                      <a:pt x="1530" y="1680"/>
                    </a:lnTo>
                    <a:lnTo>
                      <a:pt x="1526" y="1673"/>
                    </a:lnTo>
                    <a:lnTo>
                      <a:pt x="1523" y="1668"/>
                    </a:lnTo>
                    <a:lnTo>
                      <a:pt x="1511" y="1668"/>
                    </a:lnTo>
                    <a:lnTo>
                      <a:pt x="1506" y="1664"/>
                    </a:lnTo>
                    <a:lnTo>
                      <a:pt x="1499" y="1649"/>
                    </a:lnTo>
                    <a:lnTo>
                      <a:pt x="1485" y="1635"/>
                    </a:lnTo>
                    <a:lnTo>
                      <a:pt x="1466" y="1619"/>
                    </a:lnTo>
                    <a:lnTo>
                      <a:pt x="1460" y="1607"/>
                    </a:lnTo>
                    <a:lnTo>
                      <a:pt x="1452" y="1595"/>
                    </a:lnTo>
                    <a:lnTo>
                      <a:pt x="1443" y="1584"/>
                    </a:lnTo>
                    <a:lnTo>
                      <a:pt x="1434" y="1574"/>
                    </a:lnTo>
                    <a:lnTo>
                      <a:pt x="1428" y="1560"/>
                    </a:lnTo>
                    <a:lnTo>
                      <a:pt x="1421" y="1551"/>
                    </a:lnTo>
                    <a:lnTo>
                      <a:pt x="1424" y="1544"/>
                    </a:lnTo>
                    <a:lnTo>
                      <a:pt x="1433" y="1541"/>
                    </a:lnTo>
                    <a:lnTo>
                      <a:pt x="1434" y="1535"/>
                    </a:lnTo>
                    <a:lnTo>
                      <a:pt x="1427" y="1526"/>
                    </a:lnTo>
                    <a:lnTo>
                      <a:pt x="1419" y="1517"/>
                    </a:lnTo>
                    <a:lnTo>
                      <a:pt x="1407" y="1502"/>
                    </a:lnTo>
                    <a:lnTo>
                      <a:pt x="1389" y="1487"/>
                    </a:lnTo>
                    <a:lnTo>
                      <a:pt x="1371" y="1473"/>
                    </a:lnTo>
                    <a:lnTo>
                      <a:pt x="1362" y="1472"/>
                    </a:lnTo>
                    <a:lnTo>
                      <a:pt x="1355" y="1485"/>
                    </a:lnTo>
                    <a:lnTo>
                      <a:pt x="1349" y="1494"/>
                    </a:lnTo>
                    <a:lnTo>
                      <a:pt x="1329" y="1511"/>
                    </a:lnTo>
                    <a:lnTo>
                      <a:pt x="1323" y="1538"/>
                    </a:lnTo>
                    <a:lnTo>
                      <a:pt x="1319" y="1553"/>
                    </a:lnTo>
                    <a:lnTo>
                      <a:pt x="1307" y="1568"/>
                    </a:lnTo>
                    <a:lnTo>
                      <a:pt x="1301" y="1581"/>
                    </a:lnTo>
                    <a:lnTo>
                      <a:pt x="1292" y="1586"/>
                    </a:lnTo>
                    <a:lnTo>
                      <a:pt x="1278" y="1595"/>
                    </a:lnTo>
                    <a:lnTo>
                      <a:pt x="1266" y="1604"/>
                    </a:lnTo>
                    <a:lnTo>
                      <a:pt x="1245" y="1601"/>
                    </a:lnTo>
                    <a:lnTo>
                      <a:pt x="1235" y="1596"/>
                    </a:lnTo>
                    <a:lnTo>
                      <a:pt x="1235" y="1584"/>
                    </a:lnTo>
                    <a:lnTo>
                      <a:pt x="1229" y="1577"/>
                    </a:lnTo>
                    <a:lnTo>
                      <a:pt x="1217" y="1565"/>
                    </a:lnTo>
                    <a:lnTo>
                      <a:pt x="1203" y="1560"/>
                    </a:lnTo>
                    <a:lnTo>
                      <a:pt x="1188" y="1554"/>
                    </a:lnTo>
                    <a:lnTo>
                      <a:pt x="1175" y="1553"/>
                    </a:lnTo>
                    <a:lnTo>
                      <a:pt x="1167" y="1556"/>
                    </a:lnTo>
                    <a:lnTo>
                      <a:pt x="1163" y="1574"/>
                    </a:lnTo>
                    <a:lnTo>
                      <a:pt x="1157" y="1584"/>
                    </a:lnTo>
                    <a:lnTo>
                      <a:pt x="1134" y="1577"/>
                    </a:lnTo>
                    <a:lnTo>
                      <a:pt x="1137" y="1589"/>
                    </a:lnTo>
                    <a:lnTo>
                      <a:pt x="1142" y="1605"/>
                    </a:lnTo>
                    <a:lnTo>
                      <a:pt x="1163" y="1601"/>
                    </a:lnTo>
                    <a:lnTo>
                      <a:pt x="1163" y="1605"/>
                    </a:lnTo>
                    <a:lnTo>
                      <a:pt x="1160" y="1622"/>
                    </a:lnTo>
                    <a:lnTo>
                      <a:pt x="1163" y="1637"/>
                    </a:lnTo>
                    <a:lnTo>
                      <a:pt x="1196" y="1643"/>
                    </a:lnTo>
                    <a:lnTo>
                      <a:pt x="1206" y="1655"/>
                    </a:lnTo>
                    <a:lnTo>
                      <a:pt x="1211" y="1655"/>
                    </a:lnTo>
                    <a:lnTo>
                      <a:pt x="1214" y="1668"/>
                    </a:lnTo>
                    <a:lnTo>
                      <a:pt x="1212" y="1679"/>
                    </a:lnTo>
                    <a:lnTo>
                      <a:pt x="1208" y="1679"/>
                    </a:lnTo>
                    <a:lnTo>
                      <a:pt x="1203" y="1683"/>
                    </a:lnTo>
                    <a:lnTo>
                      <a:pt x="1194" y="1674"/>
                    </a:lnTo>
                    <a:lnTo>
                      <a:pt x="1184" y="1682"/>
                    </a:lnTo>
                    <a:lnTo>
                      <a:pt x="1172" y="1683"/>
                    </a:lnTo>
                    <a:lnTo>
                      <a:pt x="1172" y="1698"/>
                    </a:lnTo>
                    <a:lnTo>
                      <a:pt x="1158" y="1709"/>
                    </a:lnTo>
                    <a:lnTo>
                      <a:pt x="1131" y="1727"/>
                    </a:lnTo>
                    <a:lnTo>
                      <a:pt x="1130" y="1734"/>
                    </a:lnTo>
                    <a:lnTo>
                      <a:pt x="1130" y="1740"/>
                    </a:lnTo>
                    <a:lnTo>
                      <a:pt x="1116" y="1749"/>
                    </a:lnTo>
                    <a:lnTo>
                      <a:pt x="1118" y="1766"/>
                    </a:lnTo>
                    <a:lnTo>
                      <a:pt x="1121" y="1772"/>
                    </a:lnTo>
                    <a:lnTo>
                      <a:pt x="1115" y="1782"/>
                    </a:lnTo>
                    <a:lnTo>
                      <a:pt x="1088" y="1772"/>
                    </a:lnTo>
                    <a:lnTo>
                      <a:pt x="1079" y="1778"/>
                    </a:lnTo>
                    <a:lnTo>
                      <a:pt x="1086" y="1781"/>
                    </a:lnTo>
                    <a:lnTo>
                      <a:pt x="1088" y="1790"/>
                    </a:lnTo>
                    <a:lnTo>
                      <a:pt x="1083" y="1793"/>
                    </a:lnTo>
                    <a:lnTo>
                      <a:pt x="1062" y="1785"/>
                    </a:lnTo>
                    <a:lnTo>
                      <a:pt x="1035" y="1788"/>
                    </a:lnTo>
                    <a:lnTo>
                      <a:pt x="998" y="1797"/>
                    </a:lnTo>
                    <a:lnTo>
                      <a:pt x="981" y="1805"/>
                    </a:lnTo>
                    <a:lnTo>
                      <a:pt x="977" y="1811"/>
                    </a:lnTo>
                    <a:lnTo>
                      <a:pt x="977" y="1817"/>
                    </a:lnTo>
                    <a:lnTo>
                      <a:pt x="972" y="1824"/>
                    </a:lnTo>
                    <a:lnTo>
                      <a:pt x="962" y="1820"/>
                    </a:lnTo>
                    <a:lnTo>
                      <a:pt x="953" y="1815"/>
                    </a:lnTo>
                    <a:lnTo>
                      <a:pt x="936" y="1812"/>
                    </a:lnTo>
                    <a:lnTo>
                      <a:pt x="909" y="1814"/>
                    </a:lnTo>
                    <a:lnTo>
                      <a:pt x="914" y="1820"/>
                    </a:lnTo>
                    <a:lnTo>
                      <a:pt x="930" y="1827"/>
                    </a:lnTo>
                    <a:lnTo>
                      <a:pt x="935" y="1832"/>
                    </a:lnTo>
                    <a:lnTo>
                      <a:pt x="941" y="1836"/>
                    </a:lnTo>
                    <a:lnTo>
                      <a:pt x="945" y="1845"/>
                    </a:lnTo>
                    <a:lnTo>
                      <a:pt x="954" y="1860"/>
                    </a:lnTo>
                    <a:lnTo>
                      <a:pt x="965" y="1865"/>
                    </a:lnTo>
                    <a:lnTo>
                      <a:pt x="983" y="1872"/>
                    </a:lnTo>
                    <a:lnTo>
                      <a:pt x="986" y="1880"/>
                    </a:lnTo>
                    <a:lnTo>
                      <a:pt x="977" y="1893"/>
                    </a:lnTo>
                    <a:lnTo>
                      <a:pt x="963" y="1907"/>
                    </a:lnTo>
                    <a:lnTo>
                      <a:pt x="959" y="1913"/>
                    </a:lnTo>
                    <a:lnTo>
                      <a:pt x="938" y="1934"/>
                    </a:lnTo>
                    <a:lnTo>
                      <a:pt x="927" y="1938"/>
                    </a:lnTo>
                    <a:lnTo>
                      <a:pt x="915" y="1941"/>
                    </a:lnTo>
                    <a:lnTo>
                      <a:pt x="911" y="1949"/>
                    </a:lnTo>
                    <a:lnTo>
                      <a:pt x="912" y="1965"/>
                    </a:lnTo>
                    <a:lnTo>
                      <a:pt x="896" y="1970"/>
                    </a:lnTo>
                    <a:lnTo>
                      <a:pt x="893" y="1959"/>
                    </a:lnTo>
                    <a:lnTo>
                      <a:pt x="885" y="1947"/>
                    </a:lnTo>
                    <a:lnTo>
                      <a:pt x="885" y="1943"/>
                    </a:lnTo>
                    <a:lnTo>
                      <a:pt x="882" y="1928"/>
                    </a:lnTo>
                    <a:lnTo>
                      <a:pt x="869" y="1923"/>
                    </a:lnTo>
                    <a:lnTo>
                      <a:pt x="861" y="1926"/>
                    </a:lnTo>
                    <a:lnTo>
                      <a:pt x="857" y="1934"/>
                    </a:lnTo>
                    <a:lnTo>
                      <a:pt x="848" y="1938"/>
                    </a:lnTo>
                    <a:lnTo>
                      <a:pt x="836" y="1935"/>
                    </a:lnTo>
                    <a:lnTo>
                      <a:pt x="828" y="1941"/>
                    </a:lnTo>
                    <a:lnTo>
                      <a:pt x="824" y="1940"/>
                    </a:lnTo>
                    <a:lnTo>
                      <a:pt x="828" y="1929"/>
                    </a:lnTo>
                    <a:lnTo>
                      <a:pt x="818" y="1928"/>
                    </a:lnTo>
                    <a:lnTo>
                      <a:pt x="813" y="1917"/>
                    </a:lnTo>
                    <a:lnTo>
                      <a:pt x="818" y="1913"/>
                    </a:lnTo>
                    <a:lnTo>
                      <a:pt x="812" y="1899"/>
                    </a:lnTo>
                    <a:lnTo>
                      <a:pt x="813" y="1875"/>
                    </a:lnTo>
                    <a:lnTo>
                      <a:pt x="824" y="1868"/>
                    </a:lnTo>
                    <a:lnTo>
                      <a:pt x="827" y="1865"/>
                    </a:lnTo>
                    <a:lnTo>
                      <a:pt x="828" y="1860"/>
                    </a:lnTo>
                    <a:lnTo>
                      <a:pt x="839" y="1853"/>
                    </a:lnTo>
                    <a:lnTo>
                      <a:pt x="840" y="1851"/>
                    </a:lnTo>
                    <a:lnTo>
                      <a:pt x="839" y="1847"/>
                    </a:lnTo>
                    <a:lnTo>
                      <a:pt x="828" y="1835"/>
                    </a:lnTo>
                    <a:lnTo>
                      <a:pt x="815" y="1841"/>
                    </a:lnTo>
                    <a:lnTo>
                      <a:pt x="815" y="1845"/>
                    </a:lnTo>
                    <a:lnTo>
                      <a:pt x="819" y="1860"/>
                    </a:lnTo>
                    <a:lnTo>
                      <a:pt x="816" y="1865"/>
                    </a:lnTo>
                    <a:lnTo>
                      <a:pt x="806" y="1862"/>
                    </a:lnTo>
                    <a:lnTo>
                      <a:pt x="801" y="1856"/>
                    </a:lnTo>
                    <a:lnTo>
                      <a:pt x="795" y="1836"/>
                    </a:lnTo>
                    <a:lnTo>
                      <a:pt x="789" y="1827"/>
                    </a:lnTo>
                    <a:lnTo>
                      <a:pt x="780" y="1827"/>
                    </a:lnTo>
                    <a:lnTo>
                      <a:pt x="774" y="1827"/>
                    </a:lnTo>
                    <a:lnTo>
                      <a:pt x="765" y="1832"/>
                    </a:lnTo>
                    <a:lnTo>
                      <a:pt x="761" y="1827"/>
                    </a:lnTo>
                    <a:lnTo>
                      <a:pt x="753" y="1821"/>
                    </a:lnTo>
                    <a:lnTo>
                      <a:pt x="747" y="1817"/>
                    </a:lnTo>
                    <a:lnTo>
                      <a:pt x="737" y="1821"/>
                    </a:lnTo>
                    <a:lnTo>
                      <a:pt x="728" y="1821"/>
                    </a:lnTo>
                    <a:lnTo>
                      <a:pt x="707" y="1827"/>
                    </a:lnTo>
                    <a:lnTo>
                      <a:pt x="698" y="1821"/>
                    </a:lnTo>
                    <a:lnTo>
                      <a:pt x="696" y="1814"/>
                    </a:lnTo>
                    <a:lnTo>
                      <a:pt x="684" y="1812"/>
                    </a:lnTo>
                    <a:lnTo>
                      <a:pt x="668" y="1811"/>
                    </a:lnTo>
                    <a:lnTo>
                      <a:pt x="672" y="1802"/>
                    </a:lnTo>
                    <a:lnTo>
                      <a:pt x="660" y="1794"/>
                    </a:lnTo>
                    <a:lnTo>
                      <a:pt x="651" y="1790"/>
                    </a:lnTo>
                    <a:lnTo>
                      <a:pt x="648" y="1775"/>
                    </a:lnTo>
                    <a:lnTo>
                      <a:pt x="633" y="1766"/>
                    </a:lnTo>
                    <a:lnTo>
                      <a:pt x="621" y="1758"/>
                    </a:lnTo>
                    <a:lnTo>
                      <a:pt x="617" y="1752"/>
                    </a:lnTo>
                    <a:lnTo>
                      <a:pt x="609" y="1743"/>
                    </a:lnTo>
                    <a:lnTo>
                      <a:pt x="609" y="1734"/>
                    </a:lnTo>
                    <a:lnTo>
                      <a:pt x="609" y="1728"/>
                    </a:lnTo>
                    <a:lnTo>
                      <a:pt x="603" y="1724"/>
                    </a:lnTo>
                    <a:lnTo>
                      <a:pt x="588" y="1718"/>
                    </a:lnTo>
                    <a:lnTo>
                      <a:pt x="588" y="1712"/>
                    </a:lnTo>
                    <a:lnTo>
                      <a:pt x="587" y="1700"/>
                    </a:lnTo>
                    <a:lnTo>
                      <a:pt x="591" y="1689"/>
                    </a:lnTo>
                    <a:lnTo>
                      <a:pt x="588" y="1685"/>
                    </a:lnTo>
                    <a:lnTo>
                      <a:pt x="603" y="1643"/>
                    </a:lnTo>
                    <a:lnTo>
                      <a:pt x="615" y="1632"/>
                    </a:lnTo>
                    <a:lnTo>
                      <a:pt x="612" y="1623"/>
                    </a:lnTo>
                    <a:lnTo>
                      <a:pt x="603" y="1619"/>
                    </a:lnTo>
                    <a:lnTo>
                      <a:pt x="591" y="1623"/>
                    </a:lnTo>
                    <a:lnTo>
                      <a:pt x="584" y="1620"/>
                    </a:lnTo>
                    <a:lnTo>
                      <a:pt x="573" y="1604"/>
                    </a:lnTo>
                    <a:lnTo>
                      <a:pt x="572" y="1598"/>
                    </a:lnTo>
                    <a:lnTo>
                      <a:pt x="578" y="1592"/>
                    </a:lnTo>
                    <a:lnTo>
                      <a:pt x="579" y="1583"/>
                    </a:lnTo>
                    <a:lnTo>
                      <a:pt x="585" y="1587"/>
                    </a:lnTo>
                    <a:lnTo>
                      <a:pt x="596" y="1583"/>
                    </a:lnTo>
                    <a:lnTo>
                      <a:pt x="593" y="1568"/>
                    </a:lnTo>
                    <a:lnTo>
                      <a:pt x="596" y="1557"/>
                    </a:lnTo>
                    <a:lnTo>
                      <a:pt x="603" y="1560"/>
                    </a:lnTo>
                    <a:lnTo>
                      <a:pt x="605" y="1553"/>
                    </a:lnTo>
                    <a:lnTo>
                      <a:pt x="599" y="1547"/>
                    </a:lnTo>
                    <a:lnTo>
                      <a:pt x="597" y="1538"/>
                    </a:lnTo>
                    <a:lnTo>
                      <a:pt x="597" y="1530"/>
                    </a:lnTo>
                    <a:lnTo>
                      <a:pt x="605" y="1521"/>
                    </a:lnTo>
                    <a:lnTo>
                      <a:pt x="599" y="1515"/>
                    </a:lnTo>
                    <a:lnTo>
                      <a:pt x="599" y="1512"/>
                    </a:lnTo>
                    <a:lnTo>
                      <a:pt x="605" y="1508"/>
                    </a:lnTo>
                    <a:lnTo>
                      <a:pt x="608" y="1502"/>
                    </a:lnTo>
                    <a:lnTo>
                      <a:pt x="609" y="1497"/>
                    </a:lnTo>
                    <a:lnTo>
                      <a:pt x="608" y="1491"/>
                    </a:lnTo>
                    <a:lnTo>
                      <a:pt x="591" y="1487"/>
                    </a:lnTo>
                    <a:lnTo>
                      <a:pt x="582" y="1490"/>
                    </a:lnTo>
                    <a:lnTo>
                      <a:pt x="570" y="1478"/>
                    </a:lnTo>
                    <a:lnTo>
                      <a:pt x="567" y="1464"/>
                    </a:lnTo>
                    <a:lnTo>
                      <a:pt x="561" y="1457"/>
                    </a:lnTo>
                    <a:lnTo>
                      <a:pt x="554" y="1449"/>
                    </a:lnTo>
                    <a:lnTo>
                      <a:pt x="551" y="1443"/>
                    </a:lnTo>
                    <a:lnTo>
                      <a:pt x="566" y="1433"/>
                    </a:lnTo>
                    <a:lnTo>
                      <a:pt x="569" y="1428"/>
                    </a:lnTo>
                    <a:lnTo>
                      <a:pt x="569" y="1413"/>
                    </a:lnTo>
                    <a:lnTo>
                      <a:pt x="549" y="1401"/>
                    </a:lnTo>
                    <a:lnTo>
                      <a:pt x="543" y="1403"/>
                    </a:lnTo>
                    <a:lnTo>
                      <a:pt x="528" y="1388"/>
                    </a:lnTo>
                    <a:lnTo>
                      <a:pt x="533" y="1385"/>
                    </a:lnTo>
                    <a:lnTo>
                      <a:pt x="533" y="1376"/>
                    </a:lnTo>
                    <a:lnTo>
                      <a:pt x="522" y="1364"/>
                    </a:lnTo>
                    <a:lnTo>
                      <a:pt x="513" y="1359"/>
                    </a:lnTo>
                    <a:lnTo>
                      <a:pt x="506" y="1358"/>
                    </a:lnTo>
                    <a:lnTo>
                      <a:pt x="495" y="1356"/>
                    </a:lnTo>
                    <a:lnTo>
                      <a:pt x="491" y="1341"/>
                    </a:lnTo>
                    <a:lnTo>
                      <a:pt x="498" y="1343"/>
                    </a:lnTo>
                    <a:lnTo>
                      <a:pt x="507" y="1334"/>
                    </a:lnTo>
                    <a:lnTo>
                      <a:pt x="507" y="1346"/>
                    </a:lnTo>
                    <a:lnTo>
                      <a:pt x="512" y="1347"/>
                    </a:lnTo>
                    <a:lnTo>
                      <a:pt x="513" y="1340"/>
                    </a:lnTo>
                    <a:lnTo>
                      <a:pt x="518" y="1341"/>
                    </a:lnTo>
                    <a:lnTo>
                      <a:pt x="524" y="1340"/>
                    </a:lnTo>
                    <a:lnTo>
                      <a:pt x="530" y="1346"/>
                    </a:lnTo>
                    <a:lnTo>
                      <a:pt x="536" y="1344"/>
                    </a:lnTo>
                    <a:lnTo>
                      <a:pt x="543" y="1325"/>
                    </a:lnTo>
                    <a:lnTo>
                      <a:pt x="540" y="1317"/>
                    </a:lnTo>
                    <a:lnTo>
                      <a:pt x="539" y="1310"/>
                    </a:lnTo>
                    <a:lnTo>
                      <a:pt x="524" y="1314"/>
                    </a:lnTo>
                    <a:lnTo>
                      <a:pt x="513" y="1305"/>
                    </a:lnTo>
                    <a:lnTo>
                      <a:pt x="510" y="1299"/>
                    </a:lnTo>
                    <a:lnTo>
                      <a:pt x="503" y="1293"/>
                    </a:lnTo>
                    <a:lnTo>
                      <a:pt x="495" y="1283"/>
                    </a:lnTo>
                    <a:lnTo>
                      <a:pt x="495" y="1274"/>
                    </a:lnTo>
                    <a:lnTo>
                      <a:pt x="518" y="1274"/>
                    </a:lnTo>
                    <a:lnTo>
                      <a:pt x="528" y="1263"/>
                    </a:lnTo>
                    <a:lnTo>
                      <a:pt x="534" y="1245"/>
                    </a:lnTo>
                    <a:lnTo>
                      <a:pt x="542" y="1241"/>
                    </a:lnTo>
                    <a:lnTo>
                      <a:pt x="542" y="1218"/>
                    </a:lnTo>
                    <a:lnTo>
                      <a:pt x="543" y="1208"/>
                    </a:lnTo>
                    <a:lnTo>
                      <a:pt x="548" y="1196"/>
                    </a:lnTo>
                    <a:lnTo>
                      <a:pt x="548" y="1182"/>
                    </a:lnTo>
                    <a:lnTo>
                      <a:pt x="558" y="1175"/>
                    </a:lnTo>
                    <a:lnTo>
                      <a:pt x="567" y="1176"/>
                    </a:lnTo>
                    <a:lnTo>
                      <a:pt x="582" y="1169"/>
                    </a:lnTo>
                    <a:lnTo>
                      <a:pt x="588" y="1160"/>
                    </a:lnTo>
                    <a:lnTo>
                      <a:pt x="599" y="1160"/>
                    </a:lnTo>
                    <a:lnTo>
                      <a:pt x="623" y="1173"/>
                    </a:lnTo>
                    <a:lnTo>
                      <a:pt x="629" y="1167"/>
                    </a:lnTo>
                    <a:lnTo>
                      <a:pt x="627" y="1160"/>
                    </a:lnTo>
                    <a:lnTo>
                      <a:pt x="636" y="1151"/>
                    </a:lnTo>
                    <a:lnTo>
                      <a:pt x="639" y="1137"/>
                    </a:lnTo>
                    <a:lnTo>
                      <a:pt x="632" y="1130"/>
                    </a:lnTo>
                    <a:lnTo>
                      <a:pt x="626" y="1127"/>
                    </a:lnTo>
                    <a:lnTo>
                      <a:pt x="614" y="1121"/>
                    </a:lnTo>
                    <a:lnTo>
                      <a:pt x="609" y="1115"/>
                    </a:lnTo>
                    <a:lnTo>
                      <a:pt x="605" y="1107"/>
                    </a:lnTo>
                    <a:lnTo>
                      <a:pt x="627" y="1103"/>
                    </a:lnTo>
                    <a:lnTo>
                      <a:pt x="629" y="1095"/>
                    </a:lnTo>
                    <a:lnTo>
                      <a:pt x="629" y="1091"/>
                    </a:lnTo>
                    <a:lnTo>
                      <a:pt x="620" y="1082"/>
                    </a:lnTo>
                    <a:lnTo>
                      <a:pt x="609" y="1083"/>
                    </a:lnTo>
                    <a:lnTo>
                      <a:pt x="606" y="1079"/>
                    </a:lnTo>
                    <a:lnTo>
                      <a:pt x="602" y="1073"/>
                    </a:lnTo>
                    <a:lnTo>
                      <a:pt x="600" y="1080"/>
                    </a:lnTo>
                    <a:lnTo>
                      <a:pt x="600" y="1086"/>
                    </a:lnTo>
                    <a:lnTo>
                      <a:pt x="593" y="1091"/>
                    </a:lnTo>
                    <a:lnTo>
                      <a:pt x="588" y="1097"/>
                    </a:lnTo>
                    <a:lnTo>
                      <a:pt x="581" y="1104"/>
                    </a:lnTo>
                    <a:lnTo>
                      <a:pt x="585" y="1112"/>
                    </a:lnTo>
                    <a:lnTo>
                      <a:pt x="587" y="1118"/>
                    </a:lnTo>
                    <a:lnTo>
                      <a:pt x="578" y="1121"/>
                    </a:lnTo>
                    <a:lnTo>
                      <a:pt x="567" y="1116"/>
                    </a:lnTo>
                    <a:lnTo>
                      <a:pt x="560" y="1121"/>
                    </a:lnTo>
                    <a:lnTo>
                      <a:pt x="554" y="1124"/>
                    </a:lnTo>
                    <a:lnTo>
                      <a:pt x="540" y="1137"/>
                    </a:lnTo>
                    <a:lnTo>
                      <a:pt x="528" y="1134"/>
                    </a:lnTo>
                    <a:lnTo>
                      <a:pt x="524" y="1139"/>
                    </a:lnTo>
                    <a:lnTo>
                      <a:pt x="519" y="1152"/>
                    </a:lnTo>
                    <a:lnTo>
                      <a:pt x="494" y="1152"/>
                    </a:lnTo>
                    <a:lnTo>
                      <a:pt x="494" y="1143"/>
                    </a:lnTo>
                    <a:lnTo>
                      <a:pt x="501" y="1133"/>
                    </a:lnTo>
                    <a:lnTo>
                      <a:pt x="501" y="1122"/>
                    </a:lnTo>
                    <a:lnTo>
                      <a:pt x="488" y="1113"/>
                    </a:lnTo>
                    <a:lnTo>
                      <a:pt x="477" y="1121"/>
                    </a:lnTo>
                    <a:lnTo>
                      <a:pt x="471" y="1127"/>
                    </a:lnTo>
                    <a:lnTo>
                      <a:pt x="465" y="1115"/>
                    </a:lnTo>
                    <a:lnTo>
                      <a:pt x="456" y="1115"/>
                    </a:lnTo>
                    <a:lnTo>
                      <a:pt x="443" y="1116"/>
                    </a:lnTo>
                    <a:lnTo>
                      <a:pt x="443" y="1122"/>
                    </a:lnTo>
                    <a:lnTo>
                      <a:pt x="441" y="1133"/>
                    </a:lnTo>
                    <a:lnTo>
                      <a:pt x="413" y="1133"/>
                    </a:lnTo>
                    <a:lnTo>
                      <a:pt x="401" y="1130"/>
                    </a:lnTo>
                    <a:lnTo>
                      <a:pt x="396" y="1119"/>
                    </a:lnTo>
                    <a:lnTo>
                      <a:pt x="380" y="1107"/>
                    </a:lnTo>
                    <a:lnTo>
                      <a:pt x="360" y="1119"/>
                    </a:lnTo>
                    <a:lnTo>
                      <a:pt x="347" y="1118"/>
                    </a:lnTo>
                    <a:lnTo>
                      <a:pt x="338" y="1130"/>
                    </a:lnTo>
                    <a:lnTo>
                      <a:pt x="321" y="1139"/>
                    </a:lnTo>
                    <a:lnTo>
                      <a:pt x="293" y="1137"/>
                    </a:lnTo>
                    <a:lnTo>
                      <a:pt x="288" y="1140"/>
                    </a:lnTo>
                    <a:lnTo>
                      <a:pt x="284" y="1139"/>
                    </a:lnTo>
                    <a:lnTo>
                      <a:pt x="281" y="1124"/>
                    </a:lnTo>
                    <a:lnTo>
                      <a:pt x="273" y="1118"/>
                    </a:lnTo>
                    <a:lnTo>
                      <a:pt x="276" y="1103"/>
                    </a:lnTo>
                    <a:lnTo>
                      <a:pt x="263" y="1101"/>
                    </a:lnTo>
                    <a:lnTo>
                      <a:pt x="242" y="1098"/>
                    </a:lnTo>
                    <a:lnTo>
                      <a:pt x="222" y="1100"/>
                    </a:lnTo>
                    <a:lnTo>
                      <a:pt x="212" y="1091"/>
                    </a:lnTo>
                    <a:lnTo>
                      <a:pt x="215" y="1064"/>
                    </a:lnTo>
                    <a:lnTo>
                      <a:pt x="218" y="1053"/>
                    </a:lnTo>
                    <a:lnTo>
                      <a:pt x="224" y="1035"/>
                    </a:lnTo>
                    <a:lnTo>
                      <a:pt x="221" y="1017"/>
                    </a:lnTo>
                    <a:lnTo>
                      <a:pt x="209" y="1007"/>
                    </a:lnTo>
                    <a:lnTo>
                      <a:pt x="216" y="995"/>
                    </a:lnTo>
                    <a:lnTo>
                      <a:pt x="221" y="995"/>
                    </a:lnTo>
                    <a:lnTo>
                      <a:pt x="224" y="992"/>
                    </a:lnTo>
                    <a:lnTo>
                      <a:pt x="252" y="987"/>
                    </a:lnTo>
                    <a:lnTo>
                      <a:pt x="252" y="978"/>
                    </a:lnTo>
                    <a:lnTo>
                      <a:pt x="248" y="969"/>
                    </a:lnTo>
                    <a:lnTo>
                      <a:pt x="252" y="965"/>
                    </a:lnTo>
                    <a:lnTo>
                      <a:pt x="261" y="966"/>
                    </a:lnTo>
                    <a:lnTo>
                      <a:pt x="273" y="969"/>
                    </a:lnTo>
                    <a:lnTo>
                      <a:pt x="284" y="969"/>
                    </a:lnTo>
                    <a:lnTo>
                      <a:pt x="296" y="966"/>
                    </a:lnTo>
                    <a:lnTo>
                      <a:pt x="296" y="960"/>
                    </a:lnTo>
                    <a:lnTo>
                      <a:pt x="282" y="959"/>
                    </a:lnTo>
                    <a:lnTo>
                      <a:pt x="284" y="947"/>
                    </a:lnTo>
                    <a:lnTo>
                      <a:pt x="285" y="924"/>
                    </a:lnTo>
                    <a:lnTo>
                      <a:pt x="282" y="917"/>
                    </a:lnTo>
                    <a:lnTo>
                      <a:pt x="288" y="903"/>
                    </a:lnTo>
                    <a:lnTo>
                      <a:pt x="281" y="893"/>
                    </a:lnTo>
                    <a:lnTo>
                      <a:pt x="278" y="873"/>
                    </a:lnTo>
                    <a:lnTo>
                      <a:pt x="284" y="861"/>
                    </a:lnTo>
                    <a:lnTo>
                      <a:pt x="281" y="855"/>
                    </a:lnTo>
                    <a:lnTo>
                      <a:pt x="288" y="845"/>
                    </a:lnTo>
                    <a:lnTo>
                      <a:pt x="293" y="837"/>
                    </a:lnTo>
                    <a:lnTo>
                      <a:pt x="287" y="831"/>
                    </a:lnTo>
                    <a:lnTo>
                      <a:pt x="291" y="825"/>
                    </a:lnTo>
                    <a:lnTo>
                      <a:pt x="299" y="824"/>
                    </a:lnTo>
                    <a:lnTo>
                      <a:pt x="293" y="812"/>
                    </a:lnTo>
                    <a:lnTo>
                      <a:pt x="293" y="804"/>
                    </a:lnTo>
                    <a:lnTo>
                      <a:pt x="293" y="795"/>
                    </a:lnTo>
                    <a:lnTo>
                      <a:pt x="285" y="786"/>
                    </a:lnTo>
                    <a:lnTo>
                      <a:pt x="279" y="785"/>
                    </a:lnTo>
                    <a:lnTo>
                      <a:pt x="278" y="782"/>
                    </a:lnTo>
                    <a:lnTo>
                      <a:pt x="272" y="782"/>
                    </a:lnTo>
                    <a:lnTo>
                      <a:pt x="266" y="776"/>
                    </a:lnTo>
                    <a:lnTo>
                      <a:pt x="254" y="780"/>
                    </a:lnTo>
                    <a:lnTo>
                      <a:pt x="254" y="776"/>
                    </a:lnTo>
                    <a:lnTo>
                      <a:pt x="260" y="773"/>
                    </a:lnTo>
                    <a:lnTo>
                      <a:pt x="261" y="765"/>
                    </a:lnTo>
                    <a:lnTo>
                      <a:pt x="236" y="762"/>
                    </a:lnTo>
                    <a:lnTo>
                      <a:pt x="222" y="759"/>
                    </a:lnTo>
                    <a:lnTo>
                      <a:pt x="212" y="771"/>
                    </a:lnTo>
                    <a:lnTo>
                      <a:pt x="186" y="765"/>
                    </a:lnTo>
                    <a:lnTo>
                      <a:pt x="189" y="752"/>
                    </a:lnTo>
                    <a:lnTo>
                      <a:pt x="188" y="738"/>
                    </a:lnTo>
                    <a:lnTo>
                      <a:pt x="177" y="735"/>
                    </a:lnTo>
                    <a:lnTo>
                      <a:pt x="173" y="738"/>
                    </a:lnTo>
                    <a:lnTo>
                      <a:pt x="168" y="735"/>
                    </a:lnTo>
                    <a:lnTo>
                      <a:pt x="170" y="720"/>
                    </a:lnTo>
                    <a:lnTo>
                      <a:pt x="156" y="725"/>
                    </a:lnTo>
                    <a:lnTo>
                      <a:pt x="137" y="735"/>
                    </a:lnTo>
                    <a:lnTo>
                      <a:pt x="128" y="726"/>
                    </a:lnTo>
                    <a:lnTo>
                      <a:pt x="125" y="725"/>
                    </a:lnTo>
                    <a:lnTo>
                      <a:pt x="116" y="720"/>
                    </a:lnTo>
                    <a:lnTo>
                      <a:pt x="111" y="713"/>
                    </a:lnTo>
                    <a:lnTo>
                      <a:pt x="101" y="713"/>
                    </a:lnTo>
                    <a:lnTo>
                      <a:pt x="89" y="711"/>
                    </a:lnTo>
                    <a:lnTo>
                      <a:pt x="81" y="698"/>
                    </a:lnTo>
                    <a:lnTo>
                      <a:pt x="89" y="678"/>
                    </a:lnTo>
                    <a:lnTo>
                      <a:pt x="87" y="666"/>
                    </a:lnTo>
                    <a:lnTo>
                      <a:pt x="87" y="660"/>
                    </a:lnTo>
                    <a:lnTo>
                      <a:pt x="84" y="650"/>
                    </a:lnTo>
                    <a:lnTo>
                      <a:pt x="86" y="632"/>
                    </a:lnTo>
                    <a:lnTo>
                      <a:pt x="77" y="632"/>
                    </a:lnTo>
                    <a:lnTo>
                      <a:pt x="72" y="641"/>
                    </a:lnTo>
                    <a:lnTo>
                      <a:pt x="68" y="636"/>
                    </a:lnTo>
                    <a:lnTo>
                      <a:pt x="72" y="624"/>
                    </a:lnTo>
                    <a:lnTo>
                      <a:pt x="80" y="615"/>
                    </a:lnTo>
                    <a:lnTo>
                      <a:pt x="68" y="605"/>
                    </a:lnTo>
                    <a:lnTo>
                      <a:pt x="59" y="593"/>
                    </a:lnTo>
                    <a:lnTo>
                      <a:pt x="54" y="584"/>
                    </a:lnTo>
                    <a:lnTo>
                      <a:pt x="56" y="575"/>
                    </a:lnTo>
                    <a:lnTo>
                      <a:pt x="56" y="564"/>
                    </a:lnTo>
                    <a:lnTo>
                      <a:pt x="41" y="563"/>
                    </a:lnTo>
                    <a:lnTo>
                      <a:pt x="27" y="545"/>
                    </a:lnTo>
                    <a:lnTo>
                      <a:pt x="23" y="534"/>
                    </a:lnTo>
                    <a:lnTo>
                      <a:pt x="21" y="521"/>
                    </a:lnTo>
                    <a:lnTo>
                      <a:pt x="12" y="509"/>
                    </a:lnTo>
                    <a:lnTo>
                      <a:pt x="9" y="498"/>
                    </a:lnTo>
                    <a:lnTo>
                      <a:pt x="9" y="489"/>
                    </a:lnTo>
                    <a:lnTo>
                      <a:pt x="0" y="482"/>
                    </a:lnTo>
                    <a:lnTo>
                      <a:pt x="2" y="471"/>
                    </a:lnTo>
                    <a:lnTo>
                      <a:pt x="8" y="479"/>
                    </a:lnTo>
                    <a:lnTo>
                      <a:pt x="18" y="479"/>
                    </a:lnTo>
                    <a:lnTo>
                      <a:pt x="27" y="483"/>
                    </a:lnTo>
                    <a:lnTo>
                      <a:pt x="50" y="477"/>
                    </a:lnTo>
                    <a:lnTo>
                      <a:pt x="62" y="474"/>
                    </a:lnTo>
                    <a:lnTo>
                      <a:pt x="86" y="468"/>
                    </a:lnTo>
                    <a:lnTo>
                      <a:pt x="125" y="479"/>
                    </a:lnTo>
                    <a:lnTo>
                      <a:pt x="123" y="485"/>
                    </a:lnTo>
                    <a:lnTo>
                      <a:pt x="123" y="492"/>
                    </a:lnTo>
                    <a:lnTo>
                      <a:pt x="132" y="506"/>
                    </a:lnTo>
                    <a:lnTo>
                      <a:pt x="135" y="518"/>
                    </a:lnTo>
                    <a:lnTo>
                      <a:pt x="153" y="519"/>
                    </a:lnTo>
                    <a:lnTo>
                      <a:pt x="164" y="513"/>
                    </a:lnTo>
                    <a:lnTo>
                      <a:pt x="171" y="495"/>
                    </a:lnTo>
                    <a:lnTo>
                      <a:pt x="177" y="495"/>
                    </a:lnTo>
                    <a:lnTo>
                      <a:pt x="197" y="488"/>
                    </a:lnTo>
                    <a:lnTo>
                      <a:pt x="207" y="492"/>
                    </a:lnTo>
                    <a:lnTo>
                      <a:pt x="216" y="483"/>
                    </a:lnTo>
                    <a:lnTo>
                      <a:pt x="240" y="473"/>
                    </a:lnTo>
                    <a:lnTo>
                      <a:pt x="245" y="465"/>
                    </a:lnTo>
                    <a:lnTo>
                      <a:pt x="254" y="465"/>
                    </a:lnTo>
                    <a:lnTo>
                      <a:pt x="272" y="449"/>
                    </a:lnTo>
                    <a:lnTo>
                      <a:pt x="284" y="443"/>
                    </a:lnTo>
                    <a:lnTo>
                      <a:pt x="293" y="432"/>
                    </a:lnTo>
                    <a:lnTo>
                      <a:pt x="299" y="434"/>
                    </a:lnTo>
                    <a:lnTo>
                      <a:pt x="311" y="432"/>
                    </a:lnTo>
                    <a:lnTo>
                      <a:pt x="318" y="420"/>
                    </a:lnTo>
                    <a:lnTo>
                      <a:pt x="336" y="431"/>
                    </a:lnTo>
                    <a:lnTo>
                      <a:pt x="338" y="423"/>
                    </a:lnTo>
                    <a:lnTo>
                      <a:pt x="338" y="411"/>
                    </a:lnTo>
                    <a:lnTo>
                      <a:pt x="333" y="396"/>
                    </a:lnTo>
                    <a:lnTo>
                      <a:pt x="335" y="389"/>
                    </a:lnTo>
                    <a:lnTo>
                      <a:pt x="332" y="381"/>
                    </a:lnTo>
                    <a:lnTo>
                      <a:pt x="326" y="368"/>
                    </a:lnTo>
                    <a:lnTo>
                      <a:pt x="324" y="362"/>
                    </a:lnTo>
                    <a:lnTo>
                      <a:pt x="327" y="357"/>
                    </a:lnTo>
                    <a:lnTo>
                      <a:pt x="336" y="353"/>
                    </a:lnTo>
                    <a:lnTo>
                      <a:pt x="374" y="335"/>
                    </a:lnTo>
                    <a:lnTo>
                      <a:pt x="374" y="327"/>
                    </a:lnTo>
                    <a:lnTo>
                      <a:pt x="369" y="317"/>
                    </a:lnTo>
                    <a:lnTo>
                      <a:pt x="360" y="306"/>
                    </a:lnTo>
                    <a:lnTo>
                      <a:pt x="350" y="299"/>
                    </a:lnTo>
                    <a:lnTo>
                      <a:pt x="332" y="294"/>
                    </a:lnTo>
                    <a:lnTo>
                      <a:pt x="321" y="272"/>
                    </a:lnTo>
                    <a:lnTo>
                      <a:pt x="323" y="260"/>
                    </a:lnTo>
                    <a:lnTo>
                      <a:pt x="329" y="252"/>
                    </a:lnTo>
                    <a:lnTo>
                      <a:pt x="326" y="242"/>
                    </a:lnTo>
                    <a:lnTo>
                      <a:pt x="326" y="236"/>
                    </a:lnTo>
                    <a:lnTo>
                      <a:pt x="338" y="227"/>
                    </a:lnTo>
                    <a:lnTo>
                      <a:pt x="335" y="216"/>
                    </a:lnTo>
                    <a:lnTo>
                      <a:pt x="323" y="200"/>
                    </a:lnTo>
                    <a:lnTo>
                      <a:pt x="321" y="189"/>
                    </a:lnTo>
                    <a:lnTo>
                      <a:pt x="311" y="197"/>
                    </a:lnTo>
                    <a:lnTo>
                      <a:pt x="302" y="207"/>
                    </a:lnTo>
                    <a:lnTo>
                      <a:pt x="296" y="204"/>
                    </a:lnTo>
                    <a:lnTo>
                      <a:pt x="297" y="197"/>
                    </a:lnTo>
                    <a:lnTo>
                      <a:pt x="299" y="189"/>
                    </a:lnTo>
                    <a:lnTo>
                      <a:pt x="306" y="180"/>
                    </a:lnTo>
                    <a:lnTo>
                      <a:pt x="320" y="176"/>
                    </a:lnTo>
                    <a:lnTo>
                      <a:pt x="324" y="174"/>
                    </a:lnTo>
                    <a:lnTo>
                      <a:pt x="341" y="153"/>
                    </a:lnTo>
                    <a:lnTo>
                      <a:pt x="344" y="141"/>
                    </a:lnTo>
                    <a:lnTo>
                      <a:pt x="342" y="132"/>
                    </a:lnTo>
                    <a:lnTo>
                      <a:pt x="347" y="116"/>
                    </a:lnTo>
                    <a:lnTo>
                      <a:pt x="351" y="105"/>
                    </a:lnTo>
                    <a:lnTo>
                      <a:pt x="345" y="99"/>
                    </a:lnTo>
                    <a:lnTo>
                      <a:pt x="327" y="84"/>
                    </a:lnTo>
                    <a:lnTo>
                      <a:pt x="329" y="77"/>
                    </a:lnTo>
                    <a:lnTo>
                      <a:pt x="338" y="69"/>
                    </a:lnTo>
                    <a:lnTo>
                      <a:pt x="336" y="53"/>
                    </a:lnTo>
                    <a:lnTo>
                      <a:pt x="342" y="42"/>
                    </a:lnTo>
                    <a:lnTo>
                      <a:pt x="354" y="44"/>
                    </a:lnTo>
                    <a:lnTo>
                      <a:pt x="368" y="45"/>
                    </a:lnTo>
                    <a:lnTo>
                      <a:pt x="375" y="39"/>
                    </a:lnTo>
                    <a:lnTo>
                      <a:pt x="384" y="39"/>
                    </a:lnTo>
                    <a:lnTo>
                      <a:pt x="389" y="36"/>
                    </a:lnTo>
                    <a:lnTo>
                      <a:pt x="392" y="30"/>
                    </a:lnTo>
                    <a:lnTo>
                      <a:pt x="396" y="29"/>
                    </a:lnTo>
                    <a:lnTo>
                      <a:pt x="411" y="44"/>
                    </a:lnTo>
                    <a:lnTo>
                      <a:pt x="417" y="42"/>
                    </a:lnTo>
                    <a:lnTo>
                      <a:pt x="422" y="39"/>
                    </a:lnTo>
                    <a:lnTo>
                      <a:pt x="435" y="45"/>
                    </a:lnTo>
                    <a:lnTo>
                      <a:pt x="440" y="44"/>
                    </a:lnTo>
                    <a:lnTo>
                      <a:pt x="434" y="38"/>
                    </a:lnTo>
                    <a:lnTo>
                      <a:pt x="446" y="26"/>
                    </a:lnTo>
                    <a:lnTo>
                      <a:pt x="447" y="12"/>
                    </a:lnTo>
                    <a:lnTo>
                      <a:pt x="464" y="0"/>
                    </a:lnTo>
                    <a:lnTo>
                      <a:pt x="468" y="3"/>
                    </a:lnTo>
                    <a:lnTo>
                      <a:pt x="473" y="12"/>
                    </a:lnTo>
                    <a:lnTo>
                      <a:pt x="479" y="12"/>
                    </a:lnTo>
                    <a:lnTo>
                      <a:pt x="483" y="12"/>
                    </a:lnTo>
                    <a:lnTo>
                      <a:pt x="488" y="9"/>
                    </a:lnTo>
                    <a:lnTo>
                      <a:pt x="491" y="11"/>
                    </a:lnTo>
                    <a:lnTo>
                      <a:pt x="492" y="32"/>
                    </a:lnTo>
                    <a:lnTo>
                      <a:pt x="500" y="45"/>
                    </a:lnTo>
                    <a:lnTo>
                      <a:pt x="509" y="53"/>
                    </a:lnTo>
                    <a:lnTo>
                      <a:pt x="518" y="54"/>
                    </a:lnTo>
                    <a:lnTo>
                      <a:pt x="533" y="48"/>
                    </a:lnTo>
                    <a:lnTo>
                      <a:pt x="536" y="54"/>
                    </a:lnTo>
                    <a:lnTo>
                      <a:pt x="543" y="59"/>
                    </a:lnTo>
                    <a:lnTo>
                      <a:pt x="567" y="62"/>
                    </a:lnTo>
                    <a:lnTo>
                      <a:pt x="575" y="62"/>
                    </a:lnTo>
                    <a:lnTo>
                      <a:pt x="575" y="75"/>
                    </a:lnTo>
                    <a:lnTo>
                      <a:pt x="570" y="93"/>
                    </a:lnTo>
                    <a:lnTo>
                      <a:pt x="573" y="101"/>
                    </a:lnTo>
                    <a:lnTo>
                      <a:pt x="582" y="104"/>
                    </a:lnTo>
                    <a:lnTo>
                      <a:pt x="594" y="86"/>
                    </a:lnTo>
                    <a:lnTo>
                      <a:pt x="617" y="84"/>
                    </a:lnTo>
                    <a:lnTo>
                      <a:pt x="623" y="89"/>
                    </a:lnTo>
                    <a:lnTo>
                      <a:pt x="620" y="105"/>
                    </a:lnTo>
                    <a:lnTo>
                      <a:pt x="620" y="120"/>
                    </a:lnTo>
                    <a:lnTo>
                      <a:pt x="632" y="125"/>
                    </a:lnTo>
                    <a:lnTo>
                      <a:pt x="642" y="131"/>
                    </a:lnTo>
                    <a:lnTo>
                      <a:pt x="656" y="129"/>
                    </a:lnTo>
                    <a:lnTo>
                      <a:pt x="660" y="134"/>
                    </a:lnTo>
                    <a:lnTo>
                      <a:pt x="668" y="141"/>
                    </a:lnTo>
                    <a:lnTo>
                      <a:pt x="681" y="137"/>
                    </a:lnTo>
                    <a:lnTo>
                      <a:pt x="689" y="140"/>
                    </a:lnTo>
                    <a:lnTo>
                      <a:pt x="692" y="147"/>
                    </a:lnTo>
                    <a:lnTo>
                      <a:pt x="696" y="158"/>
                    </a:lnTo>
                    <a:lnTo>
                      <a:pt x="702" y="165"/>
                    </a:lnTo>
                    <a:lnTo>
                      <a:pt x="719" y="161"/>
                    </a:lnTo>
                    <a:lnTo>
                      <a:pt x="735" y="155"/>
                    </a:lnTo>
                    <a:lnTo>
                      <a:pt x="738" y="158"/>
                    </a:lnTo>
                    <a:lnTo>
                      <a:pt x="738" y="168"/>
                    </a:lnTo>
                    <a:lnTo>
                      <a:pt x="735" y="180"/>
                    </a:lnTo>
                    <a:lnTo>
                      <a:pt x="737" y="185"/>
                    </a:lnTo>
                    <a:lnTo>
                      <a:pt x="747" y="185"/>
                    </a:lnTo>
                    <a:lnTo>
                      <a:pt x="750" y="188"/>
                    </a:lnTo>
                    <a:lnTo>
                      <a:pt x="749" y="198"/>
                    </a:lnTo>
                    <a:lnTo>
                      <a:pt x="764" y="207"/>
                    </a:lnTo>
                    <a:lnTo>
                      <a:pt x="768" y="213"/>
                    </a:lnTo>
                    <a:lnTo>
                      <a:pt x="765" y="233"/>
                    </a:lnTo>
                    <a:lnTo>
                      <a:pt x="771" y="237"/>
                    </a:lnTo>
                    <a:lnTo>
                      <a:pt x="782" y="237"/>
                    </a:lnTo>
                    <a:lnTo>
                      <a:pt x="789" y="242"/>
                    </a:lnTo>
                    <a:lnTo>
                      <a:pt x="794" y="245"/>
                    </a:lnTo>
                    <a:lnTo>
                      <a:pt x="818" y="243"/>
                    </a:lnTo>
                    <a:lnTo>
                      <a:pt x="834" y="251"/>
                    </a:lnTo>
                    <a:lnTo>
                      <a:pt x="839" y="255"/>
                    </a:lnTo>
                    <a:lnTo>
                      <a:pt x="833" y="263"/>
                    </a:lnTo>
                    <a:lnTo>
                      <a:pt x="827" y="267"/>
                    </a:lnTo>
                    <a:lnTo>
                      <a:pt x="830" y="279"/>
                    </a:lnTo>
                    <a:lnTo>
                      <a:pt x="833" y="279"/>
                    </a:lnTo>
                    <a:lnTo>
                      <a:pt x="833" y="284"/>
                    </a:lnTo>
                    <a:lnTo>
                      <a:pt x="840" y="291"/>
                    </a:lnTo>
                    <a:lnTo>
                      <a:pt x="849" y="287"/>
                    </a:lnTo>
                    <a:lnTo>
                      <a:pt x="857" y="287"/>
                    </a:lnTo>
                    <a:lnTo>
                      <a:pt x="866" y="285"/>
                    </a:lnTo>
                    <a:lnTo>
                      <a:pt x="867" y="278"/>
                    </a:lnTo>
                    <a:lnTo>
                      <a:pt x="867" y="270"/>
                    </a:lnTo>
                    <a:lnTo>
                      <a:pt x="873" y="264"/>
                    </a:lnTo>
                    <a:lnTo>
                      <a:pt x="878" y="267"/>
                    </a:lnTo>
                    <a:lnTo>
                      <a:pt x="884" y="266"/>
                    </a:lnTo>
                    <a:lnTo>
                      <a:pt x="894" y="264"/>
                    </a:lnTo>
                    <a:lnTo>
                      <a:pt x="911" y="272"/>
                    </a:lnTo>
                    <a:lnTo>
                      <a:pt x="914" y="270"/>
                    </a:lnTo>
                    <a:lnTo>
                      <a:pt x="929" y="261"/>
                    </a:lnTo>
                    <a:lnTo>
                      <a:pt x="941" y="251"/>
                    </a:lnTo>
                    <a:lnTo>
                      <a:pt x="954" y="243"/>
                    </a:lnTo>
                    <a:lnTo>
                      <a:pt x="989" y="239"/>
                    </a:lnTo>
                    <a:lnTo>
                      <a:pt x="995" y="233"/>
                    </a:lnTo>
                    <a:lnTo>
                      <a:pt x="1002" y="230"/>
                    </a:lnTo>
                    <a:lnTo>
                      <a:pt x="1007" y="230"/>
                    </a:lnTo>
                    <a:lnTo>
                      <a:pt x="1008" y="210"/>
                    </a:lnTo>
                    <a:lnTo>
                      <a:pt x="1017" y="207"/>
                    </a:lnTo>
                    <a:lnTo>
                      <a:pt x="1026" y="209"/>
                    </a:lnTo>
                    <a:lnTo>
                      <a:pt x="1035" y="209"/>
                    </a:lnTo>
                    <a:lnTo>
                      <a:pt x="1059" y="213"/>
                    </a:lnTo>
                    <a:lnTo>
                      <a:pt x="1068" y="218"/>
                    </a:lnTo>
                    <a:lnTo>
                      <a:pt x="1079" y="219"/>
                    </a:lnTo>
                    <a:lnTo>
                      <a:pt x="1086" y="219"/>
                    </a:lnTo>
                    <a:lnTo>
                      <a:pt x="1094" y="209"/>
                    </a:lnTo>
                    <a:lnTo>
                      <a:pt x="1106" y="206"/>
                    </a:lnTo>
                    <a:lnTo>
                      <a:pt x="1112" y="197"/>
                    </a:lnTo>
                    <a:lnTo>
                      <a:pt x="1124" y="194"/>
                    </a:lnTo>
                    <a:lnTo>
                      <a:pt x="1134" y="197"/>
                    </a:lnTo>
                    <a:lnTo>
                      <a:pt x="1139" y="203"/>
                    </a:lnTo>
                    <a:lnTo>
                      <a:pt x="1145" y="210"/>
                    </a:lnTo>
                    <a:lnTo>
                      <a:pt x="1149" y="215"/>
                    </a:lnTo>
                    <a:lnTo>
                      <a:pt x="1151" y="221"/>
                    </a:lnTo>
                    <a:lnTo>
                      <a:pt x="1161" y="221"/>
                    </a:lnTo>
                    <a:lnTo>
                      <a:pt x="1166" y="225"/>
                    </a:lnTo>
                    <a:lnTo>
                      <a:pt x="1169" y="234"/>
                    </a:lnTo>
                    <a:lnTo>
                      <a:pt x="1170" y="239"/>
                    </a:lnTo>
                    <a:lnTo>
                      <a:pt x="1179" y="237"/>
                    </a:lnTo>
                    <a:lnTo>
                      <a:pt x="1178" y="236"/>
                    </a:lnTo>
                    <a:lnTo>
                      <a:pt x="1182" y="225"/>
                    </a:lnTo>
                    <a:lnTo>
                      <a:pt x="1187" y="222"/>
                    </a:lnTo>
                    <a:lnTo>
                      <a:pt x="1191" y="219"/>
                    </a:lnTo>
                    <a:lnTo>
                      <a:pt x="1209" y="219"/>
                    </a:lnTo>
                    <a:lnTo>
                      <a:pt x="1226" y="216"/>
                    </a:lnTo>
                    <a:lnTo>
                      <a:pt x="1232" y="212"/>
                    </a:lnTo>
                    <a:lnTo>
                      <a:pt x="1239" y="213"/>
                    </a:lnTo>
                    <a:lnTo>
                      <a:pt x="1245" y="213"/>
                    </a:lnTo>
                    <a:lnTo>
                      <a:pt x="1248" y="209"/>
                    </a:lnTo>
                    <a:lnTo>
                      <a:pt x="1248" y="198"/>
                    </a:lnTo>
                    <a:lnTo>
                      <a:pt x="1254" y="195"/>
                    </a:lnTo>
                    <a:lnTo>
                      <a:pt x="1262" y="197"/>
                    </a:lnTo>
                    <a:lnTo>
                      <a:pt x="1271" y="191"/>
                    </a:lnTo>
                    <a:lnTo>
                      <a:pt x="1289" y="201"/>
                    </a:lnTo>
                    <a:lnTo>
                      <a:pt x="1298" y="231"/>
                    </a:lnTo>
                    <a:lnTo>
                      <a:pt x="1289" y="234"/>
                    </a:lnTo>
                    <a:lnTo>
                      <a:pt x="1292" y="240"/>
                    </a:lnTo>
                    <a:lnTo>
                      <a:pt x="1299" y="248"/>
                    </a:lnTo>
                    <a:lnTo>
                      <a:pt x="1301" y="258"/>
                    </a:lnTo>
                    <a:lnTo>
                      <a:pt x="1308" y="249"/>
                    </a:lnTo>
                    <a:lnTo>
                      <a:pt x="1322" y="248"/>
                    </a:lnTo>
                    <a:lnTo>
                      <a:pt x="1334" y="249"/>
                    </a:lnTo>
                    <a:lnTo>
                      <a:pt x="1335" y="258"/>
                    </a:lnTo>
                    <a:lnTo>
                      <a:pt x="1338" y="270"/>
                    </a:lnTo>
                    <a:lnTo>
                      <a:pt x="1338" y="284"/>
                    </a:lnTo>
                    <a:lnTo>
                      <a:pt x="1347" y="300"/>
                    </a:lnTo>
                    <a:lnTo>
                      <a:pt x="1358" y="312"/>
                    </a:lnTo>
                    <a:lnTo>
                      <a:pt x="1365" y="311"/>
                    </a:lnTo>
                    <a:lnTo>
                      <a:pt x="1376" y="318"/>
                    </a:lnTo>
                    <a:lnTo>
                      <a:pt x="1388" y="308"/>
                    </a:lnTo>
                    <a:lnTo>
                      <a:pt x="1394" y="305"/>
                    </a:lnTo>
                    <a:lnTo>
                      <a:pt x="1400" y="302"/>
                    </a:lnTo>
                    <a:lnTo>
                      <a:pt x="1409" y="308"/>
                    </a:lnTo>
                    <a:lnTo>
                      <a:pt x="1409" y="318"/>
                    </a:lnTo>
                    <a:lnTo>
                      <a:pt x="1407" y="329"/>
                    </a:lnTo>
                    <a:lnTo>
                      <a:pt x="1413" y="338"/>
                    </a:lnTo>
                    <a:lnTo>
                      <a:pt x="1425" y="341"/>
                    </a:lnTo>
                    <a:lnTo>
                      <a:pt x="1430" y="341"/>
                    </a:lnTo>
                    <a:lnTo>
                      <a:pt x="1433" y="341"/>
                    </a:lnTo>
                    <a:lnTo>
                      <a:pt x="1436" y="338"/>
                    </a:lnTo>
                    <a:lnTo>
                      <a:pt x="1440" y="341"/>
                    </a:lnTo>
                    <a:lnTo>
                      <a:pt x="1454" y="345"/>
                    </a:lnTo>
                    <a:lnTo>
                      <a:pt x="1454" y="350"/>
                    </a:lnTo>
                    <a:lnTo>
                      <a:pt x="1448" y="347"/>
                    </a:lnTo>
                    <a:lnTo>
                      <a:pt x="1452" y="353"/>
                    </a:lnTo>
                    <a:lnTo>
                      <a:pt x="1455" y="363"/>
                    </a:lnTo>
                    <a:lnTo>
                      <a:pt x="1455" y="375"/>
                    </a:lnTo>
                    <a:lnTo>
                      <a:pt x="1449" y="380"/>
                    </a:lnTo>
                    <a:lnTo>
                      <a:pt x="1419" y="384"/>
                    </a:lnTo>
                    <a:lnTo>
                      <a:pt x="1412" y="380"/>
                    </a:lnTo>
                    <a:lnTo>
                      <a:pt x="1403" y="378"/>
                    </a:lnTo>
                    <a:lnTo>
                      <a:pt x="1392" y="380"/>
                    </a:lnTo>
                    <a:lnTo>
                      <a:pt x="1367" y="393"/>
                    </a:lnTo>
                    <a:lnTo>
                      <a:pt x="1362" y="386"/>
                    </a:lnTo>
                    <a:lnTo>
                      <a:pt x="1359" y="384"/>
                    </a:lnTo>
                    <a:lnTo>
                      <a:pt x="1352" y="398"/>
                    </a:lnTo>
                    <a:lnTo>
                      <a:pt x="1353" y="411"/>
                    </a:lnTo>
                    <a:lnTo>
                      <a:pt x="1352" y="417"/>
                    </a:lnTo>
                    <a:lnTo>
                      <a:pt x="1359" y="420"/>
                    </a:lnTo>
                    <a:lnTo>
                      <a:pt x="1373" y="425"/>
                    </a:lnTo>
                    <a:lnTo>
                      <a:pt x="1382" y="432"/>
                    </a:lnTo>
                    <a:lnTo>
                      <a:pt x="1395" y="440"/>
                    </a:lnTo>
                    <a:lnTo>
                      <a:pt x="1400" y="444"/>
                    </a:lnTo>
                    <a:lnTo>
                      <a:pt x="1395" y="453"/>
                    </a:lnTo>
                    <a:lnTo>
                      <a:pt x="1389" y="464"/>
                    </a:lnTo>
                    <a:lnTo>
                      <a:pt x="1382" y="465"/>
                    </a:lnTo>
                    <a:lnTo>
                      <a:pt x="1383" y="470"/>
                    </a:lnTo>
                    <a:lnTo>
                      <a:pt x="1377" y="482"/>
                    </a:lnTo>
                    <a:lnTo>
                      <a:pt x="1380" y="488"/>
                    </a:lnTo>
                    <a:lnTo>
                      <a:pt x="1388" y="488"/>
                    </a:lnTo>
                    <a:lnTo>
                      <a:pt x="1400" y="492"/>
                    </a:lnTo>
                    <a:lnTo>
                      <a:pt x="1400" y="500"/>
                    </a:lnTo>
                    <a:lnTo>
                      <a:pt x="1403" y="506"/>
                    </a:lnTo>
                    <a:lnTo>
                      <a:pt x="1401" y="515"/>
                    </a:lnTo>
                    <a:lnTo>
                      <a:pt x="1415" y="524"/>
                    </a:lnTo>
                    <a:lnTo>
                      <a:pt x="1413" y="528"/>
                    </a:lnTo>
                    <a:lnTo>
                      <a:pt x="1406" y="542"/>
                    </a:lnTo>
                    <a:lnTo>
                      <a:pt x="1407" y="549"/>
                    </a:lnTo>
                    <a:lnTo>
                      <a:pt x="1422" y="558"/>
                    </a:lnTo>
                    <a:lnTo>
                      <a:pt x="1422" y="564"/>
                    </a:lnTo>
                    <a:lnTo>
                      <a:pt x="1428" y="572"/>
                    </a:lnTo>
                    <a:lnTo>
                      <a:pt x="1418" y="579"/>
                    </a:lnTo>
                    <a:lnTo>
                      <a:pt x="1439" y="597"/>
                    </a:lnTo>
                    <a:lnTo>
                      <a:pt x="1436" y="608"/>
                    </a:lnTo>
                    <a:lnTo>
                      <a:pt x="1418" y="624"/>
                    </a:lnTo>
                    <a:lnTo>
                      <a:pt x="1404" y="629"/>
                    </a:lnTo>
                    <a:lnTo>
                      <a:pt x="1406" y="632"/>
                    </a:lnTo>
                    <a:lnTo>
                      <a:pt x="1413" y="633"/>
                    </a:lnTo>
                    <a:lnTo>
                      <a:pt x="1415" y="642"/>
                    </a:lnTo>
                    <a:lnTo>
                      <a:pt x="1416" y="647"/>
                    </a:lnTo>
                    <a:lnTo>
                      <a:pt x="1412" y="653"/>
                    </a:lnTo>
                    <a:lnTo>
                      <a:pt x="1413" y="662"/>
                    </a:lnTo>
                    <a:lnTo>
                      <a:pt x="1407" y="665"/>
                    </a:lnTo>
                    <a:lnTo>
                      <a:pt x="1392" y="666"/>
                    </a:lnTo>
                    <a:lnTo>
                      <a:pt x="1380" y="672"/>
                    </a:lnTo>
                    <a:lnTo>
                      <a:pt x="1383" y="680"/>
                    </a:lnTo>
                    <a:lnTo>
                      <a:pt x="1374" y="690"/>
                    </a:lnTo>
                    <a:lnTo>
                      <a:pt x="1379" y="698"/>
                    </a:lnTo>
                    <a:lnTo>
                      <a:pt x="1376" y="719"/>
                    </a:lnTo>
                    <a:lnTo>
                      <a:pt x="1376" y="728"/>
                    </a:lnTo>
                    <a:lnTo>
                      <a:pt x="1374" y="732"/>
                    </a:lnTo>
                    <a:lnTo>
                      <a:pt x="1380" y="738"/>
                    </a:lnTo>
                    <a:lnTo>
                      <a:pt x="1397" y="743"/>
                    </a:lnTo>
                    <a:lnTo>
                      <a:pt x="1403" y="747"/>
                    </a:lnTo>
                    <a:lnTo>
                      <a:pt x="1415" y="756"/>
                    </a:lnTo>
                    <a:lnTo>
                      <a:pt x="1425" y="756"/>
                    </a:lnTo>
                    <a:lnTo>
                      <a:pt x="1422" y="762"/>
                    </a:lnTo>
                    <a:lnTo>
                      <a:pt x="1425" y="771"/>
                    </a:lnTo>
                    <a:lnTo>
                      <a:pt x="1424" y="779"/>
                    </a:lnTo>
                    <a:lnTo>
                      <a:pt x="1418" y="794"/>
                    </a:lnTo>
                    <a:lnTo>
                      <a:pt x="1406" y="795"/>
                    </a:lnTo>
                    <a:lnTo>
                      <a:pt x="1397" y="792"/>
                    </a:lnTo>
                    <a:lnTo>
                      <a:pt x="1389" y="800"/>
                    </a:lnTo>
                    <a:lnTo>
                      <a:pt x="1388" y="804"/>
                    </a:lnTo>
                    <a:lnTo>
                      <a:pt x="1350" y="804"/>
                    </a:lnTo>
                    <a:lnTo>
                      <a:pt x="1347" y="807"/>
                    </a:lnTo>
                    <a:lnTo>
                      <a:pt x="1335" y="821"/>
                    </a:lnTo>
                    <a:lnTo>
                      <a:pt x="1433" y="345"/>
                    </a:lnTo>
                    <a:lnTo>
                      <a:pt x="1440" y="347"/>
                    </a:lnTo>
                    <a:lnTo>
                      <a:pt x="1439" y="354"/>
                    </a:lnTo>
                    <a:lnTo>
                      <a:pt x="1443" y="357"/>
                    </a:lnTo>
                    <a:lnTo>
                      <a:pt x="1445" y="356"/>
                    </a:lnTo>
                    <a:lnTo>
                      <a:pt x="1445" y="353"/>
                    </a:lnTo>
                    <a:lnTo>
                      <a:pt x="1443" y="351"/>
                    </a:lnTo>
                    <a:lnTo>
                      <a:pt x="1445" y="347"/>
                    </a:lnTo>
                    <a:lnTo>
                      <a:pt x="1445" y="344"/>
                    </a:lnTo>
                    <a:lnTo>
                      <a:pt x="1433" y="345"/>
                    </a:lnTo>
                    <a:lnTo>
                      <a:pt x="1335" y="821"/>
                    </a:lnTo>
                    <a:close/>
                  </a:path>
                </a:pathLst>
              </a:custGeom>
              <a:solidFill>
                <a:schemeClr val="bg1"/>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63" name="Freeform 360">
                <a:extLst>
                  <a:ext uri="{FF2B5EF4-FFF2-40B4-BE49-F238E27FC236}">
                    <a16:creationId xmlns:a16="http://schemas.microsoft.com/office/drawing/2014/main" id="{9EA7BD82-E296-9D26-C145-7C9A5D09F3C9}"/>
                  </a:ext>
                </a:extLst>
              </p:cNvPr>
              <p:cNvSpPr>
                <a:spLocks/>
              </p:cNvSpPr>
              <p:nvPr/>
            </p:nvSpPr>
            <p:spPr bwMode="auto">
              <a:xfrm>
                <a:off x="4406" y="1107"/>
                <a:ext cx="750" cy="638"/>
              </a:xfrm>
              <a:custGeom>
                <a:avLst/>
                <a:gdLst>
                  <a:gd name="T0" fmla="*/ 0 w 2250"/>
                  <a:gd name="T1" fmla="*/ 0 h 1914"/>
                  <a:gd name="T2" fmla="*/ 0 w 2250"/>
                  <a:gd name="T3" fmla="*/ 0 h 1914"/>
                  <a:gd name="T4" fmla="*/ 0 w 2250"/>
                  <a:gd name="T5" fmla="*/ 0 h 1914"/>
                  <a:gd name="T6" fmla="*/ 0 w 2250"/>
                  <a:gd name="T7" fmla="*/ 0 h 1914"/>
                  <a:gd name="T8" fmla="*/ 0 w 2250"/>
                  <a:gd name="T9" fmla="*/ 0 h 1914"/>
                  <a:gd name="T10" fmla="*/ 0 w 2250"/>
                  <a:gd name="T11" fmla="*/ 0 h 1914"/>
                  <a:gd name="T12" fmla="*/ 0 w 2250"/>
                  <a:gd name="T13" fmla="*/ 0 h 1914"/>
                  <a:gd name="T14" fmla="*/ 0 w 2250"/>
                  <a:gd name="T15" fmla="*/ 0 h 1914"/>
                  <a:gd name="T16" fmla="*/ 0 w 2250"/>
                  <a:gd name="T17" fmla="*/ 0 h 1914"/>
                  <a:gd name="T18" fmla="*/ 0 w 2250"/>
                  <a:gd name="T19" fmla="*/ 0 h 1914"/>
                  <a:gd name="T20" fmla="*/ 0 w 2250"/>
                  <a:gd name="T21" fmla="*/ 0 h 1914"/>
                  <a:gd name="T22" fmla="*/ 0 w 2250"/>
                  <a:gd name="T23" fmla="*/ 0 h 1914"/>
                  <a:gd name="T24" fmla="*/ 0 w 2250"/>
                  <a:gd name="T25" fmla="*/ 0 h 1914"/>
                  <a:gd name="T26" fmla="*/ 0 w 2250"/>
                  <a:gd name="T27" fmla="*/ 0 h 1914"/>
                  <a:gd name="T28" fmla="*/ 0 w 2250"/>
                  <a:gd name="T29" fmla="*/ 0 h 1914"/>
                  <a:gd name="T30" fmla="*/ 0 w 2250"/>
                  <a:gd name="T31" fmla="*/ 0 h 1914"/>
                  <a:gd name="T32" fmla="*/ 0 w 2250"/>
                  <a:gd name="T33" fmla="*/ 0 h 1914"/>
                  <a:gd name="T34" fmla="*/ 0 w 2250"/>
                  <a:gd name="T35" fmla="*/ 0 h 1914"/>
                  <a:gd name="T36" fmla="*/ 0 w 2250"/>
                  <a:gd name="T37" fmla="*/ 0 h 1914"/>
                  <a:gd name="T38" fmla="*/ 0 w 2250"/>
                  <a:gd name="T39" fmla="*/ 0 h 1914"/>
                  <a:gd name="T40" fmla="*/ 0 w 2250"/>
                  <a:gd name="T41" fmla="*/ 0 h 1914"/>
                  <a:gd name="T42" fmla="*/ 0 w 2250"/>
                  <a:gd name="T43" fmla="*/ 0 h 1914"/>
                  <a:gd name="T44" fmla="*/ 0 w 2250"/>
                  <a:gd name="T45" fmla="*/ 0 h 1914"/>
                  <a:gd name="T46" fmla="*/ 0 w 2250"/>
                  <a:gd name="T47" fmla="*/ 0 h 1914"/>
                  <a:gd name="T48" fmla="*/ 0 w 2250"/>
                  <a:gd name="T49" fmla="*/ 0 h 1914"/>
                  <a:gd name="T50" fmla="*/ 0 w 2250"/>
                  <a:gd name="T51" fmla="*/ 0 h 1914"/>
                  <a:gd name="T52" fmla="*/ 0 w 2250"/>
                  <a:gd name="T53" fmla="*/ 0 h 1914"/>
                  <a:gd name="T54" fmla="*/ 0 w 2250"/>
                  <a:gd name="T55" fmla="*/ 0 h 1914"/>
                  <a:gd name="T56" fmla="*/ 0 w 2250"/>
                  <a:gd name="T57" fmla="*/ 0 h 1914"/>
                  <a:gd name="T58" fmla="*/ 0 w 2250"/>
                  <a:gd name="T59" fmla="*/ 0 h 1914"/>
                  <a:gd name="T60" fmla="*/ 0 w 2250"/>
                  <a:gd name="T61" fmla="*/ 0 h 1914"/>
                  <a:gd name="T62" fmla="*/ 0 w 2250"/>
                  <a:gd name="T63" fmla="*/ 0 h 1914"/>
                  <a:gd name="T64" fmla="*/ 0 w 2250"/>
                  <a:gd name="T65" fmla="*/ 0 h 1914"/>
                  <a:gd name="T66" fmla="*/ 0 w 2250"/>
                  <a:gd name="T67" fmla="*/ 0 h 1914"/>
                  <a:gd name="T68" fmla="*/ 0 w 2250"/>
                  <a:gd name="T69" fmla="*/ 0 h 1914"/>
                  <a:gd name="T70" fmla="*/ 0 w 2250"/>
                  <a:gd name="T71" fmla="*/ 0 h 1914"/>
                  <a:gd name="T72" fmla="*/ 0 w 2250"/>
                  <a:gd name="T73" fmla="*/ 0 h 1914"/>
                  <a:gd name="T74" fmla="*/ 0 w 2250"/>
                  <a:gd name="T75" fmla="*/ 0 h 1914"/>
                  <a:gd name="T76" fmla="*/ 0 w 2250"/>
                  <a:gd name="T77" fmla="*/ 0 h 1914"/>
                  <a:gd name="T78" fmla="*/ 0 w 2250"/>
                  <a:gd name="T79" fmla="*/ 0 h 1914"/>
                  <a:gd name="T80" fmla="*/ 0 w 2250"/>
                  <a:gd name="T81" fmla="*/ 0 h 1914"/>
                  <a:gd name="T82" fmla="*/ 0 w 2250"/>
                  <a:gd name="T83" fmla="*/ 0 h 1914"/>
                  <a:gd name="T84" fmla="*/ 0 w 2250"/>
                  <a:gd name="T85" fmla="*/ 0 h 1914"/>
                  <a:gd name="T86" fmla="*/ 0 w 2250"/>
                  <a:gd name="T87" fmla="*/ 0 h 1914"/>
                  <a:gd name="T88" fmla="*/ 0 w 2250"/>
                  <a:gd name="T89" fmla="*/ 0 h 1914"/>
                  <a:gd name="T90" fmla="*/ 0 w 2250"/>
                  <a:gd name="T91" fmla="*/ 0 h 1914"/>
                  <a:gd name="T92" fmla="*/ 0 w 2250"/>
                  <a:gd name="T93" fmla="*/ 0 h 1914"/>
                  <a:gd name="T94" fmla="*/ 0 w 2250"/>
                  <a:gd name="T95" fmla="*/ 0 h 1914"/>
                  <a:gd name="T96" fmla="*/ 0 w 2250"/>
                  <a:gd name="T97" fmla="*/ 0 h 1914"/>
                  <a:gd name="T98" fmla="*/ 0 w 2250"/>
                  <a:gd name="T99" fmla="*/ 0 h 1914"/>
                  <a:gd name="T100" fmla="*/ 0 w 2250"/>
                  <a:gd name="T101" fmla="*/ 0 h 1914"/>
                  <a:gd name="T102" fmla="*/ 0 w 2250"/>
                  <a:gd name="T103" fmla="*/ 0 h 1914"/>
                  <a:gd name="T104" fmla="*/ 0 w 2250"/>
                  <a:gd name="T105" fmla="*/ 0 h 1914"/>
                  <a:gd name="T106" fmla="*/ 0 w 2250"/>
                  <a:gd name="T107" fmla="*/ 0 h 1914"/>
                  <a:gd name="T108" fmla="*/ 0 w 2250"/>
                  <a:gd name="T109" fmla="*/ 0 h 1914"/>
                  <a:gd name="T110" fmla="*/ 0 w 2250"/>
                  <a:gd name="T111" fmla="*/ 0 h 1914"/>
                  <a:gd name="T112" fmla="*/ 0 w 2250"/>
                  <a:gd name="T113" fmla="*/ 0 h 1914"/>
                  <a:gd name="T114" fmla="*/ 0 w 2250"/>
                  <a:gd name="T115" fmla="*/ 0 h 1914"/>
                  <a:gd name="T116" fmla="*/ 0 w 2250"/>
                  <a:gd name="T117" fmla="*/ 0 h 1914"/>
                  <a:gd name="T118" fmla="*/ 0 w 2250"/>
                  <a:gd name="T119" fmla="*/ 0 h 1914"/>
                  <a:gd name="T120" fmla="*/ 0 w 2250"/>
                  <a:gd name="T121" fmla="*/ 0 h 1914"/>
                  <a:gd name="T122" fmla="*/ 0 w 2250"/>
                  <a:gd name="T123" fmla="*/ 0 h 1914"/>
                  <a:gd name="T124" fmla="*/ 0 w 2250"/>
                  <a:gd name="T125" fmla="*/ 0 h 1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50" h="1914">
                    <a:moveTo>
                      <a:pt x="1594" y="1901"/>
                    </a:moveTo>
                    <a:lnTo>
                      <a:pt x="1582" y="1904"/>
                    </a:lnTo>
                    <a:lnTo>
                      <a:pt x="1554" y="1901"/>
                    </a:lnTo>
                    <a:lnTo>
                      <a:pt x="1545" y="1893"/>
                    </a:lnTo>
                    <a:lnTo>
                      <a:pt x="1536" y="1896"/>
                    </a:lnTo>
                    <a:lnTo>
                      <a:pt x="1518" y="1896"/>
                    </a:lnTo>
                    <a:lnTo>
                      <a:pt x="1510" y="1901"/>
                    </a:lnTo>
                    <a:lnTo>
                      <a:pt x="1504" y="1901"/>
                    </a:lnTo>
                    <a:lnTo>
                      <a:pt x="1494" y="1910"/>
                    </a:lnTo>
                    <a:lnTo>
                      <a:pt x="1473" y="1914"/>
                    </a:lnTo>
                    <a:lnTo>
                      <a:pt x="1471" y="1910"/>
                    </a:lnTo>
                    <a:lnTo>
                      <a:pt x="1468" y="1905"/>
                    </a:lnTo>
                    <a:lnTo>
                      <a:pt x="1464" y="1895"/>
                    </a:lnTo>
                    <a:lnTo>
                      <a:pt x="1458" y="1893"/>
                    </a:lnTo>
                    <a:lnTo>
                      <a:pt x="1440" y="1898"/>
                    </a:lnTo>
                    <a:lnTo>
                      <a:pt x="1437" y="1899"/>
                    </a:lnTo>
                    <a:lnTo>
                      <a:pt x="1423" y="1890"/>
                    </a:lnTo>
                    <a:lnTo>
                      <a:pt x="1414" y="1889"/>
                    </a:lnTo>
                    <a:lnTo>
                      <a:pt x="1419" y="1875"/>
                    </a:lnTo>
                    <a:lnTo>
                      <a:pt x="1422" y="1866"/>
                    </a:lnTo>
                    <a:lnTo>
                      <a:pt x="1420" y="1856"/>
                    </a:lnTo>
                    <a:lnTo>
                      <a:pt x="1428" y="1850"/>
                    </a:lnTo>
                    <a:lnTo>
                      <a:pt x="1428" y="1839"/>
                    </a:lnTo>
                    <a:lnTo>
                      <a:pt x="1437" y="1833"/>
                    </a:lnTo>
                    <a:lnTo>
                      <a:pt x="1407" y="1836"/>
                    </a:lnTo>
                    <a:lnTo>
                      <a:pt x="1401" y="1830"/>
                    </a:lnTo>
                    <a:lnTo>
                      <a:pt x="1381" y="1820"/>
                    </a:lnTo>
                    <a:lnTo>
                      <a:pt x="1386" y="1805"/>
                    </a:lnTo>
                    <a:lnTo>
                      <a:pt x="1386" y="1799"/>
                    </a:lnTo>
                    <a:lnTo>
                      <a:pt x="1387" y="1794"/>
                    </a:lnTo>
                    <a:lnTo>
                      <a:pt x="1384" y="1790"/>
                    </a:lnTo>
                    <a:lnTo>
                      <a:pt x="1381" y="1782"/>
                    </a:lnTo>
                    <a:lnTo>
                      <a:pt x="1380" y="1778"/>
                    </a:lnTo>
                    <a:lnTo>
                      <a:pt x="1372" y="1770"/>
                    </a:lnTo>
                    <a:lnTo>
                      <a:pt x="1369" y="1767"/>
                    </a:lnTo>
                    <a:lnTo>
                      <a:pt x="1363" y="1766"/>
                    </a:lnTo>
                    <a:lnTo>
                      <a:pt x="1360" y="1763"/>
                    </a:lnTo>
                    <a:lnTo>
                      <a:pt x="1362" y="1761"/>
                    </a:lnTo>
                    <a:lnTo>
                      <a:pt x="1360" y="1758"/>
                    </a:lnTo>
                    <a:lnTo>
                      <a:pt x="1362" y="1749"/>
                    </a:lnTo>
                    <a:lnTo>
                      <a:pt x="1354" y="1739"/>
                    </a:lnTo>
                    <a:lnTo>
                      <a:pt x="1350" y="1737"/>
                    </a:lnTo>
                    <a:lnTo>
                      <a:pt x="1347" y="1731"/>
                    </a:lnTo>
                    <a:lnTo>
                      <a:pt x="1345" y="1725"/>
                    </a:lnTo>
                    <a:lnTo>
                      <a:pt x="1344" y="1724"/>
                    </a:lnTo>
                    <a:lnTo>
                      <a:pt x="1344" y="1716"/>
                    </a:lnTo>
                    <a:lnTo>
                      <a:pt x="1342" y="1713"/>
                    </a:lnTo>
                    <a:lnTo>
                      <a:pt x="1339" y="1710"/>
                    </a:lnTo>
                    <a:lnTo>
                      <a:pt x="1335" y="1707"/>
                    </a:lnTo>
                    <a:lnTo>
                      <a:pt x="1333" y="1710"/>
                    </a:lnTo>
                    <a:lnTo>
                      <a:pt x="1330" y="1709"/>
                    </a:lnTo>
                    <a:lnTo>
                      <a:pt x="1330" y="1706"/>
                    </a:lnTo>
                    <a:lnTo>
                      <a:pt x="1329" y="1706"/>
                    </a:lnTo>
                    <a:lnTo>
                      <a:pt x="1326" y="1704"/>
                    </a:lnTo>
                    <a:lnTo>
                      <a:pt x="1320" y="1707"/>
                    </a:lnTo>
                    <a:lnTo>
                      <a:pt x="1317" y="1707"/>
                    </a:lnTo>
                    <a:lnTo>
                      <a:pt x="1314" y="1707"/>
                    </a:lnTo>
                    <a:lnTo>
                      <a:pt x="1308" y="1706"/>
                    </a:lnTo>
                    <a:lnTo>
                      <a:pt x="1302" y="1713"/>
                    </a:lnTo>
                    <a:lnTo>
                      <a:pt x="1296" y="1713"/>
                    </a:lnTo>
                    <a:lnTo>
                      <a:pt x="1294" y="1721"/>
                    </a:lnTo>
                    <a:lnTo>
                      <a:pt x="1291" y="1719"/>
                    </a:lnTo>
                    <a:lnTo>
                      <a:pt x="1288" y="1716"/>
                    </a:lnTo>
                    <a:lnTo>
                      <a:pt x="1291" y="1713"/>
                    </a:lnTo>
                    <a:lnTo>
                      <a:pt x="1285" y="1707"/>
                    </a:lnTo>
                    <a:lnTo>
                      <a:pt x="1282" y="1707"/>
                    </a:lnTo>
                    <a:lnTo>
                      <a:pt x="1281" y="1706"/>
                    </a:lnTo>
                    <a:lnTo>
                      <a:pt x="1284" y="1701"/>
                    </a:lnTo>
                    <a:lnTo>
                      <a:pt x="1281" y="1700"/>
                    </a:lnTo>
                    <a:lnTo>
                      <a:pt x="1282" y="1695"/>
                    </a:lnTo>
                    <a:lnTo>
                      <a:pt x="1281" y="1694"/>
                    </a:lnTo>
                    <a:lnTo>
                      <a:pt x="1282" y="1689"/>
                    </a:lnTo>
                    <a:lnTo>
                      <a:pt x="1279" y="1686"/>
                    </a:lnTo>
                    <a:lnTo>
                      <a:pt x="1281" y="1682"/>
                    </a:lnTo>
                    <a:lnTo>
                      <a:pt x="1279" y="1673"/>
                    </a:lnTo>
                    <a:lnTo>
                      <a:pt x="1282" y="1671"/>
                    </a:lnTo>
                    <a:lnTo>
                      <a:pt x="1287" y="1676"/>
                    </a:lnTo>
                    <a:lnTo>
                      <a:pt x="1288" y="1673"/>
                    </a:lnTo>
                    <a:lnTo>
                      <a:pt x="1287" y="1670"/>
                    </a:lnTo>
                    <a:lnTo>
                      <a:pt x="1287" y="1664"/>
                    </a:lnTo>
                    <a:lnTo>
                      <a:pt x="1285" y="1661"/>
                    </a:lnTo>
                    <a:lnTo>
                      <a:pt x="1290" y="1656"/>
                    </a:lnTo>
                    <a:lnTo>
                      <a:pt x="1288" y="1653"/>
                    </a:lnTo>
                    <a:lnTo>
                      <a:pt x="1290" y="1649"/>
                    </a:lnTo>
                    <a:lnTo>
                      <a:pt x="1294" y="1649"/>
                    </a:lnTo>
                    <a:lnTo>
                      <a:pt x="1305" y="1646"/>
                    </a:lnTo>
                    <a:lnTo>
                      <a:pt x="1303" y="1632"/>
                    </a:lnTo>
                    <a:lnTo>
                      <a:pt x="1311" y="1625"/>
                    </a:lnTo>
                    <a:lnTo>
                      <a:pt x="1309" y="1622"/>
                    </a:lnTo>
                    <a:lnTo>
                      <a:pt x="1303" y="1619"/>
                    </a:lnTo>
                    <a:lnTo>
                      <a:pt x="1305" y="1613"/>
                    </a:lnTo>
                    <a:lnTo>
                      <a:pt x="1308" y="1614"/>
                    </a:lnTo>
                    <a:lnTo>
                      <a:pt x="1309" y="1611"/>
                    </a:lnTo>
                    <a:lnTo>
                      <a:pt x="1311" y="1610"/>
                    </a:lnTo>
                    <a:lnTo>
                      <a:pt x="1311" y="1607"/>
                    </a:lnTo>
                    <a:lnTo>
                      <a:pt x="1308" y="1607"/>
                    </a:lnTo>
                    <a:lnTo>
                      <a:pt x="1305" y="1604"/>
                    </a:lnTo>
                    <a:lnTo>
                      <a:pt x="1303" y="1598"/>
                    </a:lnTo>
                    <a:lnTo>
                      <a:pt x="1303" y="1595"/>
                    </a:lnTo>
                    <a:lnTo>
                      <a:pt x="1300" y="1595"/>
                    </a:lnTo>
                    <a:lnTo>
                      <a:pt x="1300" y="1590"/>
                    </a:lnTo>
                    <a:lnTo>
                      <a:pt x="1294" y="1586"/>
                    </a:lnTo>
                    <a:lnTo>
                      <a:pt x="1294" y="1583"/>
                    </a:lnTo>
                    <a:lnTo>
                      <a:pt x="1302" y="1568"/>
                    </a:lnTo>
                    <a:lnTo>
                      <a:pt x="1302" y="1562"/>
                    </a:lnTo>
                    <a:lnTo>
                      <a:pt x="1299" y="1559"/>
                    </a:lnTo>
                    <a:lnTo>
                      <a:pt x="1294" y="1556"/>
                    </a:lnTo>
                    <a:lnTo>
                      <a:pt x="1290" y="1550"/>
                    </a:lnTo>
                    <a:lnTo>
                      <a:pt x="1285" y="1541"/>
                    </a:lnTo>
                    <a:lnTo>
                      <a:pt x="1282" y="1541"/>
                    </a:lnTo>
                    <a:lnTo>
                      <a:pt x="1272" y="1536"/>
                    </a:lnTo>
                    <a:lnTo>
                      <a:pt x="1261" y="1532"/>
                    </a:lnTo>
                    <a:lnTo>
                      <a:pt x="1257" y="1529"/>
                    </a:lnTo>
                    <a:lnTo>
                      <a:pt x="1251" y="1529"/>
                    </a:lnTo>
                    <a:lnTo>
                      <a:pt x="1243" y="1521"/>
                    </a:lnTo>
                    <a:lnTo>
                      <a:pt x="1236" y="1518"/>
                    </a:lnTo>
                    <a:lnTo>
                      <a:pt x="1233" y="1515"/>
                    </a:lnTo>
                    <a:lnTo>
                      <a:pt x="1228" y="1509"/>
                    </a:lnTo>
                    <a:lnTo>
                      <a:pt x="1222" y="1511"/>
                    </a:lnTo>
                    <a:lnTo>
                      <a:pt x="1212" y="1509"/>
                    </a:lnTo>
                    <a:lnTo>
                      <a:pt x="1206" y="1503"/>
                    </a:lnTo>
                    <a:lnTo>
                      <a:pt x="1201" y="1499"/>
                    </a:lnTo>
                    <a:lnTo>
                      <a:pt x="1195" y="1500"/>
                    </a:lnTo>
                    <a:lnTo>
                      <a:pt x="1189" y="1500"/>
                    </a:lnTo>
                    <a:lnTo>
                      <a:pt x="1180" y="1496"/>
                    </a:lnTo>
                    <a:lnTo>
                      <a:pt x="1170" y="1496"/>
                    </a:lnTo>
                    <a:lnTo>
                      <a:pt x="1165" y="1491"/>
                    </a:lnTo>
                    <a:lnTo>
                      <a:pt x="1162" y="1485"/>
                    </a:lnTo>
                    <a:lnTo>
                      <a:pt x="1162" y="1481"/>
                    </a:lnTo>
                    <a:lnTo>
                      <a:pt x="1158" y="1478"/>
                    </a:lnTo>
                    <a:lnTo>
                      <a:pt x="1152" y="1469"/>
                    </a:lnTo>
                    <a:lnTo>
                      <a:pt x="1153" y="1466"/>
                    </a:lnTo>
                    <a:lnTo>
                      <a:pt x="1149" y="1460"/>
                    </a:lnTo>
                    <a:lnTo>
                      <a:pt x="1147" y="1451"/>
                    </a:lnTo>
                    <a:lnTo>
                      <a:pt x="1149" y="1446"/>
                    </a:lnTo>
                    <a:lnTo>
                      <a:pt x="1144" y="1443"/>
                    </a:lnTo>
                    <a:lnTo>
                      <a:pt x="1141" y="1448"/>
                    </a:lnTo>
                    <a:lnTo>
                      <a:pt x="1140" y="1454"/>
                    </a:lnTo>
                    <a:lnTo>
                      <a:pt x="1134" y="1455"/>
                    </a:lnTo>
                    <a:lnTo>
                      <a:pt x="1131" y="1451"/>
                    </a:lnTo>
                    <a:lnTo>
                      <a:pt x="1125" y="1452"/>
                    </a:lnTo>
                    <a:lnTo>
                      <a:pt x="1117" y="1445"/>
                    </a:lnTo>
                    <a:lnTo>
                      <a:pt x="1114" y="1439"/>
                    </a:lnTo>
                    <a:lnTo>
                      <a:pt x="1108" y="1439"/>
                    </a:lnTo>
                    <a:lnTo>
                      <a:pt x="1107" y="1436"/>
                    </a:lnTo>
                    <a:lnTo>
                      <a:pt x="1110" y="1422"/>
                    </a:lnTo>
                    <a:lnTo>
                      <a:pt x="1105" y="1416"/>
                    </a:lnTo>
                    <a:lnTo>
                      <a:pt x="1093" y="1415"/>
                    </a:lnTo>
                    <a:lnTo>
                      <a:pt x="1083" y="1406"/>
                    </a:lnTo>
                    <a:lnTo>
                      <a:pt x="1075" y="1407"/>
                    </a:lnTo>
                    <a:lnTo>
                      <a:pt x="1072" y="1406"/>
                    </a:lnTo>
                    <a:lnTo>
                      <a:pt x="1065" y="1400"/>
                    </a:lnTo>
                    <a:lnTo>
                      <a:pt x="1059" y="1401"/>
                    </a:lnTo>
                    <a:lnTo>
                      <a:pt x="1053" y="1394"/>
                    </a:lnTo>
                    <a:lnTo>
                      <a:pt x="1044" y="1394"/>
                    </a:lnTo>
                    <a:lnTo>
                      <a:pt x="1042" y="1383"/>
                    </a:lnTo>
                    <a:lnTo>
                      <a:pt x="1029" y="1374"/>
                    </a:lnTo>
                    <a:lnTo>
                      <a:pt x="1024" y="1368"/>
                    </a:lnTo>
                    <a:lnTo>
                      <a:pt x="1017" y="1368"/>
                    </a:lnTo>
                    <a:lnTo>
                      <a:pt x="1014" y="1365"/>
                    </a:lnTo>
                    <a:lnTo>
                      <a:pt x="1011" y="1365"/>
                    </a:lnTo>
                    <a:lnTo>
                      <a:pt x="1005" y="1359"/>
                    </a:lnTo>
                    <a:lnTo>
                      <a:pt x="994" y="1355"/>
                    </a:lnTo>
                    <a:lnTo>
                      <a:pt x="988" y="1344"/>
                    </a:lnTo>
                    <a:lnTo>
                      <a:pt x="991" y="1335"/>
                    </a:lnTo>
                    <a:lnTo>
                      <a:pt x="987" y="1334"/>
                    </a:lnTo>
                    <a:lnTo>
                      <a:pt x="982" y="1331"/>
                    </a:lnTo>
                    <a:lnTo>
                      <a:pt x="982" y="1323"/>
                    </a:lnTo>
                    <a:lnTo>
                      <a:pt x="975" y="1322"/>
                    </a:lnTo>
                    <a:lnTo>
                      <a:pt x="970" y="1316"/>
                    </a:lnTo>
                    <a:lnTo>
                      <a:pt x="963" y="1305"/>
                    </a:lnTo>
                    <a:lnTo>
                      <a:pt x="955" y="1308"/>
                    </a:lnTo>
                    <a:lnTo>
                      <a:pt x="949" y="1311"/>
                    </a:lnTo>
                    <a:lnTo>
                      <a:pt x="940" y="1314"/>
                    </a:lnTo>
                    <a:lnTo>
                      <a:pt x="930" y="1322"/>
                    </a:lnTo>
                    <a:lnTo>
                      <a:pt x="927" y="1331"/>
                    </a:lnTo>
                    <a:lnTo>
                      <a:pt x="925" y="1335"/>
                    </a:lnTo>
                    <a:lnTo>
                      <a:pt x="921" y="1346"/>
                    </a:lnTo>
                    <a:lnTo>
                      <a:pt x="916" y="1350"/>
                    </a:lnTo>
                    <a:lnTo>
                      <a:pt x="912" y="1356"/>
                    </a:lnTo>
                    <a:lnTo>
                      <a:pt x="891" y="1361"/>
                    </a:lnTo>
                    <a:lnTo>
                      <a:pt x="859" y="1379"/>
                    </a:lnTo>
                    <a:lnTo>
                      <a:pt x="852" y="1361"/>
                    </a:lnTo>
                    <a:lnTo>
                      <a:pt x="847" y="1349"/>
                    </a:lnTo>
                    <a:lnTo>
                      <a:pt x="847" y="1335"/>
                    </a:lnTo>
                    <a:lnTo>
                      <a:pt x="841" y="1334"/>
                    </a:lnTo>
                    <a:lnTo>
                      <a:pt x="835" y="1322"/>
                    </a:lnTo>
                    <a:lnTo>
                      <a:pt x="826" y="1308"/>
                    </a:lnTo>
                    <a:lnTo>
                      <a:pt x="805" y="1313"/>
                    </a:lnTo>
                    <a:lnTo>
                      <a:pt x="807" y="1296"/>
                    </a:lnTo>
                    <a:lnTo>
                      <a:pt x="796" y="1295"/>
                    </a:lnTo>
                    <a:lnTo>
                      <a:pt x="793" y="1290"/>
                    </a:lnTo>
                    <a:lnTo>
                      <a:pt x="784" y="1290"/>
                    </a:lnTo>
                    <a:lnTo>
                      <a:pt x="777" y="1290"/>
                    </a:lnTo>
                    <a:lnTo>
                      <a:pt x="769" y="1289"/>
                    </a:lnTo>
                    <a:lnTo>
                      <a:pt x="766" y="1292"/>
                    </a:lnTo>
                    <a:lnTo>
                      <a:pt x="760" y="1290"/>
                    </a:lnTo>
                    <a:lnTo>
                      <a:pt x="756" y="1296"/>
                    </a:lnTo>
                    <a:lnTo>
                      <a:pt x="751" y="1296"/>
                    </a:lnTo>
                    <a:lnTo>
                      <a:pt x="744" y="1298"/>
                    </a:lnTo>
                    <a:lnTo>
                      <a:pt x="741" y="1302"/>
                    </a:lnTo>
                    <a:lnTo>
                      <a:pt x="732" y="1304"/>
                    </a:lnTo>
                    <a:lnTo>
                      <a:pt x="721" y="1295"/>
                    </a:lnTo>
                    <a:lnTo>
                      <a:pt x="712" y="1295"/>
                    </a:lnTo>
                    <a:lnTo>
                      <a:pt x="702" y="1299"/>
                    </a:lnTo>
                    <a:lnTo>
                      <a:pt x="688" y="1308"/>
                    </a:lnTo>
                    <a:lnTo>
                      <a:pt x="681" y="1313"/>
                    </a:lnTo>
                    <a:lnTo>
                      <a:pt x="675" y="1313"/>
                    </a:lnTo>
                    <a:lnTo>
                      <a:pt x="676" y="1323"/>
                    </a:lnTo>
                    <a:lnTo>
                      <a:pt x="667" y="1325"/>
                    </a:lnTo>
                    <a:lnTo>
                      <a:pt x="657" y="1320"/>
                    </a:lnTo>
                    <a:lnTo>
                      <a:pt x="652" y="1325"/>
                    </a:lnTo>
                    <a:lnTo>
                      <a:pt x="642" y="1325"/>
                    </a:lnTo>
                    <a:lnTo>
                      <a:pt x="642" y="1308"/>
                    </a:lnTo>
                    <a:lnTo>
                      <a:pt x="639" y="1310"/>
                    </a:lnTo>
                    <a:lnTo>
                      <a:pt x="636" y="1307"/>
                    </a:lnTo>
                    <a:lnTo>
                      <a:pt x="633" y="1299"/>
                    </a:lnTo>
                    <a:lnTo>
                      <a:pt x="627" y="1298"/>
                    </a:lnTo>
                    <a:lnTo>
                      <a:pt x="616" y="1302"/>
                    </a:lnTo>
                    <a:lnTo>
                      <a:pt x="609" y="1293"/>
                    </a:lnTo>
                    <a:lnTo>
                      <a:pt x="607" y="1286"/>
                    </a:lnTo>
                    <a:lnTo>
                      <a:pt x="600" y="1289"/>
                    </a:lnTo>
                    <a:lnTo>
                      <a:pt x="595" y="1278"/>
                    </a:lnTo>
                    <a:lnTo>
                      <a:pt x="604" y="1271"/>
                    </a:lnTo>
                    <a:lnTo>
                      <a:pt x="603" y="1265"/>
                    </a:lnTo>
                    <a:lnTo>
                      <a:pt x="607" y="1257"/>
                    </a:lnTo>
                    <a:lnTo>
                      <a:pt x="598" y="1253"/>
                    </a:lnTo>
                    <a:lnTo>
                      <a:pt x="600" y="1248"/>
                    </a:lnTo>
                    <a:lnTo>
                      <a:pt x="603" y="1238"/>
                    </a:lnTo>
                    <a:lnTo>
                      <a:pt x="601" y="1235"/>
                    </a:lnTo>
                    <a:lnTo>
                      <a:pt x="594" y="1227"/>
                    </a:lnTo>
                    <a:lnTo>
                      <a:pt x="583" y="1220"/>
                    </a:lnTo>
                    <a:lnTo>
                      <a:pt x="579" y="1221"/>
                    </a:lnTo>
                    <a:lnTo>
                      <a:pt x="571" y="1229"/>
                    </a:lnTo>
                    <a:lnTo>
                      <a:pt x="556" y="1227"/>
                    </a:lnTo>
                    <a:lnTo>
                      <a:pt x="553" y="1227"/>
                    </a:lnTo>
                    <a:lnTo>
                      <a:pt x="549" y="1229"/>
                    </a:lnTo>
                    <a:lnTo>
                      <a:pt x="543" y="1227"/>
                    </a:lnTo>
                    <a:lnTo>
                      <a:pt x="523" y="1235"/>
                    </a:lnTo>
                    <a:lnTo>
                      <a:pt x="513" y="1239"/>
                    </a:lnTo>
                    <a:lnTo>
                      <a:pt x="507" y="1253"/>
                    </a:lnTo>
                    <a:lnTo>
                      <a:pt x="504" y="1260"/>
                    </a:lnTo>
                    <a:lnTo>
                      <a:pt x="498" y="1262"/>
                    </a:lnTo>
                    <a:lnTo>
                      <a:pt x="501" y="1269"/>
                    </a:lnTo>
                    <a:lnTo>
                      <a:pt x="498" y="1278"/>
                    </a:lnTo>
                    <a:lnTo>
                      <a:pt x="493" y="1281"/>
                    </a:lnTo>
                    <a:lnTo>
                      <a:pt x="492" y="1286"/>
                    </a:lnTo>
                    <a:lnTo>
                      <a:pt x="489" y="1295"/>
                    </a:lnTo>
                    <a:lnTo>
                      <a:pt x="484" y="1296"/>
                    </a:lnTo>
                    <a:lnTo>
                      <a:pt x="478" y="1295"/>
                    </a:lnTo>
                    <a:lnTo>
                      <a:pt x="472" y="1298"/>
                    </a:lnTo>
                    <a:lnTo>
                      <a:pt x="466" y="1293"/>
                    </a:lnTo>
                    <a:lnTo>
                      <a:pt x="463" y="1298"/>
                    </a:lnTo>
                    <a:lnTo>
                      <a:pt x="457" y="1302"/>
                    </a:lnTo>
                    <a:lnTo>
                      <a:pt x="451" y="1310"/>
                    </a:lnTo>
                    <a:lnTo>
                      <a:pt x="450" y="1317"/>
                    </a:lnTo>
                    <a:lnTo>
                      <a:pt x="441" y="1319"/>
                    </a:lnTo>
                    <a:lnTo>
                      <a:pt x="436" y="1319"/>
                    </a:lnTo>
                    <a:lnTo>
                      <a:pt x="430" y="1320"/>
                    </a:lnTo>
                    <a:lnTo>
                      <a:pt x="423" y="1319"/>
                    </a:lnTo>
                    <a:lnTo>
                      <a:pt x="424" y="1313"/>
                    </a:lnTo>
                    <a:lnTo>
                      <a:pt x="429" y="1307"/>
                    </a:lnTo>
                    <a:lnTo>
                      <a:pt x="438" y="1295"/>
                    </a:lnTo>
                    <a:lnTo>
                      <a:pt x="445" y="1290"/>
                    </a:lnTo>
                    <a:lnTo>
                      <a:pt x="447" y="1287"/>
                    </a:lnTo>
                    <a:lnTo>
                      <a:pt x="447" y="1281"/>
                    </a:lnTo>
                    <a:lnTo>
                      <a:pt x="441" y="1278"/>
                    </a:lnTo>
                    <a:lnTo>
                      <a:pt x="438" y="1271"/>
                    </a:lnTo>
                    <a:lnTo>
                      <a:pt x="429" y="1272"/>
                    </a:lnTo>
                    <a:lnTo>
                      <a:pt x="421" y="1280"/>
                    </a:lnTo>
                    <a:lnTo>
                      <a:pt x="420" y="1281"/>
                    </a:lnTo>
                    <a:lnTo>
                      <a:pt x="418" y="1302"/>
                    </a:lnTo>
                    <a:lnTo>
                      <a:pt x="408" y="1305"/>
                    </a:lnTo>
                    <a:lnTo>
                      <a:pt x="399" y="1316"/>
                    </a:lnTo>
                    <a:lnTo>
                      <a:pt x="403" y="1323"/>
                    </a:lnTo>
                    <a:lnTo>
                      <a:pt x="396" y="1332"/>
                    </a:lnTo>
                    <a:lnTo>
                      <a:pt x="391" y="1331"/>
                    </a:lnTo>
                    <a:lnTo>
                      <a:pt x="387" y="1332"/>
                    </a:lnTo>
                    <a:lnTo>
                      <a:pt x="385" y="1317"/>
                    </a:lnTo>
                    <a:lnTo>
                      <a:pt x="376" y="1313"/>
                    </a:lnTo>
                    <a:lnTo>
                      <a:pt x="375" y="1301"/>
                    </a:lnTo>
                    <a:lnTo>
                      <a:pt x="372" y="1302"/>
                    </a:lnTo>
                    <a:lnTo>
                      <a:pt x="367" y="1302"/>
                    </a:lnTo>
                    <a:lnTo>
                      <a:pt x="367" y="1299"/>
                    </a:lnTo>
                    <a:lnTo>
                      <a:pt x="363" y="1296"/>
                    </a:lnTo>
                    <a:lnTo>
                      <a:pt x="364" y="1292"/>
                    </a:lnTo>
                    <a:lnTo>
                      <a:pt x="360" y="1284"/>
                    </a:lnTo>
                    <a:lnTo>
                      <a:pt x="364" y="1280"/>
                    </a:lnTo>
                    <a:lnTo>
                      <a:pt x="364" y="1275"/>
                    </a:lnTo>
                    <a:lnTo>
                      <a:pt x="358" y="1275"/>
                    </a:lnTo>
                    <a:lnTo>
                      <a:pt x="355" y="1277"/>
                    </a:lnTo>
                    <a:lnTo>
                      <a:pt x="346" y="1287"/>
                    </a:lnTo>
                    <a:lnTo>
                      <a:pt x="337" y="1289"/>
                    </a:lnTo>
                    <a:lnTo>
                      <a:pt x="331" y="1293"/>
                    </a:lnTo>
                    <a:lnTo>
                      <a:pt x="331" y="1299"/>
                    </a:lnTo>
                    <a:lnTo>
                      <a:pt x="327" y="1302"/>
                    </a:lnTo>
                    <a:lnTo>
                      <a:pt x="324" y="1296"/>
                    </a:lnTo>
                    <a:lnTo>
                      <a:pt x="318" y="1299"/>
                    </a:lnTo>
                    <a:lnTo>
                      <a:pt x="315" y="1292"/>
                    </a:lnTo>
                    <a:lnTo>
                      <a:pt x="310" y="1287"/>
                    </a:lnTo>
                    <a:lnTo>
                      <a:pt x="312" y="1278"/>
                    </a:lnTo>
                    <a:lnTo>
                      <a:pt x="304" y="1271"/>
                    </a:lnTo>
                    <a:lnTo>
                      <a:pt x="306" y="1266"/>
                    </a:lnTo>
                    <a:lnTo>
                      <a:pt x="309" y="1263"/>
                    </a:lnTo>
                    <a:lnTo>
                      <a:pt x="313" y="1262"/>
                    </a:lnTo>
                    <a:lnTo>
                      <a:pt x="318" y="1253"/>
                    </a:lnTo>
                    <a:lnTo>
                      <a:pt x="319" y="1242"/>
                    </a:lnTo>
                    <a:lnTo>
                      <a:pt x="312" y="1238"/>
                    </a:lnTo>
                    <a:lnTo>
                      <a:pt x="310" y="1220"/>
                    </a:lnTo>
                    <a:lnTo>
                      <a:pt x="303" y="1215"/>
                    </a:lnTo>
                    <a:lnTo>
                      <a:pt x="303" y="1203"/>
                    </a:lnTo>
                    <a:lnTo>
                      <a:pt x="301" y="1203"/>
                    </a:lnTo>
                    <a:lnTo>
                      <a:pt x="297" y="1206"/>
                    </a:lnTo>
                    <a:lnTo>
                      <a:pt x="294" y="1199"/>
                    </a:lnTo>
                    <a:lnTo>
                      <a:pt x="286" y="1194"/>
                    </a:lnTo>
                    <a:lnTo>
                      <a:pt x="277" y="1184"/>
                    </a:lnTo>
                    <a:lnTo>
                      <a:pt x="268" y="1185"/>
                    </a:lnTo>
                    <a:lnTo>
                      <a:pt x="262" y="1191"/>
                    </a:lnTo>
                    <a:lnTo>
                      <a:pt x="259" y="1178"/>
                    </a:lnTo>
                    <a:lnTo>
                      <a:pt x="258" y="1173"/>
                    </a:lnTo>
                    <a:lnTo>
                      <a:pt x="252" y="1170"/>
                    </a:lnTo>
                    <a:lnTo>
                      <a:pt x="249" y="1166"/>
                    </a:lnTo>
                    <a:lnTo>
                      <a:pt x="241" y="1164"/>
                    </a:lnTo>
                    <a:lnTo>
                      <a:pt x="241" y="1151"/>
                    </a:lnTo>
                    <a:lnTo>
                      <a:pt x="235" y="1155"/>
                    </a:lnTo>
                    <a:lnTo>
                      <a:pt x="231" y="1152"/>
                    </a:lnTo>
                    <a:lnTo>
                      <a:pt x="225" y="1148"/>
                    </a:lnTo>
                    <a:lnTo>
                      <a:pt x="222" y="1149"/>
                    </a:lnTo>
                    <a:lnTo>
                      <a:pt x="208" y="1142"/>
                    </a:lnTo>
                    <a:lnTo>
                      <a:pt x="207" y="1148"/>
                    </a:lnTo>
                    <a:lnTo>
                      <a:pt x="213" y="1157"/>
                    </a:lnTo>
                    <a:lnTo>
                      <a:pt x="211" y="1163"/>
                    </a:lnTo>
                    <a:lnTo>
                      <a:pt x="204" y="1160"/>
                    </a:lnTo>
                    <a:lnTo>
                      <a:pt x="198" y="1149"/>
                    </a:lnTo>
                    <a:lnTo>
                      <a:pt x="189" y="1146"/>
                    </a:lnTo>
                    <a:lnTo>
                      <a:pt x="192" y="1140"/>
                    </a:lnTo>
                    <a:lnTo>
                      <a:pt x="195" y="1139"/>
                    </a:lnTo>
                    <a:lnTo>
                      <a:pt x="196" y="1136"/>
                    </a:lnTo>
                    <a:lnTo>
                      <a:pt x="195" y="1131"/>
                    </a:lnTo>
                    <a:lnTo>
                      <a:pt x="205" y="1121"/>
                    </a:lnTo>
                    <a:lnTo>
                      <a:pt x="213" y="1119"/>
                    </a:lnTo>
                    <a:lnTo>
                      <a:pt x="217" y="1118"/>
                    </a:lnTo>
                    <a:lnTo>
                      <a:pt x="219" y="1116"/>
                    </a:lnTo>
                    <a:lnTo>
                      <a:pt x="220" y="1112"/>
                    </a:lnTo>
                    <a:lnTo>
                      <a:pt x="217" y="1109"/>
                    </a:lnTo>
                    <a:lnTo>
                      <a:pt x="211" y="1109"/>
                    </a:lnTo>
                    <a:lnTo>
                      <a:pt x="210" y="1104"/>
                    </a:lnTo>
                    <a:lnTo>
                      <a:pt x="214" y="1098"/>
                    </a:lnTo>
                    <a:lnTo>
                      <a:pt x="214" y="1092"/>
                    </a:lnTo>
                    <a:lnTo>
                      <a:pt x="220" y="1089"/>
                    </a:lnTo>
                    <a:lnTo>
                      <a:pt x="225" y="1085"/>
                    </a:lnTo>
                    <a:lnTo>
                      <a:pt x="226" y="1074"/>
                    </a:lnTo>
                    <a:lnTo>
                      <a:pt x="235" y="1073"/>
                    </a:lnTo>
                    <a:lnTo>
                      <a:pt x="229" y="1068"/>
                    </a:lnTo>
                    <a:lnTo>
                      <a:pt x="229" y="1058"/>
                    </a:lnTo>
                    <a:lnTo>
                      <a:pt x="232" y="1049"/>
                    </a:lnTo>
                    <a:lnTo>
                      <a:pt x="229" y="1046"/>
                    </a:lnTo>
                    <a:lnTo>
                      <a:pt x="229" y="1040"/>
                    </a:lnTo>
                    <a:lnTo>
                      <a:pt x="226" y="1038"/>
                    </a:lnTo>
                    <a:lnTo>
                      <a:pt x="234" y="1034"/>
                    </a:lnTo>
                    <a:lnTo>
                      <a:pt x="238" y="1028"/>
                    </a:lnTo>
                    <a:lnTo>
                      <a:pt x="244" y="1023"/>
                    </a:lnTo>
                    <a:lnTo>
                      <a:pt x="252" y="1023"/>
                    </a:lnTo>
                    <a:lnTo>
                      <a:pt x="259" y="1025"/>
                    </a:lnTo>
                    <a:lnTo>
                      <a:pt x="265" y="1028"/>
                    </a:lnTo>
                    <a:lnTo>
                      <a:pt x="267" y="1023"/>
                    </a:lnTo>
                    <a:lnTo>
                      <a:pt x="265" y="1016"/>
                    </a:lnTo>
                    <a:lnTo>
                      <a:pt x="261" y="1011"/>
                    </a:lnTo>
                    <a:lnTo>
                      <a:pt x="258" y="1008"/>
                    </a:lnTo>
                    <a:lnTo>
                      <a:pt x="255" y="992"/>
                    </a:lnTo>
                    <a:lnTo>
                      <a:pt x="246" y="986"/>
                    </a:lnTo>
                    <a:lnTo>
                      <a:pt x="234" y="972"/>
                    </a:lnTo>
                    <a:lnTo>
                      <a:pt x="226" y="972"/>
                    </a:lnTo>
                    <a:lnTo>
                      <a:pt x="225" y="978"/>
                    </a:lnTo>
                    <a:lnTo>
                      <a:pt x="222" y="980"/>
                    </a:lnTo>
                    <a:lnTo>
                      <a:pt x="208" y="969"/>
                    </a:lnTo>
                    <a:lnTo>
                      <a:pt x="202" y="968"/>
                    </a:lnTo>
                    <a:lnTo>
                      <a:pt x="196" y="963"/>
                    </a:lnTo>
                    <a:lnTo>
                      <a:pt x="201" y="953"/>
                    </a:lnTo>
                    <a:lnTo>
                      <a:pt x="207" y="945"/>
                    </a:lnTo>
                    <a:lnTo>
                      <a:pt x="204" y="942"/>
                    </a:lnTo>
                    <a:lnTo>
                      <a:pt x="204" y="932"/>
                    </a:lnTo>
                    <a:lnTo>
                      <a:pt x="195" y="927"/>
                    </a:lnTo>
                    <a:lnTo>
                      <a:pt x="190" y="920"/>
                    </a:lnTo>
                    <a:lnTo>
                      <a:pt x="181" y="917"/>
                    </a:lnTo>
                    <a:lnTo>
                      <a:pt x="171" y="909"/>
                    </a:lnTo>
                    <a:lnTo>
                      <a:pt x="171" y="912"/>
                    </a:lnTo>
                    <a:lnTo>
                      <a:pt x="163" y="914"/>
                    </a:lnTo>
                    <a:lnTo>
                      <a:pt x="160" y="921"/>
                    </a:lnTo>
                    <a:lnTo>
                      <a:pt x="157" y="924"/>
                    </a:lnTo>
                    <a:lnTo>
                      <a:pt x="153" y="924"/>
                    </a:lnTo>
                    <a:lnTo>
                      <a:pt x="147" y="915"/>
                    </a:lnTo>
                    <a:lnTo>
                      <a:pt x="130" y="896"/>
                    </a:lnTo>
                    <a:lnTo>
                      <a:pt x="124" y="893"/>
                    </a:lnTo>
                    <a:lnTo>
                      <a:pt x="120" y="881"/>
                    </a:lnTo>
                    <a:lnTo>
                      <a:pt x="114" y="879"/>
                    </a:lnTo>
                    <a:lnTo>
                      <a:pt x="109" y="872"/>
                    </a:lnTo>
                    <a:lnTo>
                      <a:pt x="103" y="861"/>
                    </a:lnTo>
                    <a:lnTo>
                      <a:pt x="103" y="857"/>
                    </a:lnTo>
                    <a:lnTo>
                      <a:pt x="100" y="851"/>
                    </a:lnTo>
                    <a:lnTo>
                      <a:pt x="106" y="845"/>
                    </a:lnTo>
                    <a:lnTo>
                      <a:pt x="97" y="840"/>
                    </a:lnTo>
                    <a:lnTo>
                      <a:pt x="90" y="842"/>
                    </a:lnTo>
                    <a:lnTo>
                      <a:pt x="81" y="834"/>
                    </a:lnTo>
                    <a:lnTo>
                      <a:pt x="69" y="834"/>
                    </a:lnTo>
                    <a:lnTo>
                      <a:pt x="61" y="840"/>
                    </a:lnTo>
                    <a:lnTo>
                      <a:pt x="54" y="839"/>
                    </a:lnTo>
                    <a:lnTo>
                      <a:pt x="45" y="849"/>
                    </a:lnTo>
                    <a:lnTo>
                      <a:pt x="36" y="861"/>
                    </a:lnTo>
                    <a:lnTo>
                      <a:pt x="27" y="861"/>
                    </a:lnTo>
                    <a:lnTo>
                      <a:pt x="22" y="854"/>
                    </a:lnTo>
                    <a:lnTo>
                      <a:pt x="18" y="852"/>
                    </a:lnTo>
                    <a:lnTo>
                      <a:pt x="18" y="848"/>
                    </a:lnTo>
                    <a:lnTo>
                      <a:pt x="21" y="842"/>
                    </a:lnTo>
                    <a:lnTo>
                      <a:pt x="22" y="837"/>
                    </a:lnTo>
                    <a:lnTo>
                      <a:pt x="18" y="831"/>
                    </a:lnTo>
                    <a:lnTo>
                      <a:pt x="22" y="827"/>
                    </a:lnTo>
                    <a:lnTo>
                      <a:pt x="25" y="821"/>
                    </a:lnTo>
                    <a:lnTo>
                      <a:pt x="31" y="818"/>
                    </a:lnTo>
                    <a:lnTo>
                      <a:pt x="40" y="806"/>
                    </a:lnTo>
                    <a:lnTo>
                      <a:pt x="36" y="804"/>
                    </a:lnTo>
                    <a:lnTo>
                      <a:pt x="18" y="801"/>
                    </a:lnTo>
                    <a:lnTo>
                      <a:pt x="7" y="803"/>
                    </a:lnTo>
                    <a:lnTo>
                      <a:pt x="0" y="795"/>
                    </a:lnTo>
                    <a:lnTo>
                      <a:pt x="4" y="792"/>
                    </a:lnTo>
                    <a:lnTo>
                      <a:pt x="15" y="792"/>
                    </a:lnTo>
                    <a:lnTo>
                      <a:pt x="15" y="791"/>
                    </a:lnTo>
                    <a:lnTo>
                      <a:pt x="18" y="789"/>
                    </a:lnTo>
                    <a:lnTo>
                      <a:pt x="24" y="789"/>
                    </a:lnTo>
                    <a:lnTo>
                      <a:pt x="22" y="783"/>
                    </a:lnTo>
                    <a:lnTo>
                      <a:pt x="28" y="782"/>
                    </a:lnTo>
                    <a:lnTo>
                      <a:pt x="34" y="773"/>
                    </a:lnTo>
                    <a:lnTo>
                      <a:pt x="39" y="771"/>
                    </a:lnTo>
                    <a:lnTo>
                      <a:pt x="42" y="765"/>
                    </a:lnTo>
                    <a:lnTo>
                      <a:pt x="52" y="764"/>
                    </a:lnTo>
                    <a:lnTo>
                      <a:pt x="52" y="761"/>
                    </a:lnTo>
                    <a:lnTo>
                      <a:pt x="58" y="758"/>
                    </a:lnTo>
                    <a:lnTo>
                      <a:pt x="61" y="753"/>
                    </a:lnTo>
                    <a:lnTo>
                      <a:pt x="72" y="756"/>
                    </a:lnTo>
                    <a:lnTo>
                      <a:pt x="84" y="758"/>
                    </a:lnTo>
                    <a:lnTo>
                      <a:pt x="87" y="764"/>
                    </a:lnTo>
                    <a:lnTo>
                      <a:pt x="91" y="767"/>
                    </a:lnTo>
                    <a:lnTo>
                      <a:pt x="96" y="764"/>
                    </a:lnTo>
                    <a:lnTo>
                      <a:pt x="93" y="758"/>
                    </a:lnTo>
                    <a:lnTo>
                      <a:pt x="91" y="752"/>
                    </a:lnTo>
                    <a:lnTo>
                      <a:pt x="94" y="750"/>
                    </a:lnTo>
                    <a:lnTo>
                      <a:pt x="94" y="741"/>
                    </a:lnTo>
                    <a:lnTo>
                      <a:pt x="100" y="737"/>
                    </a:lnTo>
                    <a:lnTo>
                      <a:pt x="109" y="738"/>
                    </a:lnTo>
                    <a:lnTo>
                      <a:pt x="114" y="735"/>
                    </a:lnTo>
                    <a:lnTo>
                      <a:pt x="123" y="734"/>
                    </a:lnTo>
                    <a:lnTo>
                      <a:pt x="130" y="729"/>
                    </a:lnTo>
                    <a:lnTo>
                      <a:pt x="133" y="728"/>
                    </a:lnTo>
                    <a:lnTo>
                      <a:pt x="135" y="735"/>
                    </a:lnTo>
                    <a:lnTo>
                      <a:pt x="141" y="738"/>
                    </a:lnTo>
                    <a:lnTo>
                      <a:pt x="145" y="737"/>
                    </a:lnTo>
                    <a:lnTo>
                      <a:pt x="148" y="729"/>
                    </a:lnTo>
                    <a:lnTo>
                      <a:pt x="162" y="728"/>
                    </a:lnTo>
                    <a:lnTo>
                      <a:pt x="168" y="726"/>
                    </a:lnTo>
                    <a:lnTo>
                      <a:pt x="171" y="728"/>
                    </a:lnTo>
                    <a:lnTo>
                      <a:pt x="174" y="738"/>
                    </a:lnTo>
                    <a:lnTo>
                      <a:pt x="175" y="744"/>
                    </a:lnTo>
                    <a:lnTo>
                      <a:pt x="181" y="744"/>
                    </a:lnTo>
                    <a:lnTo>
                      <a:pt x="178" y="723"/>
                    </a:lnTo>
                    <a:lnTo>
                      <a:pt x="187" y="714"/>
                    </a:lnTo>
                    <a:lnTo>
                      <a:pt x="199" y="714"/>
                    </a:lnTo>
                    <a:lnTo>
                      <a:pt x="202" y="708"/>
                    </a:lnTo>
                    <a:lnTo>
                      <a:pt x="196" y="699"/>
                    </a:lnTo>
                    <a:lnTo>
                      <a:pt x="195" y="695"/>
                    </a:lnTo>
                    <a:lnTo>
                      <a:pt x="207" y="695"/>
                    </a:lnTo>
                    <a:lnTo>
                      <a:pt x="208" y="692"/>
                    </a:lnTo>
                    <a:lnTo>
                      <a:pt x="217" y="695"/>
                    </a:lnTo>
                    <a:lnTo>
                      <a:pt x="225" y="693"/>
                    </a:lnTo>
                    <a:lnTo>
                      <a:pt x="232" y="698"/>
                    </a:lnTo>
                    <a:lnTo>
                      <a:pt x="240" y="699"/>
                    </a:lnTo>
                    <a:lnTo>
                      <a:pt x="240" y="705"/>
                    </a:lnTo>
                    <a:lnTo>
                      <a:pt x="243" y="704"/>
                    </a:lnTo>
                    <a:lnTo>
                      <a:pt x="247" y="701"/>
                    </a:lnTo>
                    <a:lnTo>
                      <a:pt x="252" y="704"/>
                    </a:lnTo>
                    <a:lnTo>
                      <a:pt x="258" y="702"/>
                    </a:lnTo>
                    <a:lnTo>
                      <a:pt x="271" y="701"/>
                    </a:lnTo>
                    <a:lnTo>
                      <a:pt x="276" y="690"/>
                    </a:lnTo>
                    <a:lnTo>
                      <a:pt x="282" y="683"/>
                    </a:lnTo>
                    <a:lnTo>
                      <a:pt x="282" y="675"/>
                    </a:lnTo>
                    <a:lnTo>
                      <a:pt x="289" y="669"/>
                    </a:lnTo>
                    <a:lnTo>
                      <a:pt x="297" y="677"/>
                    </a:lnTo>
                    <a:lnTo>
                      <a:pt x="304" y="683"/>
                    </a:lnTo>
                    <a:lnTo>
                      <a:pt x="313" y="683"/>
                    </a:lnTo>
                    <a:lnTo>
                      <a:pt x="316" y="678"/>
                    </a:lnTo>
                    <a:lnTo>
                      <a:pt x="325" y="678"/>
                    </a:lnTo>
                    <a:lnTo>
                      <a:pt x="328" y="672"/>
                    </a:lnTo>
                    <a:lnTo>
                      <a:pt x="342" y="668"/>
                    </a:lnTo>
                    <a:lnTo>
                      <a:pt x="348" y="662"/>
                    </a:lnTo>
                    <a:lnTo>
                      <a:pt x="351" y="660"/>
                    </a:lnTo>
                    <a:lnTo>
                      <a:pt x="357" y="660"/>
                    </a:lnTo>
                    <a:lnTo>
                      <a:pt x="361" y="663"/>
                    </a:lnTo>
                    <a:lnTo>
                      <a:pt x="369" y="659"/>
                    </a:lnTo>
                    <a:lnTo>
                      <a:pt x="376" y="663"/>
                    </a:lnTo>
                    <a:lnTo>
                      <a:pt x="384" y="668"/>
                    </a:lnTo>
                    <a:lnTo>
                      <a:pt x="391" y="668"/>
                    </a:lnTo>
                    <a:lnTo>
                      <a:pt x="393" y="671"/>
                    </a:lnTo>
                    <a:lnTo>
                      <a:pt x="402" y="668"/>
                    </a:lnTo>
                    <a:lnTo>
                      <a:pt x="406" y="669"/>
                    </a:lnTo>
                    <a:lnTo>
                      <a:pt x="405" y="674"/>
                    </a:lnTo>
                    <a:lnTo>
                      <a:pt x="402" y="678"/>
                    </a:lnTo>
                    <a:lnTo>
                      <a:pt x="403" y="684"/>
                    </a:lnTo>
                    <a:lnTo>
                      <a:pt x="402" y="690"/>
                    </a:lnTo>
                    <a:lnTo>
                      <a:pt x="385" y="695"/>
                    </a:lnTo>
                    <a:lnTo>
                      <a:pt x="384" y="702"/>
                    </a:lnTo>
                    <a:lnTo>
                      <a:pt x="393" y="708"/>
                    </a:lnTo>
                    <a:lnTo>
                      <a:pt x="387" y="716"/>
                    </a:lnTo>
                    <a:lnTo>
                      <a:pt x="396" y="722"/>
                    </a:lnTo>
                    <a:lnTo>
                      <a:pt x="396" y="726"/>
                    </a:lnTo>
                    <a:lnTo>
                      <a:pt x="387" y="731"/>
                    </a:lnTo>
                    <a:lnTo>
                      <a:pt x="387" y="741"/>
                    </a:lnTo>
                    <a:lnTo>
                      <a:pt x="379" y="744"/>
                    </a:lnTo>
                    <a:lnTo>
                      <a:pt x="369" y="761"/>
                    </a:lnTo>
                    <a:lnTo>
                      <a:pt x="363" y="765"/>
                    </a:lnTo>
                    <a:lnTo>
                      <a:pt x="361" y="771"/>
                    </a:lnTo>
                    <a:lnTo>
                      <a:pt x="369" y="773"/>
                    </a:lnTo>
                    <a:lnTo>
                      <a:pt x="376" y="773"/>
                    </a:lnTo>
                    <a:lnTo>
                      <a:pt x="378" y="780"/>
                    </a:lnTo>
                    <a:lnTo>
                      <a:pt x="388" y="774"/>
                    </a:lnTo>
                    <a:lnTo>
                      <a:pt x="396" y="773"/>
                    </a:lnTo>
                    <a:lnTo>
                      <a:pt x="397" y="764"/>
                    </a:lnTo>
                    <a:lnTo>
                      <a:pt x="406" y="747"/>
                    </a:lnTo>
                    <a:lnTo>
                      <a:pt x="399" y="738"/>
                    </a:lnTo>
                    <a:lnTo>
                      <a:pt x="408" y="734"/>
                    </a:lnTo>
                    <a:lnTo>
                      <a:pt x="411" y="738"/>
                    </a:lnTo>
                    <a:lnTo>
                      <a:pt x="420" y="735"/>
                    </a:lnTo>
                    <a:lnTo>
                      <a:pt x="423" y="737"/>
                    </a:lnTo>
                    <a:lnTo>
                      <a:pt x="423" y="743"/>
                    </a:lnTo>
                    <a:lnTo>
                      <a:pt x="420" y="752"/>
                    </a:lnTo>
                    <a:lnTo>
                      <a:pt x="414" y="750"/>
                    </a:lnTo>
                    <a:lnTo>
                      <a:pt x="411" y="753"/>
                    </a:lnTo>
                    <a:lnTo>
                      <a:pt x="412" y="759"/>
                    </a:lnTo>
                    <a:lnTo>
                      <a:pt x="403" y="776"/>
                    </a:lnTo>
                    <a:lnTo>
                      <a:pt x="405" y="782"/>
                    </a:lnTo>
                    <a:lnTo>
                      <a:pt x="409" y="782"/>
                    </a:lnTo>
                    <a:lnTo>
                      <a:pt x="417" y="774"/>
                    </a:lnTo>
                    <a:lnTo>
                      <a:pt x="418" y="786"/>
                    </a:lnTo>
                    <a:lnTo>
                      <a:pt x="423" y="788"/>
                    </a:lnTo>
                    <a:lnTo>
                      <a:pt x="426" y="777"/>
                    </a:lnTo>
                    <a:lnTo>
                      <a:pt x="432" y="779"/>
                    </a:lnTo>
                    <a:lnTo>
                      <a:pt x="441" y="782"/>
                    </a:lnTo>
                    <a:lnTo>
                      <a:pt x="444" y="788"/>
                    </a:lnTo>
                    <a:lnTo>
                      <a:pt x="444" y="797"/>
                    </a:lnTo>
                    <a:lnTo>
                      <a:pt x="436" y="801"/>
                    </a:lnTo>
                    <a:lnTo>
                      <a:pt x="433" y="807"/>
                    </a:lnTo>
                    <a:lnTo>
                      <a:pt x="439" y="810"/>
                    </a:lnTo>
                    <a:lnTo>
                      <a:pt x="438" y="816"/>
                    </a:lnTo>
                    <a:lnTo>
                      <a:pt x="447" y="821"/>
                    </a:lnTo>
                    <a:lnTo>
                      <a:pt x="442" y="825"/>
                    </a:lnTo>
                    <a:lnTo>
                      <a:pt x="447" y="836"/>
                    </a:lnTo>
                    <a:lnTo>
                      <a:pt x="453" y="837"/>
                    </a:lnTo>
                    <a:lnTo>
                      <a:pt x="463" y="834"/>
                    </a:lnTo>
                    <a:lnTo>
                      <a:pt x="468" y="840"/>
                    </a:lnTo>
                    <a:lnTo>
                      <a:pt x="471" y="839"/>
                    </a:lnTo>
                    <a:lnTo>
                      <a:pt x="472" y="833"/>
                    </a:lnTo>
                    <a:lnTo>
                      <a:pt x="480" y="831"/>
                    </a:lnTo>
                    <a:lnTo>
                      <a:pt x="483" y="825"/>
                    </a:lnTo>
                    <a:lnTo>
                      <a:pt x="487" y="828"/>
                    </a:lnTo>
                    <a:lnTo>
                      <a:pt x="492" y="827"/>
                    </a:lnTo>
                    <a:lnTo>
                      <a:pt x="498" y="831"/>
                    </a:lnTo>
                    <a:lnTo>
                      <a:pt x="502" y="828"/>
                    </a:lnTo>
                    <a:lnTo>
                      <a:pt x="504" y="824"/>
                    </a:lnTo>
                    <a:lnTo>
                      <a:pt x="511" y="824"/>
                    </a:lnTo>
                    <a:lnTo>
                      <a:pt x="517" y="818"/>
                    </a:lnTo>
                    <a:lnTo>
                      <a:pt x="526" y="819"/>
                    </a:lnTo>
                    <a:lnTo>
                      <a:pt x="531" y="827"/>
                    </a:lnTo>
                    <a:lnTo>
                      <a:pt x="535" y="825"/>
                    </a:lnTo>
                    <a:lnTo>
                      <a:pt x="541" y="819"/>
                    </a:lnTo>
                    <a:lnTo>
                      <a:pt x="540" y="812"/>
                    </a:lnTo>
                    <a:lnTo>
                      <a:pt x="534" y="810"/>
                    </a:lnTo>
                    <a:lnTo>
                      <a:pt x="538" y="806"/>
                    </a:lnTo>
                    <a:lnTo>
                      <a:pt x="538" y="801"/>
                    </a:lnTo>
                    <a:lnTo>
                      <a:pt x="550" y="800"/>
                    </a:lnTo>
                    <a:lnTo>
                      <a:pt x="547" y="809"/>
                    </a:lnTo>
                    <a:lnTo>
                      <a:pt x="556" y="810"/>
                    </a:lnTo>
                    <a:lnTo>
                      <a:pt x="556" y="816"/>
                    </a:lnTo>
                    <a:lnTo>
                      <a:pt x="547" y="821"/>
                    </a:lnTo>
                    <a:lnTo>
                      <a:pt x="559" y="825"/>
                    </a:lnTo>
                    <a:lnTo>
                      <a:pt x="556" y="830"/>
                    </a:lnTo>
                    <a:lnTo>
                      <a:pt x="559" y="834"/>
                    </a:lnTo>
                    <a:lnTo>
                      <a:pt x="573" y="831"/>
                    </a:lnTo>
                    <a:lnTo>
                      <a:pt x="574" y="822"/>
                    </a:lnTo>
                    <a:lnTo>
                      <a:pt x="579" y="821"/>
                    </a:lnTo>
                    <a:lnTo>
                      <a:pt x="589" y="822"/>
                    </a:lnTo>
                    <a:lnTo>
                      <a:pt x="589" y="815"/>
                    </a:lnTo>
                    <a:lnTo>
                      <a:pt x="600" y="801"/>
                    </a:lnTo>
                    <a:lnTo>
                      <a:pt x="594" y="792"/>
                    </a:lnTo>
                    <a:lnTo>
                      <a:pt x="597" y="783"/>
                    </a:lnTo>
                    <a:lnTo>
                      <a:pt x="598" y="774"/>
                    </a:lnTo>
                    <a:lnTo>
                      <a:pt x="603" y="771"/>
                    </a:lnTo>
                    <a:lnTo>
                      <a:pt x="609" y="774"/>
                    </a:lnTo>
                    <a:lnTo>
                      <a:pt x="618" y="771"/>
                    </a:lnTo>
                    <a:lnTo>
                      <a:pt x="618" y="777"/>
                    </a:lnTo>
                    <a:lnTo>
                      <a:pt x="619" y="782"/>
                    </a:lnTo>
                    <a:lnTo>
                      <a:pt x="628" y="783"/>
                    </a:lnTo>
                    <a:lnTo>
                      <a:pt x="630" y="785"/>
                    </a:lnTo>
                    <a:lnTo>
                      <a:pt x="636" y="783"/>
                    </a:lnTo>
                    <a:lnTo>
                      <a:pt x="639" y="783"/>
                    </a:lnTo>
                    <a:lnTo>
                      <a:pt x="643" y="782"/>
                    </a:lnTo>
                    <a:lnTo>
                      <a:pt x="648" y="779"/>
                    </a:lnTo>
                    <a:lnTo>
                      <a:pt x="652" y="782"/>
                    </a:lnTo>
                    <a:lnTo>
                      <a:pt x="658" y="779"/>
                    </a:lnTo>
                    <a:lnTo>
                      <a:pt x="663" y="783"/>
                    </a:lnTo>
                    <a:lnTo>
                      <a:pt x="666" y="780"/>
                    </a:lnTo>
                    <a:lnTo>
                      <a:pt x="667" y="779"/>
                    </a:lnTo>
                    <a:lnTo>
                      <a:pt x="673" y="774"/>
                    </a:lnTo>
                    <a:lnTo>
                      <a:pt x="681" y="774"/>
                    </a:lnTo>
                    <a:lnTo>
                      <a:pt x="687" y="765"/>
                    </a:lnTo>
                    <a:lnTo>
                      <a:pt x="691" y="750"/>
                    </a:lnTo>
                    <a:lnTo>
                      <a:pt x="696" y="750"/>
                    </a:lnTo>
                    <a:lnTo>
                      <a:pt x="703" y="752"/>
                    </a:lnTo>
                    <a:lnTo>
                      <a:pt x="706" y="746"/>
                    </a:lnTo>
                    <a:lnTo>
                      <a:pt x="711" y="747"/>
                    </a:lnTo>
                    <a:lnTo>
                      <a:pt x="717" y="743"/>
                    </a:lnTo>
                    <a:lnTo>
                      <a:pt x="720" y="746"/>
                    </a:lnTo>
                    <a:lnTo>
                      <a:pt x="720" y="752"/>
                    </a:lnTo>
                    <a:lnTo>
                      <a:pt x="720" y="756"/>
                    </a:lnTo>
                    <a:lnTo>
                      <a:pt x="724" y="758"/>
                    </a:lnTo>
                    <a:lnTo>
                      <a:pt x="723" y="764"/>
                    </a:lnTo>
                    <a:lnTo>
                      <a:pt x="723" y="770"/>
                    </a:lnTo>
                    <a:lnTo>
                      <a:pt x="732" y="767"/>
                    </a:lnTo>
                    <a:lnTo>
                      <a:pt x="735" y="771"/>
                    </a:lnTo>
                    <a:lnTo>
                      <a:pt x="739" y="770"/>
                    </a:lnTo>
                    <a:lnTo>
                      <a:pt x="747" y="773"/>
                    </a:lnTo>
                    <a:lnTo>
                      <a:pt x="751" y="770"/>
                    </a:lnTo>
                    <a:lnTo>
                      <a:pt x="756" y="774"/>
                    </a:lnTo>
                    <a:lnTo>
                      <a:pt x="763" y="774"/>
                    </a:lnTo>
                    <a:lnTo>
                      <a:pt x="765" y="771"/>
                    </a:lnTo>
                    <a:lnTo>
                      <a:pt x="769" y="770"/>
                    </a:lnTo>
                    <a:lnTo>
                      <a:pt x="774" y="768"/>
                    </a:lnTo>
                    <a:lnTo>
                      <a:pt x="777" y="764"/>
                    </a:lnTo>
                    <a:lnTo>
                      <a:pt x="780" y="762"/>
                    </a:lnTo>
                    <a:lnTo>
                      <a:pt x="783" y="764"/>
                    </a:lnTo>
                    <a:lnTo>
                      <a:pt x="780" y="773"/>
                    </a:lnTo>
                    <a:lnTo>
                      <a:pt x="789" y="770"/>
                    </a:lnTo>
                    <a:lnTo>
                      <a:pt x="792" y="776"/>
                    </a:lnTo>
                    <a:lnTo>
                      <a:pt x="783" y="786"/>
                    </a:lnTo>
                    <a:lnTo>
                      <a:pt x="784" y="792"/>
                    </a:lnTo>
                    <a:lnTo>
                      <a:pt x="792" y="785"/>
                    </a:lnTo>
                    <a:lnTo>
                      <a:pt x="796" y="786"/>
                    </a:lnTo>
                    <a:lnTo>
                      <a:pt x="798" y="791"/>
                    </a:lnTo>
                    <a:lnTo>
                      <a:pt x="804" y="788"/>
                    </a:lnTo>
                    <a:lnTo>
                      <a:pt x="802" y="782"/>
                    </a:lnTo>
                    <a:lnTo>
                      <a:pt x="811" y="776"/>
                    </a:lnTo>
                    <a:lnTo>
                      <a:pt x="814" y="770"/>
                    </a:lnTo>
                    <a:lnTo>
                      <a:pt x="828" y="767"/>
                    </a:lnTo>
                    <a:lnTo>
                      <a:pt x="829" y="764"/>
                    </a:lnTo>
                    <a:lnTo>
                      <a:pt x="835" y="761"/>
                    </a:lnTo>
                    <a:lnTo>
                      <a:pt x="838" y="761"/>
                    </a:lnTo>
                    <a:lnTo>
                      <a:pt x="847" y="768"/>
                    </a:lnTo>
                    <a:lnTo>
                      <a:pt x="856" y="764"/>
                    </a:lnTo>
                    <a:lnTo>
                      <a:pt x="862" y="765"/>
                    </a:lnTo>
                    <a:lnTo>
                      <a:pt x="870" y="762"/>
                    </a:lnTo>
                    <a:lnTo>
                      <a:pt x="874" y="762"/>
                    </a:lnTo>
                    <a:lnTo>
                      <a:pt x="883" y="755"/>
                    </a:lnTo>
                    <a:lnTo>
                      <a:pt x="892" y="752"/>
                    </a:lnTo>
                    <a:lnTo>
                      <a:pt x="895" y="746"/>
                    </a:lnTo>
                    <a:lnTo>
                      <a:pt x="900" y="746"/>
                    </a:lnTo>
                    <a:lnTo>
                      <a:pt x="903" y="747"/>
                    </a:lnTo>
                    <a:lnTo>
                      <a:pt x="906" y="752"/>
                    </a:lnTo>
                    <a:lnTo>
                      <a:pt x="912" y="752"/>
                    </a:lnTo>
                    <a:lnTo>
                      <a:pt x="919" y="756"/>
                    </a:lnTo>
                    <a:lnTo>
                      <a:pt x="921" y="753"/>
                    </a:lnTo>
                    <a:lnTo>
                      <a:pt x="931" y="761"/>
                    </a:lnTo>
                    <a:lnTo>
                      <a:pt x="936" y="755"/>
                    </a:lnTo>
                    <a:lnTo>
                      <a:pt x="940" y="752"/>
                    </a:lnTo>
                    <a:lnTo>
                      <a:pt x="937" y="746"/>
                    </a:lnTo>
                    <a:lnTo>
                      <a:pt x="927" y="738"/>
                    </a:lnTo>
                    <a:lnTo>
                      <a:pt x="931" y="732"/>
                    </a:lnTo>
                    <a:lnTo>
                      <a:pt x="931" y="725"/>
                    </a:lnTo>
                    <a:lnTo>
                      <a:pt x="937" y="722"/>
                    </a:lnTo>
                    <a:lnTo>
                      <a:pt x="939" y="711"/>
                    </a:lnTo>
                    <a:lnTo>
                      <a:pt x="945" y="710"/>
                    </a:lnTo>
                    <a:lnTo>
                      <a:pt x="949" y="707"/>
                    </a:lnTo>
                    <a:lnTo>
                      <a:pt x="954" y="704"/>
                    </a:lnTo>
                    <a:lnTo>
                      <a:pt x="966" y="702"/>
                    </a:lnTo>
                    <a:lnTo>
                      <a:pt x="972" y="701"/>
                    </a:lnTo>
                    <a:lnTo>
                      <a:pt x="976" y="698"/>
                    </a:lnTo>
                    <a:lnTo>
                      <a:pt x="987" y="701"/>
                    </a:lnTo>
                    <a:lnTo>
                      <a:pt x="987" y="704"/>
                    </a:lnTo>
                    <a:lnTo>
                      <a:pt x="984" y="708"/>
                    </a:lnTo>
                    <a:lnTo>
                      <a:pt x="987" y="714"/>
                    </a:lnTo>
                    <a:lnTo>
                      <a:pt x="984" y="723"/>
                    </a:lnTo>
                    <a:lnTo>
                      <a:pt x="990" y="729"/>
                    </a:lnTo>
                    <a:lnTo>
                      <a:pt x="991" y="747"/>
                    </a:lnTo>
                    <a:lnTo>
                      <a:pt x="994" y="752"/>
                    </a:lnTo>
                    <a:lnTo>
                      <a:pt x="1006" y="749"/>
                    </a:lnTo>
                    <a:lnTo>
                      <a:pt x="1012" y="749"/>
                    </a:lnTo>
                    <a:lnTo>
                      <a:pt x="1014" y="755"/>
                    </a:lnTo>
                    <a:lnTo>
                      <a:pt x="1017" y="755"/>
                    </a:lnTo>
                    <a:lnTo>
                      <a:pt x="1018" y="761"/>
                    </a:lnTo>
                    <a:lnTo>
                      <a:pt x="1024" y="762"/>
                    </a:lnTo>
                    <a:lnTo>
                      <a:pt x="1029" y="765"/>
                    </a:lnTo>
                    <a:lnTo>
                      <a:pt x="1033" y="768"/>
                    </a:lnTo>
                    <a:lnTo>
                      <a:pt x="1038" y="765"/>
                    </a:lnTo>
                    <a:lnTo>
                      <a:pt x="1041" y="758"/>
                    </a:lnTo>
                    <a:lnTo>
                      <a:pt x="1048" y="759"/>
                    </a:lnTo>
                    <a:lnTo>
                      <a:pt x="1051" y="767"/>
                    </a:lnTo>
                    <a:lnTo>
                      <a:pt x="1054" y="765"/>
                    </a:lnTo>
                    <a:lnTo>
                      <a:pt x="1057" y="762"/>
                    </a:lnTo>
                    <a:lnTo>
                      <a:pt x="1065" y="764"/>
                    </a:lnTo>
                    <a:lnTo>
                      <a:pt x="1068" y="768"/>
                    </a:lnTo>
                    <a:lnTo>
                      <a:pt x="1075" y="768"/>
                    </a:lnTo>
                    <a:lnTo>
                      <a:pt x="1080" y="770"/>
                    </a:lnTo>
                    <a:lnTo>
                      <a:pt x="1086" y="770"/>
                    </a:lnTo>
                    <a:lnTo>
                      <a:pt x="1086" y="780"/>
                    </a:lnTo>
                    <a:lnTo>
                      <a:pt x="1089" y="782"/>
                    </a:lnTo>
                    <a:lnTo>
                      <a:pt x="1095" y="779"/>
                    </a:lnTo>
                    <a:lnTo>
                      <a:pt x="1101" y="779"/>
                    </a:lnTo>
                    <a:lnTo>
                      <a:pt x="1095" y="791"/>
                    </a:lnTo>
                    <a:lnTo>
                      <a:pt x="1096" y="795"/>
                    </a:lnTo>
                    <a:lnTo>
                      <a:pt x="1101" y="797"/>
                    </a:lnTo>
                    <a:lnTo>
                      <a:pt x="1107" y="791"/>
                    </a:lnTo>
                    <a:lnTo>
                      <a:pt x="1108" y="782"/>
                    </a:lnTo>
                    <a:lnTo>
                      <a:pt x="1114" y="779"/>
                    </a:lnTo>
                    <a:lnTo>
                      <a:pt x="1117" y="783"/>
                    </a:lnTo>
                    <a:lnTo>
                      <a:pt x="1122" y="783"/>
                    </a:lnTo>
                    <a:lnTo>
                      <a:pt x="1125" y="785"/>
                    </a:lnTo>
                    <a:lnTo>
                      <a:pt x="1129" y="779"/>
                    </a:lnTo>
                    <a:lnTo>
                      <a:pt x="1134" y="770"/>
                    </a:lnTo>
                    <a:lnTo>
                      <a:pt x="1132" y="765"/>
                    </a:lnTo>
                    <a:lnTo>
                      <a:pt x="1135" y="761"/>
                    </a:lnTo>
                    <a:lnTo>
                      <a:pt x="1153" y="752"/>
                    </a:lnTo>
                    <a:lnTo>
                      <a:pt x="1156" y="746"/>
                    </a:lnTo>
                    <a:lnTo>
                      <a:pt x="1159" y="743"/>
                    </a:lnTo>
                    <a:lnTo>
                      <a:pt x="1165" y="740"/>
                    </a:lnTo>
                    <a:lnTo>
                      <a:pt x="1168" y="743"/>
                    </a:lnTo>
                    <a:lnTo>
                      <a:pt x="1167" y="750"/>
                    </a:lnTo>
                    <a:lnTo>
                      <a:pt x="1167" y="758"/>
                    </a:lnTo>
                    <a:lnTo>
                      <a:pt x="1170" y="764"/>
                    </a:lnTo>
                    <a:lnTo>
                      <a:pt x="1180" y="762"/>
                    </a:lnTo>
                    <a:lnTo>
                      <a:pt x="1192" y="756"/>
                    </a:lnTo>
                    <a:lnTo>
                      <a:pt x="1200" y="743"/>
                    </a:lnTo>
                    <a:lnTo>
                      <a:pt x="1209" y="740"/>
                    </a:lnTo>
                    <a:lnTo>
                      <a:pt x="1215" y="731"/>
                    </a:lnTo>
                    <a:lnTo>
                      <a:pt x="1218" y="723"/>
                    </a:lnTo>
                    <a:lnTo>
                      <a:pt x="1227" y="720"/>
                    </a:lnTo>
                    <a:lnTo>
                      <a:pt x="1239" y="707"/>
                    </a:lnTo>
                    <a:lnTo>
                      <a:pt x="1246" y="698"/>
                    </a:lnTo>
                    <a:lnTo>
                      <a:pt x="1260" y="692"/>
                    </a:lnTo>
                    <a:lnTo>
                      <a:pt x="1282" y="689"/>
                    </a:lnTo>
                    <a:lnTo>
                      <a:pt x="1293" y="677"/>
                    </a:lnTo>
                    <a:lnTo>
                      <a:pt x="1311" y="674"/>
                    </a:lnTo>
                    <a:lnTo>
                      <a:pt x="1324" y="665"/>
                    </a:lnTo>
                    <a:lnTo>
                      <a:pt x="1345" y="654"/>
                    </a:lnTo>
                    <a:lnTo>
                      <a:pt x="1365" y="654"/>
                    </a:lnTo>
                    <a:lnTo>
                      <a:pt x="1374" y="654"/>
                    </a:lnTo>
                    <a:lnTo>
                      <a:pt x="1374" y="648"/>
                    </a:lnTo>
                    <a:lnTo>
                      <a:pt x="1359" y="644"/>
                    </a:lnTo>
                    <a:lnTo>
                      <a:pt x="1342" y="647"/>
                    </a:lnTo>
                    <a:lnTo>
                      <a:pt x="1341" y="650"/>
                    </a:lnTo>
                    <a:lnTo>
                      <a:pt x="1333" y="644"/>
                    </a:lnTo>
                    <a:lnTo>
                      <a:pt x="1332" y="641"/>
                    </a:lnTo>
                    <a:lnTo>
                      <a:pt x="1332" y="638"/>
                    </a:lnTo>
                    <a:lnTo>
                      <a:pt x="1332" y="632"/>
                    </a:lnTo>
                    <a:lnTo>
                      <a:pt x="1338" y="627"/>
                    </a:lnTo>
                    <a:lnTo>
                      <a:pt x="1350" y="632"/>
                    </a:lnTo>
                    <a:lnTo>
                      <a:pt x="1359" y="627"/>
                    </a:lnTo>
                    <a:lnTo>
                      <a:pt x="1366" y="623"/>
                    </a:lnTo>
                    <a:lnTo>
                      <a:pt x="1368" y="626"/>
                    </a:lnTo>
                    <a:lnTo>
                      <a:pt x="1380" y="635"/>
                    </a:lnTo>
                    <a:lnTo>
                      <a:pt x="1389" y="629"/>
                    </a:lnTo>
                    <a:lnTo>
                      <a:pt x="1390" y="633"/>
                    </a:lnTo>
                    <a:lnTo>
                      <a:pt x="1407" y="635"/>
                    </a:lnTo>
                    <a:lnTo>
                      <a:pt x="1413" y="630"/>
                    </a:lnTo>
                    <a:lnTo>
                      <a:pt x="1423" y="624"/>
                    </a:lnTo>
                    <a:lnTo>
                      <a:pt x="1429" y="611"/>
                    </a:lnTo>
                    <a:lnTo>
                      <a:pt x="1434" y="606"/>
                    </a:lnTo>
                    <a:lnTo>
                      <a:pt x="1441" y="600"/>
                    </a:lnTo>
                    <a:lnTo>
                      <a:pt x="1443" y="597"/>
                    </a:lnTo>
                    <a:lnTo>
                      <a:pt x="1450" y="593"/>
                    </a:lnTo>
                    <a:lnTo>
                      <a:pt x="1465" y="581"/>
                    </a:lnTo>
                    <a:lnTo>
                      <a:pt x="1473" y="566"/>
                    </a:lnTo>
                    <a:lnTo>
                      <a:pt x="1486" y="560"/>
                    </a:lnTo>
                    <a:lnTo>
                      <a:pt x="1483" y="558"/>
                    </a:lnTo>
                    <a:lnTo>
                      <a:pt x="1477" y="554"/>
                    </a:lnTo>
                    <a:lnTo>
                      <a:pt x="1479" y="549"/>
                    </a:lnTo>
                    <a:lnTo>
                      <a:pt x="1483" y="543"/>
                    </a:lnTo>
                    <a:lnTo>
                      <a:pt x="1488" y="537"/>
                    </a:lnTo>
                    <a:lnTo>
                      <a:pt x="1489" y="533"/>
                    </a:lnTo>
                    <a:lnTo>
                      <a:pt x="1488" y="531"/>
                    </a:lnTo>
                    <a:lnTo>
                      <a:pt x="1495" y="524"/>
                    </a:lnTo>
                    <a:lnTo>
                      <a:pt x="1492" y="518"/>
                    </a:lnTo>
                    <a:lnTo>
                      <a:pt x="1489" y="516"/>
                    </a:lnTo>
                    <a:lnTo>
                      <a:pt x="1485" y="518"/>
                    </a:lnTo>
                    <a:lnTo>
                      <a:pt x="1485" y="513"/>
                    </a:lnTo>
                    <a:lnTo>
                      <a:pt x="1495" y="510"/>
                    </a:lnTo>
                    <a:lnTo>
                      <a:pt x="1500" y="501"/>
                    </a:lnTo>
                    <a:lnTo>
                      <a:pt x="1503" y="500"/>
                    </a:lnTo>
                    <a:lnTo>
                      <a:pt x="1504" y="500"/>
                    </a:lnTo>
                    <a:lnTo>
                      <a:pt x="1506" y="495"/>
                    </a:lnTo>
                    <a:lnTo>
                      <a:pt x="1507" y="491"/>
                    </a:lnTo>
                    <a:lnTo>
                      <a:pt x="1512" y="486"/>
                    </a:lnTo>
                    <a:lnTo>
                      <a:pt x="1515" y="482"/>
                    </a:lnTo>
                    <a:lnTo>
                      <a:pt x="1497" y="477"/>
                    </a:lnTo>
                    <a:lnTo>
                      <a:pt x="1491" y="480"/>
                    </a:lnTo>
                    <a:lnTo>
                      <a:pt x="1485" y="480"/>
                    </a:lnTo>
                    <a:lnTo>
                      <a:pt x="1482" y="476"/>
                    </a:lnTo>
                    <a:lnTo>
                      <a:pt x="1473" y="465"/>
                    </a:lnTo>
                    <a:lnTo>
                      <a:pt x="1467" y="446"/>
                    </a:lnTo>
                    <a:lnTo>
                      <a:pt x="1477" y="440"/>
                    </a:lnTo>
                    <a:lnTo>
                      <a:pt x="1480" y="435"/>
                    </a:lnTo>
                    <a:lnTo>
                      <a:pt x="1482" y="426"/>
                    </a:lnTo>
                    <a:lnTo>
                      <a:pt x="1485" y="420"/>
                    </a:lnTo>
                    <a:lnTo>
                      <a:pt x="1492" y="413"/>
                    </a:lnTo>
                    <a:lnTo>
                      <a:pt x="1498" y="402"/>
                    </a:lnTo>
                    <a:lnTo>
                      <a:pt x="1498" y="399"/>
                    </a:lnTo>
                    <a:lnTo>
                      <a:pt x="1503" y="384"/>
                    </a:lnTo>
                    <a:lnTo>
                      <a:pt x="1503" y="377"/>
                    </a:lnTo>
                    <a:lnTo>
                      <a:pt x="1507" y="372"/>
                    </a:lnTo>
                    <a:lnTo>
                      <a:pt x="1513" y="366"/>
                    </a:lnTo>
                    <a:lnTo>
                      <a:pt x="1519" y="360"/>
                    </a:lnTo>
                    <a:lnTo>
                      <a:pt x="1519" y="357"/>
                    </a:lnTo>
                    <a:lnTo>
                      <a:pt x="1516" y="356"/>
                    </a:lnTo>
                    <a:lnTo>
                      <a:pt x="1512" y="353"/>
                    </a:lnTo>
                    <a:lnTo>
                      <a:pt x="1512" y="347"/>
                    </a:lnTo>
                    <a:lnTo>
                      <a:pt x="1507" y="341"/>
                    </a:lnTo>
                    <a:lnTo>
                      <a:pt x="1504" y="338"/>
                    </a:lnTo>
                    <a:lnTo>
                      <a:pt x="1503" y="335"/>
                    </a:lnTo>
                    <a:lnTo>
                      <a:pt x="1503" y="330"/>
                    </a:lnTo>
                    <a:lnTo>
                      <a:pt x="1503" y="327"/>
                    </a:lnTo>
                    <a:lnTo>
                      <a:pt x="1501" y="326"/>
                    </a:lnTo>
                    <a:lnTo>
                      <a:pt x="1498" y="323"/>
                    </a:lnTo>
                    <a:lnTo>
                      <a:pt x="1494" y="323"/>
                    </a:lnTo>
                    <a:lnTo>
                      <a:pt x="1491" y="320"/>
                    </a:lnTo>
                    <a:lnTo>
                      <a:pt x="1488" y="318"/>
                    </a:lnTo>
                    <a:lnTo>
                      <a:pt x="1486" y="317"/>
                    </a:lnTo>
                    <a:lnTo>
                      <a:pt x="1485" y="318"/>
                    </a:lnTo>
                    <a:lnTo>
                      <a:pt x="1480" y="321"/>
                    </a:lnTo>
                    <a:lnTo>
                      <a:pt x="1477" y="318"/>
                    </a:lnTo>
                    <a:lnTo>
                      <a:pt x="1474" y="315"/>
                    </a:lnTo>
                    <a:lnTo>
                      <a:pt x="1473" y="312"/>
                    </a:lnTo>
                    <a:lnTo>
                      <a:pt x="1468" y="311"/>
                    </a:lnTo>
                    <a:lnTo>
                      <a:pt x="1467" y="308"/>
                    </a:lnTo>
                    <a:lnTo>
                      <a:pt x="1470" y="305"/>
                    </a:lnTo>
                    <a:lnTo>
                      <a:pt x="1474" y="300"/>
                    </a:lnTo>
                    <a:lnTo>
                      <a:pt x="1476" y="299"/>
                    </a:lnTo>
                    <a:lnTo>
                      <a:pt x="1477" y="296"/>
                    </a:lnTo>
                    <a:lnTo>
                      <a:pt x="1473" y="296"/>
                    </a:lnTo>
                    <a:lnTo>
                      <a:pt x="1470" y="297"/>
                    </a:lnTo>
                    <a:lnTo>
                      <a:pt x="1467" y="300"/>
                    </a:lnTo>
                    <a:lnTo>
                      <a:pt x="1464" y="300"/>
                    </a:lnTo>
                    <a:lnTo>
                      <a:pt x="1461" y="299"/>
                    </a:lnTo>
                    <a:lnTo>
                      <a:pt x="1458" y="296"/>
                    </a:lnTo>
                    <a:lnTo>
                      <a:pt x="1452" y="287"/>
                    </a:lnTo>
                    <a:lnTo>
                      <a:pt x="1447" y="287"/>
                    </a:lnTo>
                    <a:lnTo>
                      <a:pt x="1447" y="290"/>
                    </a:lnTo>
                    <a:lnTo>
                      <a:pt x="1449" y="296"/>
                    </a:lnTo>
                    <a:lnTo>
                      <a:pt x="1446" y="297"/>
                    </a:lnTo>
                    <a:lnTo>
                      <a:pt x="1443" y="296"/>
                    </a:lnTo>
                    <a:lnTo>
                      <a:pt x="1437" y="288"/>
                    </a:lnTo>
                    <a:lnTo>
                      <a:pt x="1432" y="290"/>
                    </a:lnTo>
                    <a:lnTo>
                      <a:pt x="1426" y="287"/>
                    </a:lnTo>
                    <a:lnTo>
                      <a:pt x="1422" y="285"/>
                    </a:lnTo>
                    <a:lnTo>
                      <a:pt x="1419" y="281"/>
                    </a:lnTo>
                    <a:lnTo>
                      <a:pt x="1422" y="278"/>
                    </a:lnTo>
                    <a:lnTo>
                      <a:pt x="1425" y="278"/>
                    </a:lnTo>
                    <a:lnTo>
                      <a:pt x="1428" y="275"/>
                    </a:lnTo>
                    <a:lnTo>
                      <a:pt x="1426" y="272"/>
                    </a:lnTo>
                    <a:lnTo>
                      <a:pt x="1420" y="266"/>
                    </a:lnTo>
                    <a:lnTo>
                      <a:pt x="1417" y="266"/>
                    </a:lnTo>
                    <a:lnTo>
                      <a:pt x="1411" y="269"/>
                    </a:lnTo>
                    <a:lnTo>
                      <a:pt x="1411" y="272"/>
                    </a:lnTo>
                    <a:lnTo>
                      <a:pt x="1407" y="272"/>
                    </a:lnTo>
                    <a:lnTo>
                      <a:pt x="1398" y="270"/>
                    </a:lnTo>
                    <a:lnTo>
                      <a:pt x="1390" y="269"/>
                    </a:lnTo>
                    <a:lnTo>
                      <a:pt x="1389" y="272"/>
                    </a:lnTo>
                    <a:lnTo>
                      <a:pt x="1386" y="272"/>
                    </a:lnTo>
                    <a:lnTo>
                      <a:pt x="1387" y="278"/>
                    </a:lnTo>
                    <a:lnTo>
                      <a:pt x="1386" y="279"/>
                    </a:lnTo>
                    <a:lnTo>
                      <a:pt x="1387" y="285"/>
                    </a:lnTo>
                    <a:lnTo>
                      <a:pt x="1389" y="293"/>
                    </a:lnTo>
                    <a:lnTo>
                      <a:pt x="1389" y="296"/>
                    </a:lnTo>
                    <a:lnTo>
                      <a:pt x="1375" y="302"/>
                    </a:lnTo>
                    <a:lnTo>
                      <a:pt x="1374" y="303"/>
                    </a:lnTo>
                    <a:lnTo>
                      <a:pt x="1371" y="308"/>
                    </a:lnTo>
                    <a:lnTo>
                      <a:pt x="1371" y="312"/>
                    </a:lnTo>
                    <a:lnTo>
                      <a:pt x="1372" y="317"/>
                    </a:lnTo>
                    <a:lnTo>
                      <a:pt x="1372" y="320"/>
                    </a:lnTo>
                    <a:lnTo>
                      <a:pt x="1371" y="323"/>
                    </a:lnTo>
                    <a:lnTo>
                      <a:pt x="1365" y="323"/>
                    </a:lnTo>
                    <a:lnTo>
                      <a:pt x="1359" y="324"/>
                    </a:lnTo>
                    <a:lnTo>
                      <a:pt x="1356" y="326"/>
                    </a:lnTo>
                    <a:lnTo>
                      <a:pt x="1351" y="327"/>
                    </a:lnTo>
                    <a:lnTo>
                      <a:pt x="1347" y="329"/>
                    </a:lnTo>
                    <a:lnTo>
                      <a:pt x="1342" y="332"/>
                    </a:lnTo>
                    <a:lnTo>
                      <a:pt x="1339" y="336"/>
                    </a:lnTo>
                    <a:lnTo>
                      <a:pt x="1336" y="338"/>
                    </a:lnTo>
                    <a:lnTo>
                      <a:pt x="1333" y="339"/>
                    </a:lnTo>
                    <a:lnTo>
                      <a:pt x="1330" y="335"/>
                    </a:lnTo>
                    <a:lnTo>
                      <a:pt x="1327" y="330"/>
                    </a:lnTo>
                    <a:lnTo>
                      <a:pt x="1326" y="326"/>
                    </a:lnTo>
                    <a:lnTo>
                      <a:pt x="1329" y="321"/>
                    </a:lnTo>
                    <a:lnTo>
                      <a:pt x="1333" y="318"/>
                    </a:lnTo>
                    <a:lnTo>
                      <a:pt x="1338" y="317"/>
                    </a:lnTo>
                    <a:lnTo>
                      <a:pt x="1341" y="315"/>
                    </a:lnTo>
                    <a:lnTo>
                      <a:pt x="1342" y="312"/>
                    </a:lnTo>
                    <a:lnTo>
                      <a:pt x="1341" y="308"/>
                    </a:lnTo>
                    <a:lnTo>
                      <a:pt x="1336" y="306"/>
                    </a:lnTo>
                    <a:lnTo>
                      <a:pt x="1330" y="303"/>
                    </a:lnTo>
                    <a:lnTo>
                      <a:pt x="1326" y="303"/>
                    </a:lnTo>
                    <a:lnTo>
                      <a:pt x="1320" y="305"/>
                    </a:lnTo>
                    <a:lnTo>
                      <a:pt x="1317" y="305"/>
                    </a:lnTo>
                    <a:lnTo>
                      <a:pt x="1314" y="303"/>
                    </a:lnTo>
                    <a:lnTo>
                      <a:pt x="1311" y="297"/>
                    </a:lnTo>
                    <a:lnTo>
                      <a:pt x="1312" y="294"/>
                    </a:lnTo>
                    <a:lnTo>
                      <a:pt x="1315" y="291"/>
                    </a:lnTo>
                    <a:lnTo>
                      <a:pt x="1314" y="288"/>
                    </a:lnTo>
                    <a:lnTo>
                      <a:pt x="1315" y="279"/>
                    </a:lnTo>
                    <a:lnTo>
                      <a:pt x="1317" y="275"/>
                    </a:lnTo>
                    <a:lnTo>
                      <a:pt x="1315" y="267"/>
                    </a:lnTo>
                    <a:lnTo>
                      <a:pt x="1321" y="266"/>
                    </a:lnTo>
                    <a:lnTo>
                      <a:pt x="1324" y="264"/>
                    </a:lnTo>
                    <a:lnTo>
                      <a:pt x="1327" y="266"/>
                    </a:lnTo>
                    <a:lnTo>
                      <a:pt x="1332" y="269"/>
                    </a:lnTo>
                    <a:lnTo>
                      <a:pt x="1335" y="267"/>
                    </a:lnTo>
                    <a:lnTo>
                      <a:pt x="1339" y="267"/>
                    </a:lnTo>
                    <a:lnTo>
                      <a:pt x="1347" y="264"/>
                    </a:lnTo>
                    <a:lnTo>
                      <a:pt x="1350" y="261"/>
                    </a:lnTo>
                    <a:lnTo>
                      <a:pt x="1348" y="255"/>
                    </a:lnTo>
                    <a:lnTo>
                      <a:pt x="1347" y="251"/>
                    </a:lnTo>
                    <a:lnTo>
                      <a:pt x="1344" y="249"/>
                    </a:lnTo>
                    <a:lnTo>
                      <a:pt x="1339" y="248"/>
                    </a:lnTo>
                    <a:lnTo>
                      <a:pt x="1335" y="246"/>
                    </a:lnTo>
                    <a:lnTo>
                      <a:pt x="1332" y="248"/>
                    </a:lnTo>
                    <a:lnTo>
                      <a:pt x="1329" y="249"/>
                    </a:lnTo>
                    <a:lnTo>
                      <a:pt x="1323" y="251"/>
                    </a:lnTo>
                    <a:lnTo>
                      <a:pt x="1320" y="254"/>
                    </a:lnTo>
                    <a:lnTo>
                      <a:pt x="1315" y="252"/>
                    </a:lnTo>
                    <a:lnTo>
                      <a:pt x="1314" y="252"/>
                    </a:lnTo>
                    <a:lnTo>
                      <a:pt x="1314" y="249"/>
                    </a:lnTo>
                    <a:lnTo>
                      <a:pt x="1315" y="246"/>
                    </a:lnTo>
                    <a:lnTo>
                      <a:pt x="1314" y="245"/>
                    </a:lnTo>
                    <a:lnTo>
                      <a:pt x="1311" y="245"/>
                    </a:lnTo>
                    <a:lnTo>
                      <a:pt x="1309" y="242"/>
                    </a:lnTo>
                    <a:lnTo>
                      <a:pt x="1311" y="239"/>
                    </a:lnTo>
                    <a:lnTo>
                      <a:pt x="1309" y="237"/>
                    </a:lnTo>
                    <a:lnTo>
                      <a:pt x="1300" y="236"/>
                    </a:lnTo>
                    <a:lnTo>
                      <a:pt x="1296" y="230"/>
                    </a:lnTo>
                    <a:lnTo>
                      <a:pt x="1293" y="230"/>
                    </a:lnTo>
                    <a:lnTo>
                      <a:pt x="1278" y="225"/>
                    </a:lnTo>
                    <a:lnTo>
                      <a:pt x="1267" y="213"/>
                    </a:lnTo>
                    <a:lnTo>
                      <a:pt x="1263" y="212"/>
                    </a:lnTo>
                    <a:lnTo>
                      <a:pt x="1254" y="213"/>
                    </a:lnTo>
                    <a:lnTo>
                      <a:pt x="1243" y="207"/>
                    </a:lnTo>
                    <a:lnTo>
                      <a:pt x="1239" y="206"/>
                    </a:lnTo>
                    <a:lnTo>
                      <a:pt x="1243" y="198"/>
                    </a:lnTo>
                    <a:lnTo>
                      <a:pt x="1242" y="194"/>
                    </a:lnTo>
                    <a:lnTo>
                      <a:pt x="1243" y="185"/>
                    </a:lnTo>
                    <a:lnTo>
                      <a:pt x="1234" y="177"/>
                    </a:lnTo>
                    <a:lnTo>
                      <a:pt x="1224" y="177"/>
                    </a:lnTo>
                    <a:lnTo>
                      <a:pt x="1224" y="164"/>
                    </a:lnTo>
                    <a:lnTo>
                      <a:pt x="1243" y="171"/>
                    </a:lnTo>
                    <a:lnTo>
                      <a:pt x="1263" y="153"/>
                    </a:lnTo>
                    <a:lnTo>
                      <a:pt x="1263" y="147"/>
                    </a:lnTo>
                    <a:lnTo>
                      <a:pt x="1266" y="134"/>
                    </a:lnTo>
                    <a:lnTo>
                      <a:pt x="1269" y="140"/>
                    </a:lnTo>
                    <a:lnTo>
                      <a:pt x="1273" y="138"/>
                    </a:lnTo>
                    <a:lnTo>
                      <a:pt x="1276" y="140"/>
                    </a:lnTo>
                    <a:lnTo>
                      <a:pt x="1284" y="140"/>
                    </a:lnTo>
                    <a:lnTo>
                      <a:pt x="1288" y="140"/>
                    </a:lnTo>
                    <a:lnTo>
                      <a:pt x="1291" y="141"/>
                    </a:lnTo>
                    <a:lnTo>
                      <a:pt x="1296" y="141"/>
                    </a:lnTo>
                    <a:lnTo>
                      <a:pt x="1297" y="140"/>
                    </a:lnTo>
                    <a:lnTo>
                      <a:pt x="1294" y="135"/>
                    </a:lnTo>
                    <a:lnTo>
                      <a:pt x="1293" y="131"/>
                    </a:lnTo>
                    <a:lnTo>
                      <a:pt x="1294" y="123"/>
                    </a:lnTo>
                    <a:lnTo>
                      <a:pt x="1300" y="123"/>
                    </a:lnTo>
                    <a:lnTo>
                      <a:pt x="1300" y="120"/>
                    </a:lnTo>
                    <a:lnTo>
                      <a:pt x="1297" y="113"/>
                    </a:lnTo>
                    <a:lnTo>
                      <a:pt x="1294" y="107"/>
                    </a:lnTo>
                    <a:lnTo>
                      <a:pt x="1297" y="99"/>
                    </a:lnTo>
                    <a:lnTo>
                      <a:pt x="1300" y="96"/>
                    </a:lnTo>
                    <a:lnTo>
                      <a:pt x="1303" y="93"/>
                    </a:lnTo>
                    <a:lnTo>
                      <a:pt x="1306" y="90"/>
                    </a:lnTo>
                    <a:lnTo>
                      <a:pt x="1311" y="80"/>
                    </a:lnTo>
                    <a:lnTo>
                      <a:pt x="1312" y="77"/>
                    </a:lnTo>
                    <a:lnTo>
                      <a:pt x="1308" y="74"/>
                    </a:lnTo>
                    <a:lnTo>
                      <a:pt x="1312" y="66"/>
                    </a:lnTo>
                    <a:lnTo>
                      <a:pt x="1312" y="59"/>
                    </a:lnTo>
                    <a:lnTo>
                      <a:pt x="1318" y="50"/>
                    </a:lnTo>
                    <a:lnTo>
                      <a:pt x="1326" y="41"/>
                    </a:lnTo>
                    <a:lnTo>
                      <a:pt x="1332" y="33"/>
                    </a:lnTo>
                    <a:lnTo>
                      <a:pt x="1332" y="27"/>
                    </a:lnTo>
                    <a:lnTo>
                      <a:pt x="1327" y="23"/>
                    </a:lnTo>
                    <a:lnTo>
                      <a:pt x="1324" y="20"/>
                    </a:lnTo>
                    <a:lnTo>
                      <a:pt x="1330" y="9"/>
                    </a:lnTo>
                    <a:lnTo>
                      <a:pt x="1342" y="11"/>
                    </a:lnTo>
                    <a:lnTo>
                      <a:pt x="1345" y="3"/>
                    </a:lnTo>
                    <a:lnTo>
                      <a:pt x="1350" y="0"/>
                    </a:lnTo>
                    <a:lnTo>
                      <a:pt x="1354" y="2"/>
                    </a:lnTo>
                    <a:lnTo>
                      <a:pt x="1354" y="8"/>
                    </a:lnTo>
                    <a:lnTo>
                      <a:pt x="1362" y="9"/>
                    </a:lnTo>
                    <a:lnTo>
                      <a:pt x="1365" y="11"/>
                    </a:lnTo>
                    <a:lnTo>
                      <a:pt x="1362" y="14"/>
                    </a:lnTo>
                    <a:lnTo>
                      <a:pt x="1356" y="15"/>
                    </a:lnTo>
                    <a:lnTo>
                      <a:pt x="1351" y="20"/>
                    </a:lnTo>
                    <a:lnTo>
                      <a:pt x="1350" y="26"/>
                    </a:lnTo>
                    <a:lnTo>
                      <a:pt x="1354" y="32"/>
                    </a:lnTo>
                    <a:lnTo>
                      <a:pt x="1354" y="38"/>
                    </a:lnTo>
                    <a:lnTo>
                      <a:pt x="1363" y="38"/>
                    </a:lnTo>
                    <a:lnTo>
                      <a:pt x="1366" y="41"/>
                    </a:lnTo>
                    <a:lnTo>
                      <a:pt x="1363" y="45"/>
                    </a:lnTo>
                    <a:lnTo>
                      <a:pt x="1360" y="47"/>
                    </a:lnTo>
                    <a:lnTo>
                      <a:pt x="1360" y="51"/>
                    </a:lnTo>
                    <a:lnTo>
                      <a:pt x="1365" y="59"/>
                    </a:lnTo>
                    <a:lnTo>
                      <a:pt x="1366" y="65"/>
                    </a:lnTo>
                    <a:lnTo>
                      <a:pt x="1368" y="71"/>
                    </a:lnTo>
                    <a:lnTo>
                      <a:pt x="1369" y="77"/>
                    </a:lnTo>
                    <a:lnTo>
                      <a:pt x="1372" y="84"/>
                    </a:lnTo>
                    <a:lnTo>
                      <a:pt x="1389" y="84"/>
                    </a:lnTo>
                    <a:lnTo>
                      <a:pt x="1396" y="83"/>
                    </a:lnTo>
                    <a:lnTo>
                      <a:pt x="1398" y="89"/>
                    </a:lnTo>
                    <a:lnTo>
                      <a:pt x="1402" y="87"/>
                    </a:lnTo>
                    <a:lnTo>
                      <a:pt x="1407" y="84"/>
                    </a:lnTo>
                    <a:lnTo>
                      <a:pt x="1411" y="87"/>
                    </a:lnTo>
                    <a:lnTo>
                      <a:pt x="1417" y="92"/>
                    </a:lnTo>
                    <a:lnTo>
                      <a:pt x="1417" y="96"/>
                    </a:lnTo>
                    <a:lnTo>
                      <a:pt x="1420" y="96"/>
                    </a:lnTo>
                    <a:lnTo>
                      <a:pt x="1423" y="95"/>
                    </a:lnTo>
                    <a:lnTo>
                      <a:pt x="1428" y="101"/>
                    </a:lnTo>
                    <a:lnTo>
                      <a:pt x="1434" y="107"/>
                    </a:lnTo>
                    <a:lnTo>
                      <a:pt x="1437" y="113"/>
                    </a:lnTo>
                    <a:lnTo>
                      <a:pt x="1441" y="111"/>
                    </a:lnTo>
                    <a:lnTo>
                      <a:pt x="1447" y="108"/>
                    </a:lnTo>
                    <a:lnTo>
                      <a:pt x="1456" y="105"/>
                    </a:lnTo>
                    <a:lnTo>
                      <a:pt x="1462" y="105"/>
                    </a:lnTo>
                    <a:lnTo>
                      <a:pt x="1468" y="105"/>
                    </a:lnTo>
                    <a:lnTo>
                      <a:pt x="1473" y="111"/>
                    </a:lnTo>
                    <a:lnTo>
                      <a:pt x="1477" y="110"/>
                    </a:lnTo>
                    <a:lnTo>
                      <a:pt x="1482" y="111"/>
                    </a:lnTo>
                    <a:lnTo>
                      <a:pt x="1483" y="114"/>
                    </a:lnTo>
                    <a:lnTo>
                      <a:pt x="1492" y="117"/>
                    </a:lnTo>
                    <a:lnTo>
                      <a:pt x="1500" y="119"/>
                    </a:lnTo>
                    <a:lnTo>
                      <a:pt x="1504" y="120"/>
                    </a:lnTo>
                    <a:lnTo>
                      <a:pt x="1504" y="123"/>
                    </a:lnTo>
                    <a:lnTo>
                      <a:pt x="1503" y="126"/>
                    </a:lnTo>
                    <a:lnTo>
                      <a:pt x="1504" y="134"/>
                    </a:lnTo>
                    <a:lnTo>
                      <a:pt x="1501" y="138"/>
                    </a:lnTo>
                    <a:lnTo>
                      <a:pt x="1501" y="140"/>
                    </a:lnTo>
                    <a:lnTo>
                      <a:pt x="1510" y="140"/>
                    </a:lnTo>
                    <a:lnTo>
                      <a:pt x="1513" y="140"/>
                    </a:lnTo>
                    <a:lnTo>
                      <a:pt x="1513" y="143"/>
                    </a:lnTo>
                    <a:lnTo>
                      <a:pt x="1515" y="144"/>
                    </a:lnTo>
                    <a:lnTo>
                      <a:pt x="1521" y="149"/>
                    </a:lnTo>
                    <a:lnTo>
                      <a:pt x="1527" y="152"/>
                    </a:lnTo>
                    <a:lnTo>
                      <a:pt x="1531" y="150"/>
                    </a:lnTo>
                    <a:lnTo>
                      <a:pt x="1536" y="147"/>
                    </a:lnTo>
                    <a:lnTo>
                      <a:pt x="1542" y="149"/>
                    </a:lnTo>
                    <a:lnTo>
                      <a:pt x="1546" y="149"/>
                    </a:lnTo>
                    <a:lnTo>
                      <a:pt x="1555" y="141"/>
                    </a:lnTo>
                    <a:lnTo>
                      <a:pt x="1560" y="140"/>
                    </a:lnTo>
                    <a:lnTo>
                      <a:pt x="1567" y="144"/>
                    </a:lnTo>
                    <a:lnTo>
                      <a:pt x="1570" y="146"/>
                    </a:lnTo>
                    <a:lnTo>
                      <a:pt x="1576" y="146"/>
                    </a:lnTo>
                    <a:lnTo>
                      <a:pt x="1582" y="143"/>
                    </a:lnTo>
                    <a:lnTo>
                      <a:pt x="1588" y="140"/>
                    </a:lnTo>
                    <a:lnTo>
                      <a:pt x="1593" y="137"/>
                    </a:lnTo>
                    <a:lnTo>
                      <a:pt x="1605" y="135"/>
                    </a:lnTo>
                    <a:lnTo>
                      <a:pt x="1614" y="132"/>
                    </a:lnTo>
                    <a:lnTo>
                      <a:pt x="1621" y="131"/>
                    </a:lnTo>
                    <a:lnTo>
                      <a:pt x="1626" y="128"/>
                    </a:lnTo>
                    <a:lnTo>
                      <a:pt x="1630" y="126"/>
                    </a:lnTo>
                    <a:lnTo>
                      <a:pt x="1632" y="128"/>
                    </a:lnTo>
                    <a:lnTo>
                      <a:pt x="1632" y="131"/>
                    </a:lnTo>
                    <a:lnTo>
                      <a:pt x="1636" y="132"/>
                    </a:lnTo>
                    <a:lnTo>
                      <a:pt x="1639" y="131"/>
                    </a:lnTo>
                    <a:lnTo>
                      <a:pt x="1642" y="134"/>
                    </a:lnTo>
                    <a:lnTo>
                      <a:pt x="1647" y="132"/>
                    </a:lnTo>
                    <a:lnTo>
                      <a:pt x="1651" y="132"/>
                    </a:lnTo>
                    <a:lnTo>
                      <a:pt x="1653" y="135"/>
                    </a:lnTo>
                    <a:lnTo>
                      <a:pt x="1654" y="138"/>
                    </a:lnTo>
                    <a:lnTo>
                      <a:pt x="1657" y="141"/>
                    </a:lnTo>
                    <a:lnTo>
                      <a:pt x="1659" y="146"/>
                    </a:lnTo>
                    <a:lnTo>
                      <a:pt x="1663" y="149"/>
                    </a:lnTo>
                    <a:lnTo>
                      <a:pt x="1672" y="153"/>
                    </a:lnTo>
                    <a:lnTo>
                      <a:pt x="1678" y="155"/>
                    </a:lnTo>
                    <a:lnTo>
                      <a:pt x="1684" y="155"/>
                    </a:lnTo>
                    <a:lnTo>
                      <a:pt x="1687" y="153"/>
                    </a:lnTo>
                    <a:lnTo>
                      <a:pt x="1693" y="158"/>
                    </a:lnTo>
                    <a:lnTo>
                      <a:pt x="1695" y="165"/>
                    </a:lnTo>
                    <a:lnTo>
                      <a:pt x="1698" y="165"/>
                    </a:lnTo>
                    <a:lnTo>
                      <a:pt x="1704" y="164"/>
                    </a:lnTo>
                    <a:lnTo>
                      <a:pt x="1710" y="161"/>
                    </a:lnTo>
                    <a:lnTo>
                      <a:pt x="1708" y="155"/>
                    </a:lnTo>
                    <a:lnTo>
                      <a:pt x="1711" y="152"/>
                    </a:lnTo>
                    <a:lnTo>
                      <a:pt x="1717" y="146"/>
                    </a:lnTo>
                    <a:lnTo>
                      <a:pt x="1720" y="141"/>
                    </a:lnTo>
                    <a:lnTo>
                      <a:pt x="1725" y="140"/>
                    </a:lnTo>
                    <a:lnTo>
                      <a:pt x="1729" y="137"/>
                    </a:lnTo>
                    <a:lnTo>
                      <a:pt x="1734" y="134"/>
                    </a:lnTo>
                    <a:lnTo>
                      <a:pt x="1732" y="129"/>
                    </a:lnTo>
                    <a:lnTo>
                      <a:pt x="1731" y="125"/>
                    </a:lnTo>
                    <a:lnTo>
                      <a:pt x="1732" y="119"/>
                    </a:lnTo>
                    <a:lnTo>
                      <a:pt x="1734" y="116"/>
                    </a:lnTo>
                    <a:lnTo>
                      <a:pt x="1738" y="108"/>
                    </a:lnTo>
                    <a:lnTo>
                      <a:pt x="1738" y="104"/>
                    </a:lnTo>
                    <a:lnTo>
                      <a:pt x="1738" y="99"/>
                    </a:lnTo>
                    <a:lnTo>
                      <a:pt x="1741" y="95"/>
                    </a:lnTo>
                    <a:lnTo>
                      <a:pt x="1746" y="86"/>
                    </a:lnTo>
                    <a:lnTo>
                      <a:pt x="1749" y="84"/>
                    </a:lnTo>
                    <a:lnTo>
                      <a:pt x="1752" y="78"/>
                    </a:lnTo>
                    <a:lnTo>
                      <a:pt x="1755" y="75"/>
                    </a:lnTo>
                    <a:lnTo>
                      <a:pt x="1753" y="68"/>
                    </a:lnTo>
                    <a:lnTo>
                      <a:pt x="1756" y="59"/>
                    </a:lnTo>
                    <a:lnTo>
                      <a:pt x="1762" y="51"/>
                    </a:lnTo>
                    <a:lnTo>
                      <a:pt x="1770" y="48"/>
                    </a:lnTo>
                    <a:lnTo>
                      <a:pt x="1770" y="45"/>
                    </a:lnTo>
                    <a:lnTo>
                      <a:pt x="1776" y="39"/>
                    </a:lnTo>
                    <a:lnTo>
                      <a:pt x="1777" y="33"/>
                    </a:lnTo>
                    <a:lnTo>
                      <a:pt x="1776" y="29"/>
                    </a:lnTo>
                    <a:lnTo>
                      <a:pt x="1776" y="27"/>
                    </a:lnTo>
                    <a:lnTo>
                      <a:pt x="1779" y="27"/>
                    </a:lnTo>
                    <a:lnTo>
                      <a:pt x="1791" y="30"/>
                    </a:lnTo>
                    <a:lnTo>
                      <a:pt x="1803" y="35"/>
                    </a:lnTo>
                    <a:lnTo>
                      <a:pt x="1809" y="35"/>
                    </a:lnTo>
                    <a:lnTo>
                      <a:pt x="1815" y="32"/>
                    </a:lnTo>
                    <a:lnTo>
                      <a:pt x="1822" y="30"/>
                    </a:lnTo>
                    <a:lnTo>
                      <a:pt x="1824" y="30"/>
                    </a:lnTo>
                    <a:lnTo>
                      <a:pt x="1821" y="26"/>
                    </a:lnTo>
                    <a:lnTo>
                      <a:pt x="1822" y="23"/>
                    </a:lnTo>
                    <a:lnTo>
                      <a:pt x="1824" y="23"/>
                    </a:lnTo>
                    <a:lnTo>
                      <a:pt x="1827" y="23"/>
                    </a:lnTo>
                    <a:lnTo>
                      <a:pt x="1830" y="23"/>
                    </a:lnTo>
                    <a:lnTo>
                      <a:pt x="1831" y="23"/>
                    </a:lnTo>
                    <a:lnTo>
                      <a:pt x="1833" y="26"/>
                    </a:lnTo>
                    <a:lnTo>
                      <a:pt x="1836" y="27"/>
                    </a:lnTo>
                    <a:lnTo>
                      <a:pt x="1840" y="27"/>
                    </a:lnTo>
                    <a:lnTo>
                      <a:pt x="1845" y="27"/>
                    </a:lnTo>
                    <a:lnTo>
                      <a:pt x="1851" y="24"/>
                    </a:lnTo>
                    <a:lnTo>
                      <a:pt x="1854" y="26"/>
                    </a:lnTo>
                    <a:lnTo>
                      <a:pt x="1852" y="30"/>
                    </a:lnTo>
                    <a:lnTo>
                      <a:pt x="1852" y="35"/>
                    </a:lnTo>
                    <a:lnTo>
                      <a:pt x="1852" y="38"/>
                    </a:lnTo>
                    <a:lnTo>
                      <a:pt x="1854" y="38"/>
                    </a:lnTo>
                    <a:lnTo>
                      <a:pt x="1857" y="36"/>
                    </a:lnTo>
                    <a:lnTo>
                      <a:pt x="1861" y="33"/>
                    </a:lnTo>
                    <a:lnTo>
                      <a:pt x="1869" y="33"/>
                    </a:lnTo>
                    <a:lnTo>
                      <a:pt x="1872" y="35"/>
                    </a:lnTo>
                    <a:lnTo>
                      <a:pt x="1875" y="35"/>
                    </a:lnTo>
                    <a:lnTo>
                      <a:pt x="1879" y="33"/>
                    </a:lnTo>
                    <a:lnTo>
                      <a:pt x="1884" y="30"/>
                    </a:lnTo>
                    <a:lnTo>
                      <a:pt x="1888" y="26"/>
                    </a:lnTo>
                    <a:lnTo>
                      <a:pt x="1893" y="21"/>
                    </a:lnTo>
                    <a:lnTo>
                      <a:pt x="1900" y="20"/>
                    </a:lnTo>
                    <a:lnTo>
                      <a:pt x="1900" y="14"/>
                    </a:lnTo>
                    <a:lnTo>
                      <a:pt x="1902" y="12"/>
                    </a:lnTo>
                    <a:lnTo>
                      <a:pt x="1906" y="12"/>
                    </a:lnTo>
                    <a:lnTo>
                      <a:pt x="1911" y="17"/>
                    </a:lnTo>
                    <a:lnTo>
                      <a:pt x="1917" y="21"/>
                    </a:lnTo>
                    <a:lnTo>
                      <a:pt x="1923" y="24"/>
                    </a:lnTo>
                    <a:lnTo>
                      <a:pt x="1929" y="27"/>
                    </a:lnTo>
                    <a:lnTo>
                      <a:pt x="1933" y="33"/>
                    </a:lnTo>
                    <a:lnTo>
                      <a:pt x="1939" y="35"/>
                    </a:lnTo>
                    <a:lnTo>
                      <a:pt x="1942" y="38"/>
                    </a:lnTo>
                    <a:lnTo>
                      <a:pt x="1947" y="38"/>
                    </a:lnTo>
                    <a:lnTo>
                      <a:pt x="1950" y="44"/>
                    </a:lnTo>
                    <a:lnTo>
                      <a:pt x="1951" y="47"/>
                    </a:lnTo>
                    <a:lnTo>
                      <a:pt x="1956" y="47"/>
                    </a:lnTo>
                    <a:lnTo>
                      <a:pt x="1962" y="48"/>
                    </a:lnTo>
                    <a:lnTo>
                      <a:pt x="1963" y="44"/>
                    </a:lnTo>
                    <a:lnTo>
                      <a:pt x="1971" y="36"/>
                    </a:lnTo>
                    <a:lnTo>
                      <a:pt x="1974" y="32"/>
                    </a:lnTo>
                    <a:lnTo>
                      <a:pt x="1981" y="32"/>
                    </a:lnTo>
                    <a:lnTo>
                      <a:pt x="1986" y="35"/>
                    </a:lnTo>
                    <a:lnTo>
                      <a:pt x="1990" y="35"/>
                    </a:lnTo>
                    <a:lnTo>
                      <a:pt x="1995" y="36"/>
                    </a:lnTo>
                    <a:lnTo>
                      <a:pt x="1998" y="39"/>
                    </a:lnTo>
                    <a:lnTo>
                      <a:pt x="2002" y="39"/>
                    </a:lnTo>
                    <a:lnTo>
                      <a:pt x="2005" y="35"/>
                    </a:lnTo>
                    <a:lnTo>
                      <a:pt x="2008" y="29"/>
                    </a:lnTo>
                    <a:lnTo>
                      <a:pt x="2011" y="26"/>
                    </a:lnTo>
                    <a:lnTo>
                      <a:pt x="2011" y="21"/>
                    </a:lnTo>
                    <a:lnTo>
                      <a:pt x="2014" y="20"/>
                    </a:lnTo>
                    <a:lnTo>
                      <a:pt x="2017" y="23"/>
                    </a:lnTo>
                    <a:lnTo>
                      <a:pt x="2022" y="24"/>
                    </a:lnTo>
                    <a:lnTo>
                      <a:pt x="2026" y="24"/>
                    </a:lnTo>
                    <a:lnTo>
                      <a:pt x="2026" y="27"/>
                    </a:lnTo>
                    <a:lnTo>
                      <a:pt x="2025" y="30"/>
                    </a:lnTo>
                    <a:lnTo>
                      <a:pt x="2025" y="32"/>
                    </a:lnTo>
                    <a:lnTo>
                      <a:pt x="2029" y="35"/>
                    </a:lnTo>
                    <a:lnTo>
                      <a:pt x="2034" y="38"/>
                    </a:lnTo>
                    <a:lnTo>
                      <a:pt x="2038" y="38"/>
                    </a:lnTo>
                    <a:lnTo>
                      <a:pt x="2041" y="41"/>
                    </a:lnTo>
                    <a:lnTo>
                      <a:pt x="2041" y="42"/>
                    </a:lnTo>
                    <a:lnTo>
                      <a:pt x="2043" y="45"/>
                    </a:lnTo>
                    <a:lnTo>
                      <a:pt x="2046" y="45"/>
                    </a:lnTo>
                    <a:lnTo>
                      <a:pt x="2047" y="48"/>
                    </a:lnTo>
                    <a:lnTo>
                      <a:pt x="2047" y="51"/>
                    </a:lnTo>
                    <a:lnTo>
                      <a:pt x="2049" y="56"/>
                    </a:lnTo>
                    <a:lnTo>
                      <a:pt x="2053" y="57"/>
                    </a:lnTo>
                    <a:lnTo>
                      <a:pt x="2058" y="56"/>
                    </a:lnTo>
                    <a:lnTo>
                      <a:pt x="2059" y="54"/>
                    </a:lnTo>
                    <a:lnTo>
                      <a:pt x="2068" y="54"/>
                    </a:lnTo>
                    <a:lnTo>
                      <a:pt x="2070" y="53"/>
                    </a:lnTo>
                    <a:lnTo>
                      <a:pt x="2074" y="57"/>
                    </a:lnTo>
                    <a:lnTo>
                      <a:pt x="2077" y="59"/>
                    </a:lnTo>
                    <a:lnTo>
                      <a:pt x="2079" y="63"/>
                    </a:lnTo>
                    <a:lnTo>
                      <a:pt x="2080" y="63"/>
                    </a:lnTo>
                    <a:lnTo>
                      <a:pt x="2083" y="63"/>
                    </a:lnTo>
                    <a:lnTo>
                      <a:pt x="2088" y="66"/>
                    </a:lnTo>
                    <a:lnTo>
                      <a:pt x="2091" y="66"/>
                    </a:lnTo>
                    <a:lnTo>
                      <a:pt x="2094" y="68"/>
                    </a:lnTo>
                    <a:lnTo>
                      <a:pt x="2104" y="71"/>
                    </a:lnTo>
                    <a:lnTo>
                      <a:pt x="2110" y="75"/>
                    </a:lnTo>
                    <a:lnTo>
                      <a:pt x="2115" y="78"/>
                    </a:lnTo>
                    <a:lnTo>
                      <a:pt x="2118" y="80"/>
                    </a:lnTo>
                    <a:lnTo>
                      <a:pt x="2119" y="83"/>
                    </a:lnTo>
                    <a:lnTo>
                      <a:pt x="2118" y="86"/>
                    </a:lnTo>
                    <a:lnTo>
                      <a:pt x="2124" y="89"/>
                    </a:lnTo>
                    <a:lnTo>
                      <a:pt x="2127" y="93"/>
                    </a:lnTo>
                    <a:lnTo>
                      <a:pt x="2131" y="93"/>
                    </a:lnTo>
                    <a:lnTo>
                      <a:pt x="2137" y="96"/>
                    </a:lnTo>
                    <a:lnTo>
                      <a:pt x="2139" y="98"/>
                    </a:lnTo>
                    <a:lnTo>
                      <a:pt x="2146" y="99"/>
                    </a:lnTo>
                    <a:lnTo>
                      <a:pt x="2154" y="101"/>
                    </a:lnTo>
                    <a:lnTo>
                      <a:pt x="2164" y="105"/>
                    </a:lnTo>
                    <a:lnTo>
                      <a:pt x="2167" y="105"/>
                    </a:lnTo>
                    <a:lnTo>
                      <a:pt x="2170" y="108"/>
                    </a:lnTo>
                    <a:lnTo>
                      <a:pt x="2173" y="110"/>
                    </a:lnTo>
                    <a:lnTo>
                      <a:pt x="2179" y="113"/>
                    </a:lnTo>
                    <a:lnTo>
                      <a:pt x="2187" y="114"/>
                    </a:lnTo>
                    <a:lnTo>
                      <a:pt x="2196" y="114"/>
                    </a:lnTo>
                    <a:lnTo>
                      <a:pt x="2203" y="114"/>
                    </a:lnTo>
                    <a:lnTo>
                      <a:pt x="2212" y="113"/>
                    </a:lnTo>
                    <a:lnTo>
                      <a:pt x="2218" y="114"/>
                    </a:lnTo>
                    <a:lnTo>
                      <a:pt x="2221" y="117"/>
                    </a:lnTo>
                    <a:lnTo>
                      <a:pt x="2223" y="123"/>
                    </a:lnTo>
                    <a:lnTo>
                      <a:pt x="2226" y="125"/>
                    </a:lnTo>
                    <a:lnTo>
                      <a:pt x="2230" y="122"/>
                    </a:lnTo>
                    <a:lnTo>
                      <a:pt x="2235" y="117"/>
                    </a:lnTo>
                    <a:lnTo>
                      <a:pt x="2242" y="116"/>
                    </a:lnTo>
                    <a:lnTo>
                      <a:pt x="2247" y="120"/>
                    </a:lnTo>
                    <a:lnTo>
                      <a:pt x="2250" y="125"/>
                    </a:lnTo>
                    <a:lnTo>
                      <a:pt x="2248" y="128"/>
                    </a:lnTo>
                    <a:lnTo>
                      <a:pt x="2239" y="129"/>
                    </a:lnTo>
                    <a:lnTo>
                      <a:pt x="2233" y="132"/>
                    </a:lnTo>
                    <a:lnTo>
                      <a:pt x="2224" y="135"/>
                    </a:lnTo>
                    <a:lnTo>
                      <a:pt x="2220" y="141"/>
                    </a:lnTo>
                    <a:lnTo>
                      <a:pt x="2215" y="147"/>
                    </a:lnTo>
                    <a:lnTo>
                      <a:pt x="2212" y="152"/>
                    </a:lnTo>
                    <a:lnTo>
                      <a:pt x="2211" y="158"/>
                    </a:lnTo>
                    <a:lnTo>
                      <a:pt x="2206" y="165"/>
                    </a:lnTo>
                    <a:lnTo>
                      <a:pt x="2202" y="173"/>
                    </a:lnTo>
                    <a:lnTo>
                      <a:pt x="2197" y="176"/>
                    </a:lnTo>
                    <a:lnTo>
                      <a:pt x="2196" y="180"/>
                    </a:lnTo>
                    <a:lnTo>
                      <a:pt x="2193" y="185"/>
                    </a:lnTo>
                    <a:lnTo>
                      <a:pt x="2187" y="191"/>
                    </a:lnTo>
                    <a:lnTo>
                      <a:pt x="2185" y="197"/>
                    </a:lnTo>
                    <a:lnTo>
                      <a:pt x="2184" y="200"/>
                    </a:lnTo>
                    <a:lnTo>
                      <a:pt x="2181" y="204"/>
                    </a:lnTo>
                    <a:lnTo>
                      <a:pt x="2179" y="206"/>
                    </a:lnTo>
                    <a:lnTo>
                      <a:pt x="2172" y="218"/>
                    </a:lnTo>
                    <a:lnTo>
                      <a:pt x="2169" y="231"/>
                    </a:lnTo>
                    <a:lnTo>
                      <a:pt x="2163" y="242"/>
                    </a:lnTo>
                    <a:lnTo>
                      <a:pt x="2160" y="254"/>
                    </a:lnTo>
                    <a:lnTo>
                      <a:pt x="2155" y="264"/>
                    </a:lnTo>
                    <a:lnTo>
                      <a:pt x="2152" y="276"/>
                    </a:lnTo>
                    <a:lnTo>
                      <a:pt x="2154" y="287"/>
                    </a:lnTo>
                    <a:lnTo>
                      <a:pt x="2151" y="288"/>
                    </a:lnTo>
                    <a:lnTo>
                      <a:pt x="2151" y="297"/>
                    </a:lnTo>
                    <a:lnTo>
                      <a:pt x="2146" y="306"/>
                    </a:lnTo>
                    <a:lnTo>
                      <a:pt x="2140" y="315"/>
                    </a:lnTo>
                    <a:lnTo>
                      <a:pt x="2136" y="321"/>
                    </a:lnTo>
                    <a:lnTo>
                      <a:pt x="2127" y="330"/>
                    </a:lnTo>
                    <a:lnTo>
                      <a:pt x="2115" y="335"/>
                    </a:lnTo>
                    <a:lnTo>
                      <a:pt x="2106" y="332"/>
                    </a:lnTo>
                    <a:lnTo>
                      <a:pt x="2098" y="333"/>
                    </a:lnTo>
                    <a:lnTo>
                      <a:pt x="2092" y="339"/>
                    </a:lnTo>
                    <a:lnTo>
                      <a:pt x="2089" y="348"/>
                    </a:lnTo>
                    <a:lnTo>
                      <a:pt x="2086" y="357"/>
                    </a:lnTo>
                    <a:lnTo>
                      <a:pt x="2085" y="363"/>
                    </a:lnTo>
                    <a:lnTo>
                      <a:pt x="2079" y="366"/>
                    </a:lnTo>
                    <a:lnTo>
                      <a:pt x="2073" y="368"/>
                    </a:lnTo>
                    <a:lnTo>
                      <a:pt x="2061" y="366"/>
                    </a:lnTo>
                    <a:lnTo>
                      <a:pt x="2056" y="366"/>
                    </a:lnTo>
                    <a:lnTo>
                      <a:pt x="2049" y="366"/>
                    </a:lnTo>
                    <a:lnTo>
                      <a:pt x="2043" y="374"/>
                    </a:lnTo>
                    <a:lnTo>
                      <a:pt x="2041" y="378"/>
                    </a:lnTo>
                    <a:lnTo>
                      <a:pt x="2041" y="384"/>
                    </a:lnTo>
                    <a:lnTo>
                      <a:pt x="2041" y="393"/>
                    </a:lnTo>
                    <a:lnTo>
                      <a:pt x="2041" y="401"/>
                    </a:lnTo>
                    <a:lnTo>
                      <a:pt x="2040" y="408"/>
                    </a:lnTo>
                    <a:lnTo>
                      <a:pt x="2035" y="414"/>
                    </a:lnTo>
                    <a:lnTo>
                      <a:pt x="2029" y="422"/>
                    </a:lnTo>
                    <a:lnTo>
                      <a:pt x="2025" y="428"/>
                    </a:lnTo>
                    <a:lnTo>
                      <a:pt x="2019" y="434"/>
                    </a:lnTo>
                    <a:lnTo>
                      <a:pt x="2013" y="443"/>
                    </a:lnTo>
                    <a:lnTo>
                      <a:pt x="2008" y="447"/>
                    </a:lnTo>
                    <a:lnTo>
                      <a:pt x="2004" y="453"/>
                    </a:lnTo>
                    <a:lnTo>
                      <a:pt x="1999" y="459"/>
                    </a:lnTo>
                    <a:lnTo>
                      <a:pt x="1995" y="465"/>
                    </a:lnTo>
                    <a:lnTo>
                      <a:pt x="1989" y="471"/>
                    </a:lnTo>
                    <a:lnTo>
                      <a:pt x="1987" y="474"/>
                    </a:lnTo>
                    <a:lnTo>
                      <a:pt x="1983" y="477"/>
                    </a:lnTo>
                    <a:lnTo>
                      <a:pt x="1978" y="480"/>
                    </a:lnTo>
                    <a:lnTo>
                      <a:pt x="1975" y="483"/>
                    </a:lnTo>
                    <a:lnTo>
                      <a:pt x="1969" y="486"/>
                    </a:lnTo>
                    <a:lnTo>
                      <a:pt x="1963" y="489"/>
                    </a:lnTo>
                    <a:lnTo>
                      <a:pt x="1959" y="492"/>
                    </a:lnTo>
                    <a:lnTo>
                      <a:pt x="1953" y="495"/>
                    </a:lnTo>
                    <a:lnTo>
                      <a:pt x="1948" y="495"/>
                    </a:lnTo>
                    <a:lnTo>
                      <a:pt x="1941" y="501"/>
                    </a:lnTo>
                    <a:lnTo>
                      <a:pt x="1938" y="506"/>
                    </a:lnTo>
                    <a:lnTo>
                      <a:pt x="1936" y="510"/>
                    </a:lnTo>
                    <a:lnTo>
                      <a:pt x="1935" y="515"/>
                    </a:lnTo>
                    <a:lnTo>
                      <a:pt x="1930" y="536"/>
                    </a:lnTo>
                    <a:lnTo>
                      <a:pt x="1912" y="558"/>
                    </a:lnTo>
                    <a:lnTo>
                      <a:pt x="1909" y="575"/>
                    </a:lnTo>
                    <a:lnTo>
                      <a:pt x="1914" y="635"/>
                    </a:lnTo>
                    <a:lnTo>
                      <a:pt x="1911" y="654"/>
                    </a:lnTo>
                    <a:lnTo>
                      <a:pt x="1905" y="666"/>
                    </a:lnTo>
                    <a:lnTo>
                      <a:pt x="1887" y="678"/>
                    </a:lnTo>
                    <a:lnTo>
                      <a:pt x="1884" y="684"/>
                    </a:lnTo>
                    <a:lnTo>
                      <a:pt x="1884" y="690"/>
                    </a:lnTo>
                    <a:lnTo>
                      <a:pt x="1884" y="699"/>
                    </a:lnTo>
                    <a:lnTo>
                      <a:pt x="1884" y="702"/>
                    </a:lnTo>
                    <a:lnTo>
                      <a:pt x="1882" y="704"/>
                    </a:lnTo>
                    <a:lnTo>
                      <a:pt x="1882" y="714"/>
                    </a:lnTo>
                    <a:lnTo>
                      <a:pt x="1881" y="722"/>
                    </a:lnTo>
                    <a:lnTo>
                      <a:pt x="1876" y="734"/>
                    </a:lnTo>
                    <a:lnTo>
                      <a:pt x="1873" y="746"/>
                    </a:lnTo>
                    <a:lnTo>
                      <a:pt x="1864" y="759"/>
                    </a:lnTo>
                    <a:lnTo>
                      <a:pt x="1861" y="771"/>
                    </a:lnTo>
                    <a:lnTo>
                      <a:pt x="1858" y="776"/>
                    </a:lnTo>
                    <a:lnTo>
                      <a:pt x="1858" y="779"/>
                    </a:lnTo>
                    <a:lnTo>
                      <a:pt x="1857" y="785"/>
                    </a:lnTo>
                    <a:lnTo>
                      <a:pt x="1855" y="795"/>
                    </a:lnTo>
                    <a:lnTo>
                      <a:pt x="1854" y="803"/>
                    </a:lnTo>
                    <a:lnTo>
                      <a:pt x="1855" y="815"/>
                    </a:lnTo>
                    <a:lnTo>
                      <a:pt x="1858" y="827"/>
                    </a:lnTo>
                    <a:lnTo>
                      <a:pt x="1866" y="852"/>
                    </a:lnTo>
                    <a:lnTo>
                      <a:pt x="1867" y="858"/>
                    </a:lnTo>
                    <a:lnTo>
                      <a:pt x="1867" y="863"/>
                    </a:lnTo>
                    <a:lnTo>
                      <a:pt x="1864" y="875"/>
                    </a:lnTo>
                    <a:lnTo>
                      <a:pt x="1854" y="882"/>
                    </a:lnTo>
                    <a:lnTo>
                      <a:pt x="1843" y="885"/>
                    </a:lnTo>
                    <a:lnTo>
                      <a:pt x="1834" y="888"/>
                    </a:lnTo>
                    <a:lnTo>
                      <a:pt x="1825" y="897"/>
                    </a:lnTo>
                    <a:lnTo>
                      <a:pt x="1824" y="908"/>
                    </a:lnTo>
                    <a:lnTo>
                      <a:pt x="1821" y="924"/>
                    </a:lnTo>
                    <a:lnTo>
                      <a:pt x="1816" y="942"/>
                    </a:lnTo>
                    <a:lnTo>
                      <a:pt x="1815" y="947"/>
                    </a:lnTo>
                    <a:lnTo>
                      <a:pt x="1815" y="950"/>
                    </a:lnTo>
                    <a:lnTo>
                      <a:pt x="1804" y="990"/>
                    </a:lnTo>
                    <a:lnTo>
                      <a:pt x="1783" y="1008"/>
                    </a:lnTo>
                    <a:lnTo>
                      <a:pt x="1783" y="1011"/>
                    </a:lnTo>
                    <a:lnTo>
                      <a:pt x="1782" y="1017"/>
                    </a:lnTo>
                    <a:lnTo>
                      <a:pt x="1777" y="1032"/>
                    </a:lnTo>
                    <a:lnTo>
                      <a:pt x="1776" y="1035"/>
                    </a:lnTo>
                    <a:lnTo>
                      <a:pt x="1773" y="1038"/>
                    </a:lnTo>
                    <a:lnTo>
                      <a:pt x="1768" y="1043"/>
                    </a:lnTo>
                    <a:lnTo>
                      <a:pt x="1765" y="1046"/>
                    </a:lnTo>
                    <a:lnTo>
                      <a:pt x="1761" y="1049"/>
                    </a:lnTo>
                    <a:lnTo>
                      <a:pt x="1759" y="1053"/>
                    </a:lnTo>
                    <a:lnTo>
                      <a:pt x="1750" y="1061"/>
                    </a:lnTo>
                    <a:lnTo>
                      <a:pt x="1743" y="1071"/>
                    </a:lnTo>
                    <a:lnTo>
                      <a:pt x="1738" y="1083"/>
                    </a:lnTo>
                    <a:lnTo>
                      <a:pt x="1734" y="1097"/>
                    </a:lnTo>
                    <a:lnTo>
                      <a:pt x="1729" y="1104"/>
                    </a:lnTo>
                    <a:lnTo>
                      <a:pt x="1728" y="1110"/>
                    </a:lnTo>
                    <a:lnTo>
                      <a:pt x="1728" y="1119"/>
                    </a:lnTo>
                    <a:lnTo>
                      <a:pt x="1731" y="1127"/>
                    </a:lnTo>
                    <a:lnTo>
                      <a:pt x="1731" y="1133"/>
                    </a:lnTo>
                    <a:lnTo>
                      <a:pt x="1731" y="1140"/>
                    </a:lnTo>
                    <a:lnTo>
                      <a:pt x="1728" y="1146"/>
                    </a:lnTo>
                    <a:lnTo>
                      <a:pt x="1726" y="1149"/>
                    </a:lnTo>
                    <a:lnTo>
                      <a:pt x="1725" y="1157"/>
                    </a:lnTo>
                    <a:lnTo>
                      <a:pt x="1726" y="1163"/>
                    </a:lnTo>
                    <a:lnTo>
                      <a:pt x="1726" y="1170"/>
                    </a:lnTo>
                    <a:lnTo>
                      <a:pt x="1728" y="1175"/>
                    </a:lnTo>
                    <a:lnTo>
                      <a:pt x="1728" y="1179"/>
                    </a:lnTo>
                    <a:lnTo>
                      <a:pt x="1728" y="1191"/>
                    </a:lnTo>
                    <a:lnTo>
                      <a:pt x="1725" y="1203"/>
                    </a:lnTo>
                    <a:lnTo>
                      <a:pt x="1725" y="1208"/>
                    </a:lnTo>
                    <a:lnTo>
                      <a:pt x="1726" y="1215"/>
                    </a:lnTo>
                    <a:lnTo>
                      <a:pt x="1729" y="1224"/>
                    </a:lnTo>
                    <a:lnTo>
                      <a:pt x="1741" y="1238"/>
                    </a:lnTo>
                    <a:lnTo>
                      <a:pt x="1750" y="1248"/>
                    </a:lnTo>
                    <a:lnTo>
                      <a:pt x="1756" y="1256"/>
                    </a:lnTo>
                    <a:lnTo>
                      <a:pt x="1759" y="1269"/>
                    </a:lnTo>
                    <a:lnTo>
                      <a:pt x="1762" y="1278"/>
                    </a:lnTo>
                    <a:lnTo>
                      <a:pt x="1755" y="1293"/>
                    </a:lnTo>
                    <a:lnTo>
                      <a:pt x="1749" y="1304"/>
                    </a:lnTo>
                    <a:lnTo>
                      <a:pt x="1734" y="1329"/>
                    </a:lnTo>
                    <a:lnTo>
                      <a:pt x="1731" y="1341"/>
                    </a:lnTo>
                    <a:lnTo>
                      <a:pt x="1722" y="1368"/>
                    </a:lnTo>
                    <a:lnTo>
                      <a:pt x="1719" y="1379"/>
                    </a:lnTo>
                    <a:lnTo>
                      <a:pt x="1713" y="1389"/>
                    </a:lnTo>
                    <a:lnTo>
                      <a:pt x="1714" y="1403"/>
                    </a:lnTo>
                    <a:lnTo>
                      <a:pt x="1716" y="1418"/>
                    </a:lnTo>
                    <a:lnTo>
                      <a:pt x="1723" y="1421"/>
                    </a:lnTo>
                    <a:lnTo>
                      <a:pt x="1707" y="1466"/>
                    </a:lnTo>
                    <a:lnTo>
                      <a:pt x="1702" y="1479"/>
                    </a:lnTo>
                    <a:lnTo>
                      <a:pt x="1693" y="1494"/>
                    </a:lnTo>
                    <a:lnTo>
                      <a:pt x="1693" y="1520"/>
                    </a:lnTo>
                    <a:lnTo>
                      <a:pt x="1699" y="1536"/>
                    </a:lnTo>
                    <a:lnTo>
                      <a:pt x="1705" y="1554"/>
                    </a:lnTo>
                    <a:lnTo>
                      <a:pt x="1702" y="1568"/>
                    </a:lnTo>
                    <a:lnTo>
                      <a:pt x="1695" y="1577"/>
                    </a:lnTo>
                    <a:lnTo>
                      <a:pt x="1681" y="1589"/>
                    </a:lnTo>
                    <a:lnTo>
                      <a:pt x="1684" y="1596"/>
                    </a:lnTo>
                    <a:lnTo>
                      <a:pt x="1683" y="1610"/>
                    </a:lnTo>
                    <a:lnTo>
                      <a:pt x="1684" y="1628"/>
                    </a:lnTo>
                    <a:lnTo>
                      <a:pt x="1702" y="1649"/>
                    </a:lnTo>
                    <a:lnTo>
                      <a:pt x="1726" y="1668"/>
                    </a:lnTo>
                    <a:lnTo>
                      <a:pt x="1717" y="1682"/>
                    </a:lnTo>
                    <a:lnTo>
                      <a:pt x="1729" y="1694"/>
                    </a:lnTo>
                    <a:lnTo>
                      <a:pt x="1741" y="1701"/>
                    </a:lnTo>
                    <a:lnTo>
                      <a:pt x="1744" y="1715"/>
                    </a:lnTo>
                    <a:lnTo>
                      <a:pt x="1740" y="1737"/>
                    </a:lnTo>
                    <a:lnTo>
                      <a:pt x="1729" y="1736"/>
                    </a:lnTo>
                    <a:lnTo>
                      <a:pt x="1731" y="1739"/>
                    </a:lnTo>
                    <a:lnTo>
                      <a:pt x="1723" y="1739"/>
                    </a:lnTo>
                    <a:lnTo>
                      <a:pt x="1717" y="1746"/>
                    </a:lnTo>
                    <a:lnTo>
                      <a:pt x="1719" y="1751"/>
                    </a:lnTo>
                    <a:lnTo>
                      <a:pt x="1710" y="1757"/>
                    </a:lnTo>
                    <a:lnTo>
                      <a:pt x="1707" y="1760"/>
                    </a:lnTo>
                    <a:lnTo>
                      <a:pt x="1695" y="1767"/>
                    </a:lnTo>
                    <a:lnTo>
                      <a:pt x="1687" y="1776"/>
                    </a:lnTo>
                    <a:lnTo>
                      <a:pt x="1678" y="1778"/>
                    </a:lnTo>
                    <a:lnTo>
                      <a:pt x="1675" y="1779"/>
                    </a:lnTo>
                    <a:lnTo>
                      <a:pt x="1675" y="1787"/>
                    </a:lnTo>
                    <a:lnTo>
                      <a:pt x="1675" y="1791"/>
                    </a:lnTo>
                    <a:lnTo>
                      <a:pt x="1684" y="1791"/>
                    </a:lnTo>
                    <a:lnTo>
                      <a:pt x="1687" y="1785"/>
                    </a:lnTo>
                    <a:lnTo>
                      <a:pt x="1698" y="1791"/>
                    </a:lnTo>
                    <a:lnTo>
                      <a:pt x="1693" y="1808"/>
                    </a:lnTo>
                    <a:lnTo>
                      <a:pt x="1684" y="1808"/>
                    </a:lnTo>
                    <a:lnTo>
                      <a:pt x="1678" y="1811"/>
                    </a:lnTo>
                    <a:lnTo>
                      <a:pt x="1683" y="1821"/>
                    </a:lnTo>
                    <a:lnTo>
                      <a:pt x="1681" y="1830"/>
                    </a:lnTo>
                    <a:lnTo>
                      <a:pt x="1678" y="1832"/>
                    </a:lnTo>
                    <a:lnTo>
                      <a:pt x="1665" y="1845"/>
                    </a:lnTo>
                    <a:lnTo>
                      <a:pt x="1656" y="1848"/>
                    </a:lnTo>
                    <a:lnTo>
                      <a:pt x="1636" y="1836"/>
                    </a:lnTo>
                    <a:lnTo>
                      <a:pt x="1623" y="1829"/>
                    </a:lnTo>
                    <a:lnTo>
                      <a:pt x="1614" y="1845"/>
                    </a:lnTo>
                    <a:lnTo>
                      <a:pt x="1623" y="1848"/>
                    </a:lnTo>
                    <a:lnTo>
                      <a:pt x="1639" y="1857"/>
                    </a:lnTo>
                    <a:lnTo>
                      <a:pt x="1638" y="1863"/>
                    </a:lnTo>
                    <a:lnTo>
                      <a:pt x="1620" y="1874"/>
                    </a:lnTo>
                    <a:lnTo>
                      <a:pt x="1618" y="1878"/>
                    </a:lnTo>
                    <a:lnTo>
                      <a:pt x="1611" y="1889"/>
                    </a:lnTo>
                    <a:lnTo>
                      <a:pt x="1594" y="1901"/>
                    </a:lnTo>
                    <a:close/>
                  </a:path>
                </a:pathLst>
              </a:custGeom>
              <a:solidFill>
                <a:srgbClr val="FF99CC"/>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64" name="Freeform 302">
                <a:extLst>
                  <a:ext uri="{FF2B5EF4-FFF2-40B4-BE49-F238E27FC236}">
                    <a16:creationId xmlns:a16="http://schemas.microsoft.com/office/drawing/2014/main" id="{C058A3D9-F45F-5C4C-2682-A87CE5A6B938}"/>
                  </a:ext>
                </a:extLst>
              </p:cNvPr>
              <p:cNvSpPr>
                <a:spLocks/>
              </p:cNvSpPr>
              <p:nvPr/>
            </p:nvSpPr>
            <p:spPr bwMode="auto">
              <a:xfrm>
                <a:off x="3100" y="3097"/>
                <a:ext cx="423" cy="472"/>
              </a:xfrm>
              <a:custGeom>
                <a:avLst/>
                <a:gdLst>
                  <a:gd name="T0" fmla="*/ 0 w 1268"/>
                  <a:gd name="T1" fmla="*/ 0 h 1416"/>
                  <a:gd name="T2" fmla="*/ 0 w 1268"/>
                  <a:gd name="T3" fmla="*/ 0 h 1416"/>
                  <a:gd name="T4" fmla="*/ 0 w 1268"/>
                  <a:gd name="T5" fmla="*/ 0 h 1416"/>
                  <a:gd name="T6" fmla="*/ 0 w 1268"/>
                  <a:gd name="T7" fmla="*/ 0 h 1416"/>
                  <a:gd name="T8" fmla="*/ 0 w 1268"/>
                  <a:gd name="T9" fmla="*/ 0 h 1416"/>
                  <a:gd name="T10" fmla="*/ 0 w 1268"/>
                  <a:gd name="T11" fmla="*/ 0 h 1416"/>
                  <a:gd name="T12" fmla="*/ 0 w 1268"/>
                  <a:gd name="T13" fmla="*/ 0 h 1416"/>
                  <a:gd name="T14" fmla="*/ 0 w 1268"/>
                  <a:gd name="T15" fmla="*/ 0 h 1416"/>
                  <a:gd name="T16" fmla="*/ 0 w 1268"/>
                  <a:gd name="T17" fmla="*/ 0 h 1416"/>
                  <a:gd name="T18" fmla="*/ 0 w 1268"/>
                  <a:gd name="T19" fmla="*/ 0 h 1416"/>
                  <a:gd name="T20" fmla="*/ 0 w 1268"/>
                  <a:gd name="T21" fmla="*/ 0 h 1416"/>
                  <a:gd name="T22" fmla="*/ 0 w 1268"/>
                  <a:gd name="T23" fmla="*/ 0 h 1416"/>
                  <a:gd name="T24" fmla="*/ 0 w 1268"/>
                  <a:gd name="T25" fmla="*/ 0 h 1416"/>
                  <a:gd name="T26" fmla="*/ 0 w 1268"/>
                  <a:gd name="T27" fmla="*/ 0 h 1416"/>
                  <a:gd name="T28" fmla="*/ 0 w 1268"/>
                  <a:gd name="T29" fmla="*/ 0 h 1416"/>
                  <a:gd name="T30" fmla="*/ 0 w 1268"/>
                  <a:gd name="T31" fmla="*/ 0 h 1416"/>
                  <a:gd name="T32" fmla="*/ 0 w 1268"/>
                  <a:gd name="T33" fmla="*/ 0 h 1416"/>
                  <a:gd name="T34" fmla="*/ 0 w 1268"/>
                  <a:gd name="T35" fmla="*/ 0 h 1416"/>
                  <a:gd name="T36" fmla="*/ 0 w 1268"/>
                  <a:gd name="T37" fmla="*/ 0 h 1416"/>
                  <a:gd name="T38" fmla="*/ 0 w 1268"/>
                  <a:gd name="T39" fmla="*/ 0 h 1416"/>
                  <a:gd name="T40" fmla="*/ 0 w 1268"/>
                  <a:gd name="T41" fmla="*/ 0 h 1416"/>
                  <a:gd name="T42" fmla="*/ 0 w 1268"/>
                  <a:gd name="T43" fmla="*/ 0 h 1416"/>
                  <a:gd name="T44" fmla="*/ 0 w 1268"/>
                  <a:gd name="T45" fmla="*/ 0 h 1416"/>
                  <a:gd name="T46" fmla="*/ 0 w 1268"/>
                  <a:gd name="T47" fmla="*/ 0 h 1416"/>
                  <a:gd name="T48" fmla="*/ 0 w 1268"/>
                  <a:gd name="T49" fmla="*/ 0 h 1416"/>
                  <a:gd name="T50" fmla="*/ 0 w 1268"/>
                  <a:gd name="T51" fmla="*/ 0 h 1416"/>
                  <a:gd name="T52" fmla="*/ 0 w 1268"/>
                  <a:gd name="T53" fmla="*/ 0 h 1416"/>
                  <a:gd name="T54" fmla="*/ 0 w 1268"/>
                  <a:gd name="T55" fmla="*/ 0 h 1416"/>
                  <a:gd name="T56" fmla="*/ 0 w 1268"/>
                  <a:gd name="T57" fmla="*/ 0 h 1416"/>
                  <a:gd name="T58" fmla="*/ 0 w 1268"/>
                  <a:gd name="T59" fmla="*/ 0 h 1416"/>
                  <a:gd name="T60" fmla="*/ 0 w 1268"/>
                  <a:gd name="T61" fmla="*/ 0 h 1416"/>
                  <a:gd name="T62" fmla="*/ 0 w 1268"/>
                  <a:gd name="T63" fmla="*/ 0 h 1416"/>
                  <a:gd name="T64" fmla="*/ 0 w 1268"/>
                  <a:gd name="T65" fmla="*/ 0 h 1416"/>
                  <a:gd name="T66" fmla="*/ 0 w 1268"/>
                  <a:gd name="T67" fmla="*/ 0 h 1416"/>
                  <a:gd name="T68" fmla="*/ 0 w 1268"/>
                  <a:gd name="T69" fmla="*/ 0 h 1416"/>
                  <a:gd name="T70" fmla="*/ 0 w 1268"/>
                  <a:gd name="T71" fmla="*/ 0 h 1416"/>
                  <a:gd name="T72" fmla="*/ 0 w 1268"/>
                  <a:gd name="T73" fmla="*/ 0 h 1416"/>
                  <a:gd name="T74" fmla="*/ 0 w 1268"/>
                  <a:gd name="T75" fmla="*/ 0 h 1416"/>
                  <a:gd name="T76" fmla="*/ 0 w 1268"/>
                  <a:gd name="T77" fmla="*/ 0 h 1416"/>
                  <a:gd name="T78" fmla="*/ 0 w 1268"/>
                  <a:gd name="T79" fmla="*/ 0 h 1416"/>
                  <a:gd name="T80" fmla="*/ 0 w 1268"/>
                  <a:gd name="T81" fmla="*/ 0 h 1416"/>
                  <a:gd name="T82" fmla="*/ 0 w 1268"/>
                  <a:gd name="T83" fmla="*/ 0 h 1416"/>
                  <a:gd name="T84" fmla="*/ 0 w 1268"/>
                  <a:gd name="T85" fmla="*/ 0 h 1416"/>
                  <a:gd name="T86" fmla="*/ 0 w 1268"/>
                  <a:gd name="T87" fmla="*/ 0 h 1416"/>
                  <a:gd name="T88" fmla="*/ 0 w 1268"/>
                  <a:gd name="T89" fmla="*/ 0 h 1416"/>
                  <a:gd name="T90" fmla="*/ 0 w 1268"/>
                  <a:gd name="T91" fmla="*/ 0 h 1416"/>
                  <a:gd name="T92" fmla="*/ 0 w 1268"/>
                  <a:gd name="T93" fmla="*/ 0 h 1416"/>
                  <a:gd name="T94" fmla="*/ 0 w 1268"/>
                  <a:gd name="T95" fmla="*/ 0 h 1416"/>
                  <a:gd name="T96" fmla="*/ 0 w 1268"/>
                  <a:gd name="T97" fmla="*/ 0 h 1416"/>
                  <a:gd name="T98" fmla="*/ 0 w 1268"/>
                  <a:gd name="T99" fmla="*/ 0 h 1416"/>
                  <a:gd name="T100" fmla="*/ 0 w 1268"/>
                  <a:gd name="T101" fmla="*/ 0 h 1416"/>
                  <a:gd name="T102" fmla="*/ 0 w 1268"/>
                  <a:gd name="T103" fmla="*/ 0 h 1416"/>
                  <a:gd name="T104" fmla="*/ 0 w 1268"/>
                  <a:gd name="T105" fmla="*/ 0 h 1416"/>
                  <a:gd name="T106" fmla="*/ 0 w 1268"/>
                  <a:gd name="T107" fmla="*/ 0 h 1416"/>
                  <a:gd name="T108" fmla="*/ 0 w 1268"/>
                  <a:gd name="T109" fmla="*/ 0 h 1416"/>
                  <a:gd name="T110" fmla="*/ 0 w 1268"/>
                  <a:gd name="T111" fmla="*/ 0 h 1416"/>
                  <a:gd name="T112" fmla="*/ 0 w 1268"/>
                  <a:gd name="T113" fmla="*/ 0 h 1416"/>
                  <a:gd name="T114" fmla="*/ 0 w 1268"/>
                  <a:gd name="T115" fmla="*/ 0 h 1416"/>
                  <a:gd name="T116" fmla="*/ 0 w 1268"/>
                  <a:gd name="T117" fmla="*/ 0 h 1416"/>
                  <a:gd name="T118" fmla="*/ 0 w 1268"/>
                  <a:gd name="T119" fmla="*/ 0 h 14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68" h="1416">
                    <a:moveTo>
                      <a:pt x="477" y="925"/>
                    </a:moveTo>
                    <a:lnTo>
                      <a:pt x="479" y="903"/>
                    </a:lnTo>
                    <a:lnTo>
                      <a:pt x="485" y="894"/>
                    </a:lnTo>
                    <a:lnTo>
                      <a:pt x="489" y="903"/>
                    </a:lnTo>
                    <a:lnTo>
                      <a:pt x="506" y="906"/>
                    </a:lnTo>
                    <a:lnTo>
                      <a:pt x="512" y="898"/>
                    </a:lnTo>
                    <a:lnTo>
                      <a:pt x="527" y="894"/>
                    </a:lnTo>
                    <a:lnTo>
                      <a:pt x="540" y="886"/>
                    </a:lnTo>
                    <a:lnTo>
                      <a:pt x="572" y="912"/>
                    </a:lnTo>
                    <a:lnTo>
                      <a:pt x="579" y="904"/>
                    </a:lnTo>
                    <a:lnTo>
                      <a:pt x="605" y="930"/>
                    </a:lnTo>
                    <a:lnTo>
                      <a:pt x="605" y="939"/>
                    </a:lnTo>
                    <a:lnTo>
                      <a:pt x="615" y="958"/>
                    </a:lnTo>
                    <a:lnTo>
                      <a:pt x="633" y="957"/>
                    </a:lnTo>
                    <a:lnTo>
                      <a:pt x="645" y="955"/>
                    </a:lnTo>
                    <a:lnTo>
                      <a:pt x="650" y="948"/>
                    </a:lnTo>
                    <a:lnTo>
                      <a:pt x="648" y="937"/>
                    </a:lnTo>
                    <a:lnTo>
                      <a:pt x="665" y="930"/>
                    </a:lnTo>
                    <a:lnTo>
                      <a:pt x="668" y="924"/>
                    </a:lnTo>
                    <a:lnTo>
                      <a:pt x="678" y="922"/>
                    </a:lnTo>
                    <a:lnTo>
                      <a:pt x="657" y="892"/>
                    </a:lnTo>
                    <a:lnTo>
                      <a:pt x="639" y="891"/>
                    </a:lnTo>
                    <a:lnTo>
                      <a:pt x="627" y="892"/>
                    </a:lnTo>
                    <a:lnTo>
                      <a:pt x="614" y="883"/>
                    </a:lnTo>
                    <a:lnTo>
                      <a:pt x="612" y="876"/>
                    </a:lnTo>
                    <a:lnTo>
                      <a:pt x="623" y="849"/>
                    </a:lnTo>
                    <a:lnTo>
                      <a:pt x="632" y="846"/>
                    </a:lnTo>
                    <a:lnTo>
                      <a:pt x="639" y="852"/>
                    </a:lnTo>
                    <a:lnTo>
                      <a:pt x="648" y="846"/>
                    </a:lnTo>
                    <a:lnTo>
                      <a:pt x="653" y="843"/>
                    </a:lnTo>
                    <a:lnTo>
                      <a:pt x="656" y="838"/>
                    </a:lnTo>
                    <a:lnTo>
                      <a:pt x="677" y="846"/>
                    </a:lnTo>
                    <a:lnTo>
                      <a:pt x="681" y="838"/>
                    </a:lnTo>
                    <a:lnTo>
                      <a:pt x="689" y="844"/>
                    </a:lnTo>
                    <a:lnTo>
                      <a:pt x="699" y="840"/>
                    </a:lnTo>
                    <a:lnTo>
                      <a:pt x="699" y="834"/>
                    </a:lnTo>
                    <a:lnTo>
                      <a:pt x="699" y="825"/>
                    </a:lnTo>
                    <a:lnTo>
                      <a:pt x="723" y="819"/>
                    </a:lnTo>
                    <a:lnTo>
                      <a:pt x="732" y="823"/>
                    </a:lnTo>
                    <a:lnTo>
                      <a:pt x="741" y="810"/>
                    </a:lnTo>
                    <a:lnTo>
                      <a:pt x="744" y="796"/>
                    </a:lnTo>
                    <a:lnTo>
                      <a:pt x="737" y="792"/>
                    </a:lnTo>
                    <a:lnTo>
                      <a:pt x="737" y="783"/>
                    </a:lnTo>
                    <a:lnTo>
                      <a:pt x="711" y="783"/>
                    </a:lnTo>
                    <a:lnTo>
                      <a:pt x="707" y="777"/>
                    </a:lnTo>
                    <a:lnTo>
                      <a:pt x="696" y="772"/>
                    </a:lnTo>
                    <a:lnTo>
                      <a:pt x="704" y="762"/>
                    </a:lnTo>
                    <a:lnTo>
                      <a:pt x="692" y="763"/>
                    </a:lnTo>
                    <a:lnTo>
                      <a:pt x="684" y="759"/>
                    </a:lnTo>
                    <a:lnTo>
                      <a:pt x="677" y="762"/>
                    </a:lnTo>
                    <a:lnTo>
                      <a:pt x="672" y="757"/>
                    </a:lnTo>
                    <a:lnTo>
                      <a:pt x="681" y="750"/>
                    </a:lnTo>
                    <a:lnTo>
                      <a:pt x="677" y="741"/>
                    </a:lnTo>
                    <a:lnTo>
                      <a:pt x="675" y="730"/>
                    </a:lnTo>
                    <a:lnTo>
                      <a:pt x="681" y="730"/>
                    </a:lnTo>
                    <a:lnTo>
                      <a:pt x="684" y="720"/>
                    </a:lnTo>
                    <a:lnTo>
                      <a:pt x="696" y="720"/>
                    </a:lnTo>
                    <a:lnTo>
                      <a:pt x="696" y="709"/>
                    </a:lnTo>
                    <a:lnTo>
                      <a:pt x="704" y="702"/>
                    </a:lnTo>
                    <a:lnTo>
                      <a:pt x="725" y="699"/>
                    </a:lnTo>
                    <a:lnTo>
                      <a:pt x="732" y="705"/>
                    </a:lnTo>
                    <a:lnTo>
                      <a:pt x="731" y="715"/>
                    </a:lnTo>
                    <a:lnTo>
                      <a:pt x="738" y="723"/>
                    </a:lnTo>
                    <a:lnTo>
                      <a:pt x="740" y="730"/>
                    </a:lnTo>
                    <a:lnTo>
                      <a:pt x="747" y="733"/>
                    </a:lnTo>
                    <a:lnTo>
                      <a:pt x="756" y="744"/>
                    </a:lnTo>
                    <a:lnTo>
                      <a:pt x="780" y="766"/>
                    </a:lnTo>
                    <a:lnTo>
                      <a:pt x="770" y="801"/>
                    </a:lnTo>
                    <a:lnTo>
                      <a:pt x="782" y="808"/>
                    </a:lnTo>
                    <a:lnTo>
                      <a:pt x="791" y="814"/>
                    </a:lnTo>
                    <a:lnTo>
                      <a:pt x="798" y="817"/>
                    </a:lnTo>
                    <a:lnTo>
                      <a:pt x="816" y="820"/>
                    </a:lnTo>
                    <a:lnTo>
                      <a:pt x="825" y="804"/>
                    </a:lnTo>
                    <a:lnTo>
                      <a:pt x="837" y="805"/>
                    </a:lnTo>
                    <a:lnTo>
                      <a:pt x="842" y="801"/>
                    </a:lnTo>
                    <a:lnTo>
                      <a:pt x="836" y="786"/>
                    </a:lnTo>
                    <a:lnTo>
                      <a:pt x="842" y="780"/>
                    </a:lnTo>
                    <a:lnTo>
                      <a:pt x="837" y="774"/>
                    </a:lnTo>
                    <a:lnTo>
                      <a:pt x="831" y="766"/>
                    </a:lnTo>
                    <a:lnTo>
                      <a:pt x="831" y="748"/>
                    </a:lnTo>
                    <a:lnTo>
                      <a:pt x="839" y="730"/>
                    </a:lnTo>
                    <a:lnTo>
                      <a:pt x="842" y="733"/>
                    </a:lnTo>
                    <a:lnTo>
                      <a:pt x="846" y="727"/>
                    </a:lnTo>
                    <a:lnTo>
                      <a:pt x="855" y="729"/>
                    </a:lnTo>
                    <a:lnTo>
                      <a:pt x="855" y="750"/>
                    </a:lnTo>
                    <a:lnTo>
                      <a:pt x="870" y="742"/>
                    </a:lnTo>
                    <a:lnTo>
                      <a:pt x="881" y="757"/>
                    </a:lnTo>
                    <a:lnTo>
                      <a:pt x="890" y="772"/>
                    </a:lnTo>
                    <a:lnTo>
                      <a:pt x="899" y="759"/>
                    </a:lnTo>
                    <a:lnTo>
                      <a:pt x="894" y="751"/>
                    </a:lnTo>
                    <a:lnTo>
                      <a:pt x="900" y="748"/>
                    </a:lnTo>
                    <a:lnTo>
                      <a:pt x="909" y="754"/>
                    </a:lnTo>
                    <a:lnTo>
                      <a:pt x="918" y="756"/>
                    </a:lnTo>
                    <a:lnTo>
                      <a:pt x="926" y="765"/>
                    </a:lnTo>
                    <a:lnTo>
                      <a:pt x="945" y="768"/>
                    </a:lnTo>
                    <a:lnTo>
                      <a:pt x="948" y="774"/>
                    </a:lnTo>
                    <a:lnTo>
                      <a:pt x="945" y="787"/>
                    </a:lnTo>
                    <a:lnTo>
                      <a:pt x="950" y="793"/>
                    </a:lnTo>
                    <a:lnTo>
                      <a:pt x="965" y="778"/>
                    </a:lnTo>
                    <a:lnTo>
                      <a:pt x="960" y="762"/>
                    </a:lnTo>
                    <a:lnTo>
                      <a:pt x="977" y="741"/>
                    </a:lnTo>
                    <a:lnTo>
                      <a:pt x="984" y="748"/>
                    </a:lnTo>
                    <a:lnTo>
                      <a:pt x="996" y="739"/>
                    </a:lnTo>
                    <a:lnTo>
                      <a:pt x="999" y="733"/>
                    </a:lnTo>
                    <a:lnTo>
                      <a:pt x="1004" y="717"/>
                    </a:lnTo>
                    <a:lnTo>
                      <a:pt x="1002" y="706"/>
                    </a:lnTo>
                    <a:lnTo>
                      <a:pt x="1011" y="702"/>
                    </a:lnTo>
                    <a:lnTo>
                      <a:pt x="1020" y="697"/>
                    </a:lnTo>
                    <a:lnTo>
                      <a:pt x="1013" y="681"/>
                    </a:lnTo>
                    <a:lnTo>
                      <a:pt x="1016" y="670"/>
                    </a:lnTo>
                    <a:lnTo>
                      <a:pt x="1026" y="670"/>
                    </a:lnTo>
                    <a:lnTo>
                      <a:pt x="1034" y="654"/>
                    </a:lnTo>
                    <a:lnTo>
                      <a:pt x="1037" y="649"/>
                    </a:lnTo>
                    <a:lnTo>
                      <a:pt x="1056" y="667"/>
                    </a:lnTo>
                    <a:lnTo>
                      <a:pt x="1073" y="667"/>
                    </a:lnTo>
                    <a:lnTo>
                      <a:pt x="1085" y="669"/>
                    </a:lnTo>
                    <a:lnTo>
                      <a:pt x="1076" y="621"/>
                    </a:lnTo>
                    <a:lnTo>
                      <a:pt x="1080" y="615"/>
                    </a:lnTo>
                    <a:lnTo>
                      <a:pt x="1089" y="610"/>
                    </a:lnTo>
                    <a:lnTo>
                      <a:pt x="1091" y="601"/>
                    </a:lnTo>
                    <a:lnTo>
                      <a:pt x="1092" y="583"/>
                    </a:lnTo>
                    <a:lnTo>
                      <a:pt x="1104" y="577"/>
                    </a:lnTo>
                    <a:lnTo>
                      <a:pt x="1104" y="559"/>
                    </a:lnTo>
                    <a:lnTo>
                      <a:pt x="1113" y="556"/>
                    </a:lnTo>
                    <a:lnTo>
                      <a:pt x="1115" y="547"/>
                    </a:lnTo>
                    <a:lnTo>
                      <a:pt x="1121" y="552"/>
                    </a:lnTo>
                    <a:lnTo>
                      <a:pt x="1128" y="570"/>
                    </a:lnTo>
                    <a:lnTo>
                      <a:pt x="1139" y="574"/>
                    </a:lnTo>
                    <a:lnTo>
                      <a:pt x="1146" y="580"/>
                    </a:lnTo>
                    <a:lnTo>
                      <a:pt x="1151" y="595"/>
                    </a:lnTo>
                    <a:lnTo>
                      <a:pt x="1152" y="606"/>
                    </a:lnTo>
                    <a:lnTo>
                      <a:pt x="1157" y="609"/>
                    </a:lnTo>
                    <a:lnTo>
                      <a:pt x="1161" y="601"/>
                    </a:lnTo>
                    <a:lnTo>
                      <a:pt x="1166" y="571"/>
                    </a:lnTo>
                    <a:lnTo>
                      <a:pt x="1197" y="571"/>
                    </a:lnTo>
                    <a:lnTo>
                      <a:pt x="1199" y="580"/>
                    </a:lnTo>
                    <a:lnTo>
                      <a:pt x="1202" y="580"/>
                    </a:lnTo>
                    <a:lnTo>
                      <a:pt x="1206" y="579"/>
                    </a:lnTo>
                    <a:lnTo>
                      <a:pt x="1217" y="586"/>
                    </a:lnTo>
                    <a:lnTo>
                      <a:pt x="1227" y="582"/>
                    </a:lnTo>
                    <a:lnTo>
                      <a:pt x="1241" y="577"/>
                    </a:lnTo>
                    <a:lnTo>
                      <a:pt x="1251" y="568"/>
                    </a:lnTo>
                    <a:lnTo>
                      <a:pt x="1257" y="558"/>
                    </a:lnTo>
                    <a:lnTo>
                      <a:pt x="1250" y="547"/>
                    </a:lnTo>
                    <a:lnTo>
                      <a:pt x="1242" y="546"/>
                    </a:lnTo>
                    <a:lnTo>
                      <a:pt x="1247" y="534"/>
                    </a:lnTo>
                    <a:lnTo>
                      <a:pt x="1245" y="522"/>
                    </a:lnTo>
                    <a:lnTo>
                      <a:pt x="1253" y="516"/>
                    </a:lnTo>
                    <a:lnTo>
                      <a:pt x="1262" y="513"/>
                    </a:lnTo>
                    <a:lnTo>
                      <a:pt x="1265" y="508"/>
                    </a:lnTo>
                    <a:lnTo>
                      <a:pt x="1266" y="501"/>
                    </a:lnTo>
                    <a:lnTo>
                      <a:pt x="1268" y="487"/>
                    </a:lnTo>
                    <a:lnTo>
                      <a:pt x="1268" y="480"/>
                    </a:lnTo>
                    <a:lnTo>
                      <a:pt x="1263" y="474"/>
                    </a:lnTo>
                    <a:lnTo>
                      <a:pt x="1262" y="475"/>
                    </a:lnTo>
                    <a:lnTo>
                      <a:pt x="1262" y="483"/>
                    </a:lnTo>
                    <a:lnTo>
                      <a:pt x="1262" y="486"/>
                    </a:lnTo>
                    <a:lnTo>
                      <a:pt x="1256" y="484"/>
                    </a:lnTo>
                    <a:lnTo>
                      <a:pt x="1250" y="480"/>
                    </a:lnTo>
                    <a:lnTo>
                      <a:pt x="1247" y="480"/>
                    </a:lnTo>
                    <a:lnTo>
                      <a:pt x="1242" y="478"/>
                    </a:lnTo>
                    <a:lnTo>
                      <a:pt x="1242" y="507"/>
                    </a:lnTo>
                    <a:lnTo>
                      <a:pt x="1233" y="510"/>
                    </a:lnTo>
                    <a:lnTo>
                      <a:pt x="1227" y="507"/>
                    </a:lnTo>
                    <a:lnTo>
                      <a:pt x="1223" y="511"/>
                    </a:lnTo>
                    <a:lnTo>
                      <a:pt x="1214" y="505"/>
                    </a:lnTo>
                    <a:lnTo>
                      <a:pt x="1205" y="495"/>
                    </a:lnTo>
                    <a:lnTo>
                      <a:pt x="1197" y="493"/>
                    </a:lnTo>
                    <a:lnTo>
                      <a:pt x="1193" y="496"/>
                    </a:lnTo>
                    <a:lnTo>
                      <a:pt x="1179" y="487"/>
                    </a:lnTo>
                    <a:lnTo>
                      <a:pt x="1167" y="486"/>
                    </a:lnTo>
                    <a:lnTo>
                      <a:pt x="1149" y="475"/>
                    </a:lnTo>
                    <a:lnTo>
                      <a:pt x="1142" y="469"/>
                    </a:lnTo>
                    <a:lnTo>
                      <a:pt x="1130" y="447"/>
                    </a:lnTo>
                    <a:lnTo>
                      <a:pt x="1134" y="439"/>
                    </a:lnTo>
                    <a:lnTo>
                      <a:pt x="1122" y="433"/>
                    </a:lnTo>
                    <a:lnTo>
                      <a:pt x="1113" y="429"/>
                    </a:lnTo>
                    <a:lnTo>
                      <a:pt x="1113" y="415"/>
                    </a:lnTo>
                    <a:lnTo>
                      <a:pt x="1112" y="408"/>
                    </a:lnTo>
                    <a:lnTo>
                      <a:pt x="1107" y="403"/>
                    </a:lnTo>
                    <a:lnTo>
                      <a:pt x="1104" y="396"/>
                    </a:lnTo>
                    <a:lnTo>
                      <a:pt x="1097" y="397"/>
                    </a:lnTo>
                    <a:lnTo>
                      <a:pt x="1094" y="393"/>
                    </a:lnTo>
                    <a:lnTo>
                      <a:pt x="1083" y="396"/>
                    </a:lnTo>
                    <a:lnTo>
                      <a:pt x="1074" y="393"/>
                    </a:lnTo>
                    <a:lnTo>
                      <a:pt x="1070" y="388"/>
                    </a:lnTo>
                    <a:lnTo>
                      <a:pt x="1062" y="390"/>
                    </a:lnTo>
                    <a:lnTo>
                      <a:pt x="1055" y="384"/>
                    </a:lnTo>
                    <a:lnTo>
                      <a:pt x="1052" y="379"/>
                    </a:lnTo>
                    <a:lnTo>
                      <a:pt x="1050" y="372"/>
                    </a:lnTo>
                    <a:lnTo>
                      <a:pt x="1046" y="369"/>
                    </a:lnTo>
                    <a:lnTo>
                      <a:pt x="1041" y="370"/>
                    </a:lnTo>
                    <a:lnTo>
                      <a:pt x="1037" y="367"/>
                    </a:lnTo>
                    <a:lnTo>
                      <a:pt x="1034" y="370"/>
                    </a:lnTo>
                    <a:lnTo>
                      <a:pt x="1031" y="369"/>
                    </a:lnTo>
                    <a:lnTo>
                      <a:pt x="1023" y="366"/>
                    </a:lnTo>
                    <a:lnTo>
                      <a:pt x="1016" y="358"/>
                    </a:lnTo>
                    <a:lnTo>
                      <a:pt x="1016" y="351"/>
                    </a:lnTo>
                    <a:lnTo>
                      <a:pt x="1008" y="351"/>
                    </a:lnTo>
                    <a:lnTo>
                      <a:pt x="1001" y="345"/>
                    </a:lnTo>
                    <a:lnTo>
                      <a:pt x="999" y="351"/>
                    </a:lnTo>
                    <a:lnTo>
                      <a:pt x="992" y="346"/>
                    </a:lnTo>
                    <a:lnTo>
                      <a:pt x="987" y="337"/>
                    </a:lnTo>
                    <a:lnTo>
                      <a:pt x="989" y="327"/>
                    </a:lnTo>
                    <a:lnTo>
                      <a:pt x="998" y="313"/>
                    </a:lnTo>
                    <a:lnTo>
                      <a:pt x="1013" y="306"/>
                    </a:lnTo>
                    <a:lnTo>
                      <a:pt x="1020" y="301"/>
                    </a:lnTo>
                    <a:lnTo>
                      <a:pt x="1017" y="294"/>
                    </a:lnTo>
                    <a:lnTo>
                      <a:pt x="1011" y="286"/>
                    </a:lnTo>
                    <a:lnTo>
                      <a:pt x="1011" y="270"/>
                    </a:lnTo>
                    <a:lnTo>
                      <a:pt x="984" y="265"/>
                    </a:lnTo>
                    <a:lnTo>
                      <a:pt x="972" y="265"/>
                    </a:lnTo>
                    <a:lnTo>
                      <a:pt x="969" y="256"/>
                    </a:lnTo>
                    <a:lnTo>
                      <a:pt x="969" y="249"/>
                    </a:lnTo>
                    <a:lnTo>
                      <a:pt x="975" y="253"/>
                    </a:lnTo>
                    <a:lnTo>
                      <a:pt x="983" y="253"/>
                    </a:lnTo>
                    <a:lnTo>
                      <a:pt x="983" y="246"/>
                    </a:lnTo>
                    <a:lnTo>
                      <a:pt x="989" y="244"/>
                    </a:lnTo>
                    <a:lnTo>
                      <a:pt x="993" y="241"/>
                    </a:lnTo>
                    <a:lnTo>
                      <a:pt x="999" y="244"/>
                    </a:lnTo>
                    <a:lnTo>
                      <a:pt x="999" y="237"/>
                    </a:lnTo>
                    <a:lnTo>
                      <a:pt x="998" y="228"/>
                    </a:lnTo>
                    <a:lnTo>
                      <a:pt x="992" y="223"/>
                    </a:lnTo>
                    <a:lnTo>
                      <a:pt x="987" y="220"/>
                    </a:lnTo>
                    <a:lnTo>
                      <a:pt x="984" y="214"/>
                    </a:lnTo>
                    <a:lnTo>
                      <a:pt x="975" y="216"/>
                    </a:lnTo>
                    <a:lnTo>
                      <a:pt x="969" y="207"/>
                    </a:lnTo>
                    <a:lnTo>
                      <a:pt x="965" y="205"/>
                    </a:lnTo>
                    <a:lnTo>
                      <a:pt x="962" y="199"/>
                    </a:lnTo>
                    <a:lnTo>
                      <a:pt x="956" y="196"/>
                    </a:lnTo>
                    <a:lnTo>
                      <a:pt x="962" y="178"/>
                    </a:lnTo>
                    <a:lnTo>
                      <a:pt x="960" y="169"/>
                    </a:lnTo>
                    <a:lnTo>
                      <a:pt x="956" y="166"/>
                    </a:lnTo>
                    <a:lnTo>
                      <a:pt x="951" y="165"/>
                    </a:lnTo>
                    <a:lnTo>
                      <a:pt x="951" y="156"/>
                    </a:lnTo>
                    <a:lnTo>
                      <a:pt x="957" y="150"/>
                    </a:lnTo>
                    <a:lnTo>
                      <a:pt x="954" y="144"/>
                    </a:lnTo>
                    <a:lnTo>
                      <a:pt x="950" y="136"/>
                    </a:lnTo>
                    <a:lnTo>
                      <a:pt x="942" y="141"/>
                    </a:lnTo>
                    <a:lnTo>
                      <a:pt x="930" y="132"/>
                    </a:lnTo>
                    <a:lnTo>
                      <a:pt x="921" y="129"/>
                    </a:lnTo>
                    <a:lnTo>
                      <a:pt x="914" y="123"/>
                    </a:lnTo>
                    <a:lnTo>
                      <a:pt x="911" y="112"/>
                    </a:lnTo>
                    <a:lnTo>
                      <a:pt x="914" y="108"/>
                    </a:lnTo>
                    <a:lnTo>
                      <a:pt x="911" y="102"/>
                    </a:lnTo>
                    <a:lnTo>
                      <a:pt x="915" y="99"/>
                    </a:lnTo>
                    <a:lnTo>
                      <a:pt x="915" y="91"/>
                    </a:lnTo>
                    <a:lnTo>
                      <a:pt x="908" y="90"/>
                    </a:lnTo>
                    <a:lnTo>
                      <a:pt x="896" y="79"/>
                    </a:lnTo>
                    <a:lnTo>
                      <a:pt x="890" y="64"/>
                    </a:lnTo>
                    <a:lnTo>
                      <a:pt x="891" y="57"/>
                    </a:lnTo>
                    <a:lnTo>
                      <a:pt x="894" y="51"/>
                    </a:lnTo>
                    <a:lnTo>
                      <a:pt x="891" y="46"/>
                    </a:lnTo>
                    <a:lnTo>
                      <a:pt x="884" y="37"/>
                    </a:lnTo>
                    <a:lnTo>
                      <a:pt x="882" y="25"/>
                    </a:lnTo>
                    <a:lnTo>
                      <a:pt x="884" y="15"/>
                    </a:lnTo>
                    <a:lnTo>
                      <a:pt x="887" y="4"/>
                    </a:lnTo>
                    <a:lnTo>
                      <a:pt x="857" y="0"/>
                    </a:lnTo>
                    <a:lnTo>
                      <a:pt x="852" y="16"/>
                    </a:lnTo>
                    <a:lnTo>
                      <a:pt x="848" y="21"/>
                    </a:lnTo>
                    <a:lnTo>
                      <a:pt x="830" y="39"/>
                    </a:lnTo>
                    <a:lnTo>
                      <a:pt x="824" y="34"/>
                    </a:lnTo>
                    <a:lnTo>
                      <a:pt x="819" y="18"/>
                    </a:lnTo>
                    <a:lnTo>
                      <a:pt x="809" y="22"/>
                    </a:lnTo>
                    <a:lnTo>
                      <a:pt x="795" y="54"/>
                    </a:lnTo>
                    <a:lnTo>
                      <a:pt x="764" y="54"/>
                    </a:lnTo>
                    <a:lnTo>
                      <a:pt x="758" y="37"/>
                    </a:lnTo>
                    <a:lnTo>
                      <a:pt x="746" y="42"/>
                    </a:lnTo>
                    <a:lnTo>
                      <a:pt x="726" y="37"/>
                    </a:lnTo>
                    <a:lnTo>
                      <a:pt x="717" y="39"/>
                    </a:lnTo>
                    <a:lnTo>
                      <a:pt x="714" y="55"/>
                    </a:lnTo>
                    <a:lnTo>
                      <a:pt x="725" y="67"/>
                    </a:lnTo>
                    <a:lnTo>
                      <a:pt x="722" y="75"/>
                    </a:lnTo>
                    <a:lnTo>
                      <a:pt x="702" y="78"/>
                    </a:lnTo>
                    <a:lnTo>
                      <a:pt x="689" y="72"/>
                    </a:lnTo>
                    <a:lnTo>
                      <a:pt x="683" y="76"/>
                    </a:lnTo>
                    <a:lnTo>
                      <a:pt x="671" y="84"/>
                    </a:lnTo>
                    <a:lnTo>
                      <a:pt x="686" y="102"/>
                    </a:lnTo>
                    <a:lnTo>
                      <a:pt x="699" y="94"/>
                    </a:lnTo>
                    <a:lnTo>
                      <a:pt x="719" y="97"/>
                    </a:lnTo>
                    <a:lnTo>
                      <a:pt x="722" y="118"/>
                    </a:lnTo>
                    <a:lnTo>
                      <a:pt x="708" y="124"/>
                    </a:lnTo>
                    <a:lnTo>
                      <a:pt x="696" y="124"/>
                    </a:lnTo>
                    <a:lnTo>
                      <a:pt x="684" y="133"/>
                    </a:lnTo>
                    <a:lnTo>
                      <a:pt x="675" y="138"/>
                    </a:lnTo>
                    <a:lnTo>
                      <a:pt x="651" y="138"/>
                    </a:lnTo>
                    <a:lnTo>
                      <a:pt x="648" y="145"/>
                    </a:lnTo>
                    <a:lnTo>
                      <a:pt x="660" y="148"/>
                    </a:lnTo>
                    <a:lnTo>
                      <a:pt x="614" y="172"/>
                    </a:lnTo>
                    <a:lnTo>
                      <a:pt x="603" y="171"/>
                    </a:lnTo>
                    <a:lnTo>
                      <a:pt x="599" y="165"/>
                    </a:lnTo>
                    <a:lnTo>
                      <a:pt x="608" y="160"/>
                    </a:lnTo>
                    <a:lnTo>
                      <a:pt x="614" y="145"/>
                    </a:lnTo>
                    <a:lnTo>
                      <a:pt x="582" y="141"/>
                    </a:lnTo>
                    <a:lnTo>
                      <a:pt x="578" y="130"/>
                    </a:lnTo>
                    <a:lnTo>
                      <a:pt x="567" y="127"/>
                    </a:lnTo>
                    <a:lnTo>
                      <a:pt x="558" y="112"/>
                    </a:lnTo>
                    <a:lnTo>
                      <a:pt x="552" y="111"/>
                    </a:lnTo>
                    <a:lnTo>
                      <a:pt x="548" y="121"/>
                    </a:lnTo>
                    <a:lnTo>
                      <a:pt x="530" y="141"/>
                    </a:lnTo>
                    <a:lnTo>
                      <a:pt x="524" y="139"/>
                    </a:lnTo>
                    <a:lnTo>
                      <a:pt x="515" y="124"/>
                    </a:lnTo>
                    <a:lnTo>
                      <a:pt x="506" y="118"/>
                    </a:lnTo>
                    <a:lnTo>
                      <a:pt x="503" y="127"/>
                    </a:lnTo>
                    <a:lnTo>
                      <a:pt x="486" y="139"/>
                    </a:lnTo>
                    <a:lnTo>
                      <a:pt x="479" y="139"/>
                    </a:lnTo>
                    <a:lnTo>
                      <a:pt x="467" y="130"/>
                    </a:lnTo>
                    <a:lnTo>
                      <a:pt x="461" y="138"/>
                    </a:lnTo>
                    <a:lnTo>
                      <a:pt x="458" y="136"/>
                    </a:lnTo>
                    <a:lnTo>
                      <a:pt x="441" y="139"/>
                    </a:lnTo>
                    <a:lnTo>
                      <a:pt x="426" y="145"/>
                    </a:lnTo>
                    <a:lnTo>
                      <a:pt x="426" y="151"/>
                    </a:lnTo>
                    <a:lnTo>
                      <a:pt x="417" y="153"/>
                    </a:lnTo>
                    <a:lnTo>
                      <a:pt x="408" y="147"/>
                    </a:lnTo>
                    <a:lnTo>
                      <a:pt x="404" y="150"/>
                    </a:lnTo>
                    <a:lnTo>
                      <a:pt x="416" y="178"/>
                    </a:lnTo>
                    <a:lnTo>
                      <a:pt x="419" y="184"/>
                    </a:lnTo>
                    <a:lnTo>
                      <a:pt x="420" y="184"/>
                    </a:lnTo>
                    <a:lnTo>
                      <a:pt x="429" y="196"/>
                    </a:lnTo>
                    <a:lnTo>
                      <a:pt x="434" y="202"/>
                    </a:lnTo>
                    <a:lnTo>
                      <a:pt x="435" y="211"/>
                    </a:lnTo>
                    <a:lnTo>
                      <a:pt x="444" y="213"/>
                    </a:lnTo>
                    <a:lnTo>
                      <a:pt x="452" y="222"/>
                    </a:lnTo>
                    <a:lnTo>
                      <a:pt x="461" y="226"/>
                    </a:lnTo>
                    <a:lnTo>
                      <a:pt x="459" y="240"/>
                    </a:lnTo>
                    <a:lnTo>
                      <a:pt x="470" y="237"/>
                    </a:lnTo>
                    <a:lnTo>
                      <a:pt x="482" y="243"/>
                    </a:lnTo>
                    <a:lnTo>
                      <a:pt x="494" y="253"/>
                    </a:lnTo>
                    <a:lnTo>
                      <a:pt x="488" y="256"/>
                    </a:lnTo>
                    <a:lnTo>
                      <a:pt x="489" y="268"/>
                    </a:lnTo>
                    <a:lnTo>
                      <a:pt x="480" y="271"/>
                    </a:lnTo>
                    <a:lnTo>
                      <a:pt x="479" y="277"/>
                    </a:lnTo>
                    <a:lnTo>
                      <a:pt x="485" y="286"/>
                    </a:lnTo>
                    <a:lnTo>
                      <a:pt x="495" y="289"/>
                    </a:lnTo>
                    <a:lnTo>
                      <a:pt x="501" y="297"/>
                    </a:lnTo>
                    <a:lnTo>
                      <a:pt x="512" y="294"/>
                    </a:lnTo>
                    <a:lnTo>
                      <a:pt x="519" y="298"/>
                    </a:lnTo>
                    <a:lnTo>
                      <a:pt x="521" y="304"/>
                    </a:lnTo>
                    <a:lnTo>
                      <a:pt x="510" y="306"/>
                    </a:lnTo>
                    <a:lnTo>
                      <a:pt x="510" y="316"/>
                    </a:lnTo>
                    <a:lnTo>
                      <a:pt x="524" y="319"/>
                    </a:lnTo>
                    <a:lnTo>
                      <a:pt x="534" y="325"/>
                    </a:lnTo>
                    <a:lnTo>
                      <a:pt x="543" y="319"/>
                    </a:lnTo>
                    <a:lnTo>
                      <a:pt x="557" y="327"/>
                    </a:lnTo>
                    <a:lnTo>
                      <a:pt x="551" y="343"/>
                    </a:lnTo>
                    <a:lnTo>
                      <a:pt x="558" y="349"/>
                    </a:lnTo>
                    <a:lnTo>
                      <a:pt x="567" y="361"/>
                    </a:lnTo>
                    <a:lnTo>
                      <a:pt x="578" y="360"/>
                    </a:lnTo>
                    <a:lnTo>
                      <a:pt x="584" y="351"/>
                    </a:lnTo>
                    <a:lnTo>
                      <a:pt x="591" y="360"/>
                    </a:lnTo>
                    <a:lnTo>
                      <a:pt x="600" y="373"/>
                    </a:lnTo>
                    <a:lnTo>
                      <a:pt x="599" y="403"/>
                    </a:lnTo>
                    <a:lnTo>
                      <a:pt x="584" y="400"/>
                    </a:lnTo>
                    <a:lnTo>
                      <a:pt x="567" y="400"/>
                    </a:lnTo>
                    <a:lnTo>
                      <a:pt x="563" y="417"/>
                    </a:lnTo>
                    <a:lnTo>
                      <a:pt x="534" y="420"/>
                    </a:lnTo>
                    <a:lnTo>
                      <a:pt x="527" y="421"/>
                    </a:lnTo>
                    <a:lnTo>
                      <a:pt x="534" y="427"/>
                    </a:lnTo>
                    <a:lnTo>
                      <a:pt x="531" y="435"/>
                    </a:lnTo>
                    <a:lnTo>
                      <a:pt x="524" y="442"/>
                    </a:lnTo>
                    <a:lnTo>
                      <a:pt x="519" y="444"/>
                    </a:lnTo>
                    <a:lnTo>
                      <a:pt x="510" y="432"/>
                    </a:lnTo>
                    <a:lnTo>
                      <a:pt x="501" y="427"/>
                    </a:lnTo>
                    <a:lnTo>
                      <a:pt x="492" y="436"/>
                    </a:lnTo>
                    <a:lnTo>
                      <a:pt x="480" y="436"/>
                    </a:lnTo>
                    <a:lnTo>
                      <a:pt x="498" y="453"/>
                    </a:lnTo>
                    <a:lnTo>
                      <a:pt x="497" y="456"/>
                    </a:lnTo>
                    <a:lnTo>
                      <a:pt x="485" y="453"/>
                    </a:lnTo>
                    <a:lnTo>
                      <a:pt x="483" y="459"/>
                    </a:lnTo>
                    <a:lnTo>
                      <a:pt x="480" y="465"/>
                    </a:lnTo>
                    <a:lnTo>
                      <a:pt x="488" y="468"/>
                    </a:lnTo>
                    <a:lnTo>
                      <a:pt x="488" y="472"/>
                    </a:lnTo>
                    <a:lnTo>
                      <a:pt x="495" y="480"/>
                    </a:lnTo>
                    <a:lnTo>
                      <a:pt x="486" y="481"/>
                    </a:lnTo>
                    <a:lnTo>
                      <a:pt x="485" y="492"/>
                    </a:lnTo>
                    <a:lnTo>
                      <a:pt x="479" y="487"/>
                    </a:lnTo>
                    <a:lnTo>
                      <a:pt x="483" y="498"/>
                    </a:lnTo>
                    <a:lnTo>
                      <a:pt x="471" y="501"/>
                    </a:lnTo>
                    <a:lnTo>
                      <a:pt x="455" y="510"/>
                    </a:lnTo>
                    <a:lnTo>
                      <a:pt x="459" y="516"/>
                    </a:lnTo>
                    <a:lnTo>
                      <a:pt x="467" y="525"/>
                    </a:lnTo>
                    <a:lnTo>
                      <a:pt x="476" y="529"/>
                    </a:lnTo>
                    <a:lnTo>
                      <a:pt x="470" y="534"/>
                    </a:lnTo>
                    <a:lnTo>
                      <a:pt x="476" y="543"/>
                    </a:lnTo>
                    <a:lnTo>
                      <a:pt x="468" y="540"/>
                    </a:lnTo>
                    <a:lnTo>
                      <a:pt x="467" y="549"/>
                    </a:lnTo>
                    <a:lnTo>
                      <a:pt x="465" y="553"/>
                    </a:lnTo>
                    <a:lnTo>
                      <a:pt x="458" y="556"/>
                    </a:lnTo>
                    <a:lnTo>
                      <a:pt x="459" y="568"/>
                    </a:lnTo>
                    <a:lnTo>
                      <a:pt x="464" y="576"/>
                    </a:lnTo>
                    <a:lnTo>
                      <a:pt x="459" y="585"/>
                    </a:lnTo>
                    <a:lnTo>
                      <a:pt x="441" y="582"/>
                    </a:lnTo>
                    <a:lnTo>
                      <a:pt x="437" y="588"/>
                    </a:lnTo>
                    <a:lnTo>
                      <a:pt x="440" y="597"/>
                    </a:lnTo>
                    <a:lnTo>
                      <a:pt x="443" y="609"/>
                    </a:lnTo>
                    <a:lnTo>
                      <a:pt x="440" y="619"/>
                    </a:lnTo>
                    <a:lnTo>
                      <a:pt x="444" y="622"/>
                    </a:lnTo>
                    <a:lnTo>
                      <a:pt x="444" y="628"/>
                    </a:lnTo>
                    <a:lnTo>
                      <a:pt x="435" y="630"/>
                    </a:lnTo>
                    <a:lnTo>
                      <a:pt x="437" y="639"/>
                    </a:lnTo>
                    <a:lnTo>
                      <a:pt x="426" y="645"/>
                    </a:lnTo>
                    <a:lnTo>
                      <a:pt x="413" y="634"/>
                    </a:lnTo>
                    <a:lnTo>
                      <a:pt x="416" y="627"/>
                    </a:lnTo>
                    <a:lnTo>
                      <a:pt x="414" y="618"/>
                    </a:lnTo>
                    <a:lnTo>
                      <a:pt x="398" y="616"/>
                    </a:lnTo>
                    <a:lnTo>
                      <a:pt x="383" y="604"/>
                    </a:lnTo>
                    <a:lnTo>
                      <a:pt x="380" y="592"/>
                    </a:lnTo>
                    <a:lnTo>
                      <a:pt x="366" y="591"/>
                    </a:lnTo>
                    <a:lnTo>
                      <a:pt x="353" y="589"/>
                    </a:lnTo>
                    <a:lnTo>
                      <a:pt x="345" y="585"/>
                    </a:lnTo>
                    <a:lnTo>
                      <a:pt x="329" y="582"/>
                    </a:lnTo>
                    <a:lnTo>
                      <a:pt x="324" y="582"/>
                    </a:lnTo>
                    <a:lnTo>
                      <a:pt x="320" y="586"/>
                    </a:lnTo>
                    <a:lnTo>
                      <a:pt x="302" y="579"/>
                    </a:lnTo>
                    <a:lnTo>
                      <a:pt x="293" y="586"/>
                    </a:lnTo>
                    <a:lnTo>
                      <a:pt x="290" y="600"/>
                    </a:lnTo>
                    <a:lnTo>
                      <a:pt x="267" y="582"/>
                    </a:lnTo>
                    <a:lnTo>
                      <a:pt x="254" y="580"/>
                    </a:lnTo>
                    <a:lnTo>
                      <a:pt x="246" y="576"/>
                    </a:lnTo>
                    <a:lnTo>
                      <a:pt x="243" y="577"/>
                    </a:lnTo>
                    <a:lnTo>
                      <a:pt x="251" y="592"/>
                    </a:lnTo>
                    <a:lnTo>
                      <a:pt x="242" y="603"/>
                    </a:lnTo>
                    <a:lnTo>
                      <a:pt x="246" y="609"/>
                    </a:lnTo>
                    <a:lnTo>
                      <a:pt x="237" y="622"/>
                    </a:lnTo>
                    <a:lnTo>
                      <a:pt x="231" y="630"/>
                    </a:lnTo>
                    <a:lnTo>
                      <a:pt x="218" y="625"/>
                    </a:lnTo>
                    <a:lnTo>
                      <a:pt x="204" y="642"/>
                    </a:lnTo>
                    <a:lnTo>
                      <a:pt x="201" y="648"/>
                    </a:lnTo>
                    <a:lnTo>
                      <a:pt x="197" y="654"/>
                    </a:lnTo>
                    <a:lnTo>
                      <a:pt x="182" y="679"/>
                    </a:lnTo>
                    <a:lnTo>
                      <a:pt x="171" y="694"/>
                    </a:lnTo>
                    <a:lnTo>
                      <a:pt x="164" y="699"/>
                    </a:lnTo>
                    <a:lnTo>
                      <a:pt x="144" y="696"/>
                    </a:lnTo>
                    <a:lnTo>
                      <a:pt x="134" y="697"/>
                    </a:lnTo>
                    <a:lnTo>
                      <a:pt x="138" y="703"/>
                    </a:lnTo>
                    <a:lnTo>
                      <a:pt x="153" y="714"/>
                    </a:lnTo>
                    <a:lnTo>
                      <a:pt x="153" y="721"/>
                    </a:lnTo>
                    <a:lnTo>
                      <a:pt x="140" y="724"/>
                    </a:lnTo>
                    <a:lnTo>
                      <a:pt x="137" y="738"/>
                    </a:lnTo>
                    <a:lnTo>
                      <a:pt x="123" y="741"/>
                    </a:lnTo>
                    <a:lnTo>
                      <a:pt x="107" y="765"/>
                    </a:lnTo>
                    <a:lnTo>
                      <a:pt x="101" y="766"/>
                    </a:lnTo>
                    <a:lnTo>
                      <a:pt x="90" y="780"/>
                    </a:lnTo>
                    <a:lnTo>
                      <a:pt x="104" y="790"/>
                    </a:lnTo>
                    <a:lnTo>
                      <a:pt x="104" y="802"/>
                    </a:lnTo>
                    <a:lnTo>
                      <a:pt x="84" y="814"/>
                    </a:lnTo>
                    <a:lnTo>
                      <a:pt x="81" y="810"/>
                    </a:lnTo>
                    <a:lnTo>
                      <a:pt x="74" y="816"/>
                    </a:lnTo>
                    <a:lnTo>
                      <a:pt x="63" y="811"/>
                    </a:lnTo>
                    <a:lnTo>
                      <a:pt x="53" y="828"/>
                    </a:lnTo>
                    <a:lnTo>
                      <a:pt x="63" y="837"/>
                    </a:lnTo>
                    <a:lnTo>
                      <a:pt x="12" y="885"/>
                    </a:lnTo>
                    <a:lnTo>
                      <a:pt x="0" y="901"/>
                    </a:lnTo>
                    <a:lnTo>
                      <a:pt x="18" y="916"/>
                    </a:lnTo>
                    <a:lnTo>
                      <a:pt x="5" y="930"/>
                    </a:lnTo>
                    <a:lnTo>
                      <a:pt x="11" y="930"/>
                    </a:lnTo>
                    <a:lnTo>
                      <a:pt x="21" y="930"/>
                    </a:lnTo>
                    <a:lnTo>
                      <a:pt x="42" y="922"/>
                    </a:lnTo>
                    <a:lnTo>
                      <a:pt x="39" y="931"/>
                    </a:lnTo>
                    <a:lnTo>
                      <a:pt x="47" y="937"/>
                    </a:lnTo>
                    <a:lnTo>
                      <a:pt x="50" y="948"/>
                    </a:lnTo>
                    <a:lnTo>
                      <a:pt x="71" y="949"/>
                    </a:lnTo>
                    <a:lnTo>
                      <a:pt x="71" y="961"/>
                    </a:lnTo>
                    <a:lnTo>
                      <a:pt x="86" y="966"/>
                    </a:lnTo>
                    <a:lnTo>
                      <a:pt x="89" y="970"/>
                    </a:lnTo>
                    <a:lnTo>
                      <a:pt x="93" y="973"/>
                    </a:lnTo>
                    <a:lnTo>
                      <a:pt x="92" y="979"/>
                    </a:lnTo>
                    <a:lnTo>
                      <a:pt x="84" y="982"/>
                    </a:lnTo>
                    <a:lnTo>
                      <a:pt x="93" y="988"/>
                    </a:lnTo>
                    <a:lnTo>
                      <a:pt x="96" y="996"/>
                    </a:lnTo>
                    <a:lnTo>
                      <a:pt x="93" y="1003"/>
                    </a:lnTo>
                    <a:lnTo>
                      <a:pt x="98" y="1011"/>
                    </a:lnTo>
                    <a:lnTo>
                      <a:pt x="92" y="1015"/>
                    </a:lnTo>
                    <a:lnTo>
                      <a:pt x="81" y="1006"/>
                    </a:lnTo>
                    <a:lnTo>
                      <a:pt x="74" y="1011"/>
                    </a:lnTo>
                    <a:lnTo>
                      <a:pt x="74" y="1035"/>
                    </a:lnTo>
                    <a:lnTo>
                      <a:pt x="63" y="1045"/>
                    </a:lnTo>
                    <a:lnTo>
                      <a:pt x="71" y="1056"/>
                    </a:lnTo>
                    <a:lnTo>
                      <a:pt x="80" y="1054"/>
                    </a:lnTo>
                    <a:lnTo>
                      <a:pt x="92" y="1039"/>
                    </a:lnTo>
                    <a:lnTo>
                      <a:pt x="98" y="1032"/>
                    </a:lnTo>
                    <a:lnTo>
                      <a:pt x="108" y="1036"/>
                    </a:lnTo>
                    <a:lnTo>
                      <a:pt x="111" y="1032"/>
                    </a:lnTo>
                    <a:lnTo>
                      <a:pt x="117" y="1027"/>
                    </a:lnTo>
                    <a:lnTo>
                      <a:pt x="119" y="1018"/>
                    </a:lnTo>
                    <a:lnTo>
                      <a:pt x="131" y="1024"/>
                    </a:lnTo>
                    <a:lnTo>
                      <a:pt x="134" y="1033"/>
                    </a:lnTo>
                    <a:lnTo>
                      <a:pt x="135" y="1044"/>
                    </a:lnTo>
                    <a:lnTo>
                      <a:pt x="141" y="1056"/>
                    </a:lnTo>
                    <a:lnTo>
                      <a:pt x="144" y="1063"/>
                    </a:lnTo>
                    <a:lnTo>
                      <a:pt x="143" y="1068"/>
                    </a:lnTo>
                    <a:lnTo>
                      <a:pt x="132" y="1069"/>
                    </a:lnTo>
                    <a:lnTo>
                      <a:pt x="131" y="1074"/>
                    </a:lnTo>
                    <a:lnTo>
                      <a:pt x="132" y="1081"/>
                    </a:lnTo>
                    <a:lnTo>
                      <a:pt x="144" y="1093"/>
                    </a:lnTo>
                    <a:lnTo>
                      <a:pt x="150" y="1095"/>
                    </a:lnTo>
                    <a:lnTo>
                      <a:pt x="156" y="1099"/>
                    </a:lnTo>
                    <a:lnTo>
                      <a:pt x="159" y="1111"/>
                    </a:lnTo>
                    <a:lnTo>
                      <a:pt x="153" y="1114"/>
                    </a:lnTo>
                    <a:lnTo>
                      <a:pt x="150" y="1114"/>
                    </a:lnTo>
                    <a:lnTo>
                      <a:pt x="141" y="1125"/>
                    </a:lnTo>
                    <a:lnTo>
                      <a:pt x="132" y="1129"/>
                    </a:lnTo>
                    <a:lnTo>
                      <a:pt x="125" y="1135"/>
                    </a:lnTo>
                    <a:lnTo>
                      <a:pt x="123" y="1138"/>
                    </a:lnTo>
                    <a:lnTo>
                      <a:pt x="120" y="1141"/>
                    </a:lnTo>
                    <a:lnTo>
                      <a:pt x="117" y="1161"/>
                    </a:lnTo>
                    <a:lnTo>
                      <a:pt x="114" y="1165"/>
                    </a:lnTo>
                    <a:lnTo>
                      <a:pt x="110" y="1180"/>
                    </a:lnTo>
                    <a:lnTo>
                      <a:pt x="102" y="1195"/>
                    </a:lnTo>
                    <a:lnTo>
                      <a:pt x="102" y="1201"/>
                    </a:lnTo>
                    <a:lnTo>
                      <a:pt x="101" y="1207"/>
                    </a:lnTo>
                    <a:lnTo>
                      <a:pt x="92" y="1218"/>
                    </a:lnTo>
                    <a:lnTo>
                      <a:pt x="83" y="1219"/>
                    </a:lnTo>
                    <a:lnTo>
                      <a:pt x="78" y="1215"/>
                    </a:lnTo>
                    <a:lnTo>
                      <a:pt x="69" y="1216"/>
                    </a:lnTo>
                    <a:lnTo>
                      <a:pt x="62" y="1210"/>
                    </a:lnTo>
                    <a:lnTo>
                      <a:pt x="57" y="1210"/>
                    </a:lnTo>
                    <a:lnTo>
                      <a:pt x="48" y="1210"/>
                    </a:lnTo>
                    <a:lnTo>
                      <a:pt x="35" y="1201"/>
                    </a:lnTo>
                    <a:lnTo>
                      <a:pt x="26" y="1197"/>
                    </a:lnTo>
                    <a:lnTo>
                      <a:pt x="18" y="1218"/>
                    </a:lnTo>
                    <a:lnTo>
                      <a:pt x="11" y="1228"/>
                    </a:lnTo>
                    <a:lnTo>
                      <a:pt x="12" y="1233"/>
                    </a:lnTo>
                    <a:lnTo>
                      <a:pt x="12" y="1240"/>
                    </a:lnTo>
                    <a:lnTo>
                      <a:pt x="11" y="1249"/>
                    </a:lnTo>
                    <a:lnTo>
                      <a:pt x="8" y="1258"/>
                    </a:lnTo>
                    <a:lnTo>
                      <a:pt x="6" y="1275"/>
                    </a:lnTo>
                    <a:lnTo>
                      <a:pt x="12" y="1287"/>
                    </a:lnTo>
                    <a:lnTo>
                      <a:pt x="12" y="1299"/>
                    </a:lnTo>
                    <a:lnTo>
                      <a:pt x="3" y="1315"/>
                    </a:lnTo>
                    <a:lnTo>
                      <a:pt x="11" y="1333"/>
                    </a:lnTo>
                    <a:lnTo>
                      <a:pt x="6" y="1348"/>
                    </a:lnTo>
                    <a:lnTo>
                      <a:pt x="3" y="1362"/>
                    </a:lnTo>
                    <a:lnTo>
                      <a:pt x="0" y="1365"/>
                    </a:lnTo>
                    <a:lnTo>
                      <a:pt x="26" y="1392"/>
                    </a:lnTo>
                    <a:lnTo>
                      <a:pt x="26" y="1404"/>
                    </a:lnTo>
                    <a:lnTo>
                      <a:pt x="42" y="1411"/>
                    </a:lnTo>
                    <a:lnTo>
                      <a:pt x="59" y="1404"/>
                    </a:lnTo>
                    <a:lnTo>
                      <a:pt x="66" y="1399"/>
                    </a:lnTo>
                    <a:lnTo>
                      <a:pt x="108" y="1411"/>
                    </a:lnTo>
                    <a:lnTo>
                      <a:pt x="113" y="1401"/>
                    </a:lnTo>
                    <a:lnTo>
                      <a:pt x="119" y="1402"/>
                    </a:lnTo>
                    <a:lnTo>
                      <a:pt x="147" y="1410"/>
                    </a:lnTo>
                    <a:lnTo>
                      <a:pt x="179" y="1416"/>
                    </a:lnTo>
                    <a:lnTo>
                      <a:pt x="182" y="1413"/>
                    </a:lnTo>
                    <a:lnTo>
                      <a:pt x="179" y="1366"/>
                    </a:lnTo>
                    <a:lnTo>
                      <a:pt x="165" y="1345"/>
                    </a:lnTo>
                    <a:lnTo>
                      <a:pt x="155" y="1344"/>
                    </a:lnTo>
                    <a:lnTo>
                      <a:pt x="159" y="1336"/>
                    </a:lnTo>
                    <a:lnTo>
                      <a:pt x="173" y="1320"/>
                    </a:lnTo>
                    <a:lnTo>
                      <a:pt x="158" y="1311"/>
                    </a:lnTo>
                    <a:lnTo>
                      <a:pt x="159" y="1305"/>
                    </a:lnTo>
                    <a:lnTo>
                      <a:pt x="167" y="1290"/>
                    </a:lnTo>
                    <a:lnTo>
                      <a:pt x="170" y="1276"/>
                    </a:lnTo>
                    <a:lnTo>
                      <a:pt x="174" y="1263"/>
                    </a:lnTo>
                    <a:lnTo>
                      <a:pt x="165" y="1249"/>
                    </a:lnTo>
                    <a:lnTo>
                      <a:pt x="185" y="1228"/>
                    </a:lnTo>
                    <a:lnTo>
                      <a:pt x="204" y="1222"/>
                    </a:lnTo>
                    <a:lnTo>
                      <a:pt x="227" y="1230"/>
                    </a:lnTo>
                    <a:lnTo>
                      <a:pt x="264" y="1248"/>
                    </a:lnTo>
                    <a:lnTo>
                      <a:pt x="282" y="1248"/>
                    </a:lnTo>
                    <a:lnTo>
                      <a:pt x="284" y="1240"/>
                    </a:lnTo>
                    <a:lnTo>
                      <a:pt x="323" y="1261"/>
                    </a:lnTo>
                    <a:lnTo>
                      <a:pt x="330" y="1252"/>
                    </a:lnTo>
                    <a:lnTo>
                      <a:pt x="326" y="1245"/>
                    </a:lnTo>
                    <a:lnTo>
                      <a:pt x="318" y="1218"/>
                    </a:lnTo>
                    <a:lnTo>
                      <a:pt x="309" y="1209"/>
                    </a:lnTo>
                    <a:lnTo>
                      <a:pt x="309" y="1200"/>
                    </a:lnTo>
                    <a:lnTo>
                      <a:pt x="315" y="1188"/>
                    </a:lnTo>
                    <a:lnTo>
                      <a:pt x="308" y="1174"/>
                    </a:lnTo>
                    <a:lnTo>
                      <a:pt x="302" y="1156"/>
                    </a:lnTo>
                    <a:lnTo>
                      <a:pt x="312" y="1150"/>
                    </a:lnTo>
                    <a:lnTo>
                      <a:pt x="329" y="1149"/>
                    </a:lnTo>
                    <a:lnTo>
                      <a:pt x="345" y="1141"/>
                    </a:lnTo>
                    <a:lnTo>
                      <a:pt x="344" y="1131"/>
                    </a:lnTo>
                    <a:lnTo>
                      <a:pt x="341" y="1111"/>
                    </a:lnTo>
                    <a:lnTo>
                      <a:pt x="351" y="1111"/>
                    </a:lnTo>
                    <a:lnTo>
                      <a:pt x="374" y="1107"/>
                    </a:lnTo>
                    <a:lnTo>
                      <a:pt x="380" y="1102"/>
                    </a:lnTo>
                    <a:lnTo>
                      <a:pt x="392" y="1101"/>
                    </a:lnTo>
                    <a:lnTo>
                      <a:pt x="410" y="1098"/>
                    </a:lnTo>
                    <a:lnTo>
                      <a:pt x="425" y="1089"/>
                    </a:lnTo>
                    <a:lnTo>
                      <a:pt x="435" y="1074"/>
                    </a:lnTo>
                    <a:lnTo>
                      <a:pt x="443" y="1060"/>
                    </a:lnTo>
                    <a:lnTo>
                      <a:pt x="450" y="1054"/>
                    </a:lnTo>
                    <a:lnTo>
                      <a:pt x="450" y="1050"/>
                    </a:lnTo>
                    <a:lnTo>
                      <a:pt x="441" y="1035"/>
                    </a:lnTo>
                    <a:lnTo>
                      <a:pt x="429" y="1033"/>
                    </a:lnTo>
                    <a:lnTo>
                      <a:pt x="429" y="1012"/>
                    </a:lnTo>
                    <a:lnTo>
                      <a:pt x="437" y="1015"/>
                    </a:lnTo>
                    <a:lnTo>
                      <a:pt x="435" y="1006"/>
                    </a:lnTo>
                    <a:lnTo>
                      <a:pt x="428" y="999"/>
                    </a:lnTo>
                    <a:lnTo>
                      <a:pt x="429" y="990"/>
                    </a:lnTo>
                    <a:lnTo>
                      <a:pt x="425" y="976"/>
                    </a:lnTo>
                    <a:lnTo>
                      <a:pt x="441" y="973"/>
                    </a:lnTo>
                    <a:lnTo>
                      <a:pt x="444" y="966"/>
                    </a:lnTo>
                    <a:lnTo>
                      <a:pt x="435" y="955"/>
                    </a:lnTo>
                    <a:lnTo>
                      <a:pt x="435" y="948"/>
                    </a:lnTo>
                    <a:lnTo>
                      <a:pt x="444" y="939"/>
                    </a:lnTo>
                    <a:lnTo>
                      <a:pt x="443" y="930"/>
                    </a:lnTo>
                    <a:lnTo>
                      <a:pt x="449" y="933"/>
                    </a:lnTo>
                    <a:lnTo>
                      <a:pt x="473" y="945"/>
                    </a:lnTo>
                    <a:lnTo>
                      <a:pt x="474" y="939"/>
                    </a:lnTo>
                    <a:lnTo>
                      <a:pt x="477" y="925"/>
                    </a:lnTo>
                    <a:close/>
                  </a:path>
                </a:pathLst>
              </a:custGeom>
              <a:grp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65" name="Freeform 305">
                <a:extLst>
                  <a:ext uri="{FF2B5EF4-FFF2-40B4-BE49-F238E27FC236}">
                    <a16:creationId xmlns:a16="http://schemas.microsoft.com/office/drawing/2014/main" id="{02A4473D-786D-BC5B-C18E-F0134BD00DE2}"/>
                  </a:ext>
                </a:extLst>
              </p:cNvPr>
              <p:cNvSpPr>
                <a:spLocks/>
              </p:cNvSpPr>
              <p:nvPr/>
            </p:nvSpPr>
            <p:spPr bwMode="auto">
              <a:xfrm>
                <a:off x="3177" y="2660"/>
                <a:ext cx="715" cy="644"/>
              </a:xfrm>
              <a:custGeom>
                <a:avLst/>
                <a:gdLst>
                  <a:gd name="T0" fmla="*/ 0 w 2145"/>
                  <a:gd name="T1" fmla="*/ 0 h 1932"/>
                  <a:gd name="T2" fmla="*/ 0 w 2145"/>
                  <a:gd name="T3" fmla="*/ 0 h 1932"/>
                  <a:gd name="T4" fmla="*/ 0 w 2145"/>
                  <a:gd name="T5" fmla="*/ 0 h 1932"/>
                  <a:gd name="T6" fmla="*/ 0 w 2145"/>
                  <a:gd name="T7" fmla="*/ 0 h 1932"/>
                  <a:gd name="T8" fmla="*/ 0 w 2145"/>
                  <a:gd name="T9" fmla="*/ 0 h 1932"/>
                  <a:gd name="T10" fmla="*/ 0 w 2145"/>
                  <a:gd name="T11" fmla="*/ 0 h 1932"/>
                  <a:gd name="T12" fmla="*/ 0 w 2145"/>
                  <a:gd name="T13" fmla="*/ 0 h 1932"/>
                  <a:gd name="T14" fmla="*/ 0 w 2145"/>
                  <a:gd name="T15" fmla="*/ 0 h 1932"/>
                  <a:gd name="T16" fmla="*/ 0 w 2145"/>
                  <a:gd name="T17" fmla="*/ 0 h 1932"/>
                  <a:gd name="T18" fmla="*/ 0 w 2145"/>
                  <a:gd name="T19" fmla="*/ 0 h 1932"/>
                  <a:gd name="T20" fmla="*/ 0 w 2145"/>
                  <a:gd name="T21" fmla="*/ 0 h 1932"/>
                  <a:gd name="T22" fmla="*/ 0 w 2145"/>
                  <a:gd name="T23" fmla="*/ 0 h 1932"/>
                  <a:gd name="T24" fmla="*/ 0 w 2145"/>
                  <a:gd name="T25" fmla="*/ 0 h 1932"/>
                  <a:gd name="T26" fmla="*/ 0 w 2145"/>
                  <a:gd name="T27" fmla="*/ 0 h 1932"/>
                  <a:gd name="T28" fmla="*/ 0 w 2145"/>
                  <a:gd name="T29" fmla="*/ 0 h 1932"/>
                  <a:gd name="T30" fmla="*/ 0 w 2145"/>
                  <a:gd name="T31" fmla="*/ 0 h 1932"/>
                  <a:gd name="T32" fmla="*/ 0 w 2145"/>
                  <a:gd name="T33" fmla="*/ 0 h 1932"/>
                  <a:gd name="T34" fmla="*/ 0 w 2145"/>
                  <a:gd name="T35" fmla="*/ 0 h 1932"/>
                  <a:gd name="T36" fmla="*/ 0 w 2145"/>
                  <a:gd name="T37" fmla="*/ 0 h 1932"/>
                  <a:gd name="T38" fmla="*/ 0 w 2145"/>
                  <a:gd name="T39" fmla="*/ 0 h 1932"/>
                  <a:gd name="T40" fmla="*/ 0 w 2145"/>
                  <a:gd name="T41" fmla="*/ 0 h 1932"/>
                  <a:gd name="T42" fmla="*/ 0 w 2145"/>
                  <a:gd name="T43" fmla="*/ 0 h 1932"/>
                  <a:gd name="T44" fmla="*/ 0 w 2145"/>
                  <a:gd name="T45" fmla="*/ 0 h 1932"/>
                  <a:gd name="T46" fmla="*/ 0 w 2145"/>
                  <a:gd name="T47" fmla="*/ 0 h 1932"/>
                  <a:gd name="T48" fmla="*/ 0 w 2145"/>
                  <a:gd name="T49" fmla="*/ 0 h 1932"/>
                  <a:gd name="T50" fmla="*/ 0 w 2145"/>
                  <a:gd name="T51" fmla="*/ 0 h 1932"/>
                  <a:gd name="T52" fmla="*/ 0 w 2145"/>
                  <a:gd name="T53" fmla="*/ 0 h 1932"/>
                  <a:gd name="T54" fmla="*/ 0 w 2145"/>
                  <a:gd name="T55" fmla="*/ 0 h 1932"/>
                  <a:gd name="T56" fmla="*/ 0 w 2145"/>
                  <a:gd name="T57" fmla="*/ 0 h 1932"/>
                  <a:gd name="T58" fmla="*/ 0 w 2145"/>
                  <a:gd name="T59" fmla="*/ 0 h 1932"/>
                  <a:gd name="T60" fmla="*/ 0 w 2145"/>
                  <a:gd name="T61" fmla="*/ 0 h 1932"/>
                  <a:gd name="T62" fmla="*/ 0 w 2145"/>
                  <a:gd name="T63" fmla="*/ 0 h 1932"/>
                  <a:gd name="T64" fmla="*/ 0 w 2145"/>
                  <a:gd name="T65" fmla="*/ 0 h 1932"/>
                  <a:gd name="T66" fmla="*/ 0 w 2145"/>
                  <a:gd name="T67" fmla="*/ 0 h 1932"/>
                  <a:gd name="T68" fmla="*/ 0 w 2145"/>
                  <a:gd name="T69" fmla="*/ 0 h 1932"/>
                  <a:gd name="T70" fmla="*/ 0 w 2145"/>
                  <a:gd name="T71" fmla="*/ 0 h 1932"/>
                  <a:gd name="T72" fmla="*/ 0 w 2145"/>
                  <a:gd name="T73" fmla="*/ 0 h 1932"/>
                  <a:gd name="T74" fmla="*/ 0 w 2145"/>
                  <a:gd name="T75" fmla="*/ 0 h 1932"/>
                  <a:gd name="T76" fmla="*/ 0 w 2145"/>
                  <a:gd name="T77" fmla="*/ 0 h 1932"/>
                  <a:gd name="T78" fmla="*/ 0 w 2145"/>
                  <a:gd name="T79" fmla="*/ 0 h 1932"/>
                  <a:gd name="T80" fmla="*/ 0 w 2145"/>
                  <a:gd name="T81" fmla="*/ 0 h 1932"/>
                  <a:gd name="T82" fmla="*/ 0 w 2145"/>
                  <a:gd name="T83" fmla="*/ 0 h 1932"/>
                  <a:gd name="T84" fmla="*/ 0 w 2145"/>
                  <a:gd name="T85" fmla="*/ 0 h 1932"/>
                  <a:gd name="T86" fmla="*/ 0 w 2145"/>
                  <a:gd name="T87" fmla="*/ 0 h 1932"/>
                  <a:gd name="T88" fmla="*/ 0 w 2145"/>
                  <a:gd name="T89" fmla="*/ 0 h 1932"/>
                  <a:gd name="T90" fmla="*/ 0 w 2145"/>
                  <a:gd name="T91" fmla="*/ 0 h 1932"/>
                  <a:gd name="T92" fmla="*/ 0 w 2145"/>
                  <a:gd name="T93" fmla="*/ 0 h 1932"/>
                  <a:gd name="T94" fmla="*/ 0 w 2145"/>
                  <a:gd name="T95" fmla="*/ 0 h 1932"/>
                  <a:gd name="T96" fmla="*/ 0 w 2145"/>
                  <a:gd name="T97" fmla="*/ 0 h 1932"/>
                  <a:gd name="T98" fmla="*/ 0 w 2145"/>
                  <a:gd name="T99" fmla="*/ 0 h 1932"/>
                  <a:gd name="T100" fmla="*/ 0 w 2145"/>
                  <a:gd name="T101" fmla="*/ 0 h 1932"/>
                  <a:gd name="T102" fmla="*/ 0 w 2145"/>
                  <a:gd name="T103" fmla="*/ 0 h 1932"/>
                  <a:gd name="T104" fmla="*/ 0 w 2145"/>
                  <a:gd name="T105" fmla="*/ 0 h 1932"/>
                  <a:gd name="T106" fmla="*/ 0 w 2145"/>
                  <a:gd name="T107" fmla="*/ 0 h 1932"/>
                  <a:gd name="T108" fmla="*/ 0 w 2145"/>
                  <a:gd name="T109" fmla="*/ 0 h 1932"/>
                  <a:gd name="T110" fmla="*/ 0 w 2145"/>
                  <a:gd name="T111" fmla="*/ 0 h 1932"/>
                  <a:gd name="T112" fmla="*/ 0 w 2145"/>
                  <a:gd name="T113" fmla="*/ 0 h 1932"/>
                  <a:gd name="T114" fmla="*/ 0 w 2145"/>
                  <a:gd name="T115" fmla="*/ 0 h 1932"/>
                  <a:gd name="T116" fmla="*/ 0 w 2145"/>
                  <a:gd name="T117" fmla="*/ 0 h 1932"/>
                  <a:gd name="T118" fmla="*/ 0 w 2145"/>
                  <a:gd name="T119" fmla="*/ 0 h 1932"/>
                  <a:gd name="T120" fmla="*/ 0 w 2145"/>
                  <a:gd name="T121" fmla="*/ 0 h 1932"/>
                  <a:gd name="T122" fmla="*/ 0 w 2145"/>
                  <a:gd name="T123" fmla="*/ 0 h 1932"/>
                  <a:gd name="T124" fmla="*/ 0 w 2145"/>
                  <a:gd name="T125" fmla="*/ 0 h 19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145" h="1932">
                    <a:moveTo>
                      <a:pt x="1739" y="1569"/>
                    </a:moveTo>
                    <a:lnTo>
                      <a:pt x="1731" y="1569"/>
                    </a:lnTo>
                    <a:lnTo>
                      <a:pt x="1727" y="1578"/>
                    </a:lnTo>
                    <a:lnTo>
                      <a:pt x="1727" y="1599"/>
                    </a:lnTo>
                    <a:lnTo>
                      <a:pt x="1721" y="1608"/>
                    </a:lnTo>
                    <a:lnTo>
                      <a:pt x="1718" y="1611"/>
                    </a:lnTo>
                    <a:lnTo>
                      <a:pt x="1707" y="1610"/>
                    </a:lnTo>
                    <a:lnTo>
                      <a:pt x="1700" y="1607"/>
                    </a:lnTo>
                    <a:lnTo>
                      <a:pt x="1695" y="1613"/>
                    </a:lnTo>
                    <a:lnTo>
                      <a:pt x="1686" y="1623"/>
                    </a:lnTo>
                    <a:lnTo>
                      <a:pt x="1676" y="1625"/>
                    </a:lnTo>
                    <a:lnTo>
                      <a:pt x="1662" y="1626"/>
                    </a:lnTo>
                    <a:lnTo>
                      <a:pt x="1653" y="1629"/>
                    </a:lnTo>
                    <a:lnTo>
                      <a:pt x="1646" y="1629"/>
                    </a:lnTo>
                    <a:lnTo>
                      <a:pt x="1635" y="1638"/>
                    </a:lnTo>
                    <a:lnTo>
                      <a:pt x="1629" y="1644"/>
                    </a:lnTo>
                    <a:lnTo>
                      <a:pt x="1599" y="1656"/>
                    </a:lnTo>
                    <a:lnTo>
                      <a:pt x="1589" y="1640"/>
                    </a:lnTo>
                    <a:lnTo>
                      <a:pt x="1575" y="1626"/>
                    </a:lnTo>
                    <a:lnTo>
                      <a:pt x="1542" y="1614"/>
                    </a:lnTo>
                    <a:lnTo>
                      <a:pt x="1526" y="1619"/>
                    </a:lnTo>
                    <a:lnTo>
                      <a:pt x="1521" y="1616"/>
                    </a:lnTo>
                    <a:lnTo>
                      <a:pt x="1518" y="1611"/>
                    </a:lnTo>
                    <a:lnTo>
                      <a:pt x="1512" y="1611"/>
                    </a:lnTo>
                    <a:lnTo>
                      <a:pt x="1505" y="1646"/>
                    </a:lnTo>
                    <a:lnTo>
                      <a:pt x="1493" y="1673"/>
                    </a:lnTo>
                    <a:lnTo>
                      <a:pt x="1499" y="1685"/>
                    </a:lnTo>
                    <a:lnTo>
                      <a:pt x="1503" y="1692"/>
                    </a:lnTo>
                    <a:lnTo>
                      <a:pt x="1499" y="1709"/>
                    </a:lnTo>
                    <a:lnTo>
                      <a:pt x="1497" y="1722"/>
                    </a:lnTo>
                    <a:lnTo>
                      <a:pt x="1511" y="1742"/>
                    </a:lnTo>
                    <a:lnTo>
                      <a:pt x="1527" y="1761"/>
                    </a:lnTo>
                    <a:lnTo>
                      <a:pt x="1536" y="1763"/>
                    </a:lnTo>
                    <a:lnTo>
                      <a:pt x="1536" y="1775"/>
                    </a:lnTo>
                    <a:lnTo>
                      <a:pt x="1527" y="1782"/>
                    </a:lnTo>
                    <a:lnTo>
                      <a:pt x="1532" y="1803"/>
                    </a:lnTo>
                    <a:lnTo>
                      <a:pt x="1532" y="1823"/>
                    </a:lnTo>
                    <a:lnTo>
                      <a:pt x="1536" y="1829"/>
                    </a:lnTo>
                    <a:lnTo>
                      <a:pt x="1536" y="1833"/>
                    </a:lnTo>
                    <a:lnTo>
                      <a:pt x="1532" y="1839"/>
                    </a:lnTo>
                    <a:lnTo>
                      <a:pt x="1526" y="1838"/>
                    </a:lnTo>
                    <a:lnTo>
                      <a:pt x="1521" y="1830"/>
                    </a:lnTo>
                    <a:lnTo>
                      <a:pt x="1517" y="1829"/>
                    </a:lnTo>
                    <a:lnTo>
                      <a:pt x="1514" y="1832"/>
                    </a:lnTo>
                    <a:lnTo>
                      <a:pt x="1514" y="1839"/>
                    </a:lnTo>
                    <a:lnTo>
                      <a:pt x="1508" y="1848"/>
                    </a:lnTo>
                    <a:lnTo>
                      <a:pt x="1481" y="1869"/>
                    </a:lnTo>
                    <a:lnTo>
                      <a:pt x="1458" y="1881"/>
                    </a:lnTo>
                    <a:lnTo>
                      <a:pt x="1446" y="1886"/>
                    </a:lnTo>
                    <a:lnTo>
                      <a:pt x="1442" y="1884"/>
                    </a:lnTo>
                    <a:lnTo>
                      <a:pt x="1430" y="1883"/>
                    </a:lnTo>
                    <a:lnTo>
                      <a:pt x="1418" y="1884"/>
                    </a:lnTo>
                    <a:lnTo>
                      <a:pt x="1404" y="1880"/>
                    </a:lnTo>
                    <a:lnTo>
                      <a:pt x="1401" y="1877"/>
                    </a:lnTo>
                    <a:lnTo>
                      <a:pt x="1392" y="1877"/>
                    </a:lnTo>
                    <a:lnTo>
                      <a:pt x="1391" y="1868"/>
                    </a:lnTo>
                    <a:lnTo>
                      <a:pt x="1388" y="1866"/>
                    </a:lnTo>
                    <a:lnTo>
                      <a:pt x="1376" y="1868"/>
                    </a:lnTo>
                    <a:lnTo>
                      <a:pt x="1367" y="1869"/>
                    </a:lnTo>
                    <a:lnTo>
                      <a:pt x="1355" y="1874"/>
                    </a:lnTo>
                    <a:lnTo>
                      <a:pt x="1337" y="1872"/>
                    </a:lnTo>
                    <a:lnTo>
                      <a:pt x="1323" y="1881"/>
                    </a:lnTo>
                    <a:lnTo>
                      <a:pt x="1319" y="1886"/>
                    </a:lnTo>
                    <a:lnTo>
                      <a:pt x="1305" y="1886"/>
                    </a:lnTo>
                    <a:lnTo>
                      <a:pt x="1295" y="1881"/>
                    </a:lnTo>
                    <a:lnTo>
                      <a:pt x="1283" y="1877"/>
                    </a:lnTo>
                    <a:lnTo>
                      <a:pt x="1244" y="1859"/>
                    </a:lnTo>
                    <a:lnTo>
                      <a:pt x="1235" y="1859"/>
                    </a:lnTo>
                    <a:lnTo>
                      <a:pt x="1221" y="1862"/>
                    </a:lnTo>
                    <a:lnTo>
                      <a:pt x="1211" y="1851"/>
                    </a:lnTo>
                    <a:lnTo>
                      <a:pt x="1205" y="1842"/>
                    </a:lnTo>
                    <a:lnTo>
                      <a:pt x="1200" y="1851"/>
                    </a:lnTo>
                    <a:lnTo>
                      <a:pt x="1194" y="1853"/>
                    </a:lnTo>
                    <a:lnTo>
                      <a:pt x="1190" y="1863"/>
                    </a:lnTo>
                    <a:lnTo>
                      <a:pt x="1187" y="1868"/>
                    </a:lnTo>
                    <a:lnTo>
                      <a:pt x="1175" y="1875"/>
                    </a:lnTo>
                    <a:lnTo>
                      <a:pt x="1175" y="1887"/>
                    </a:lnTo>
                    <a:lnTo>
                      <a:pt x="1176" y="1895"/>
                    </a:lnTo>
                    <a:lnTo>
                      <a:pt x="1178" y="1902"/>
                    </a:lnTo>
                    <a:lnTo>
                      <a:pt x="1176" y="1908"/>
                    </a:lnTo>
                    <a:lnTo>
                      <a:pt x="1173" y="1923"/>
                    </a:lnTo>
                    <a:lnTo>
                      <a:pt x="1170" y="1929"/>
                    </a:lnTo>
                    <a:lnTo>
                      <a:pt x="1160" y="1932"/>
                    </a:lnTo>
                    <a:lnTo>
                      <a:pt x="1151" y="1922"/>
                    </a:lnTo>
                    <a:lnTo>
                      <a:pt x="1143" y="1913"/>
                    </a:lnTo>
                    <a:lnTo>
                      <a:pt x="1136" y="1896"/>
                    </a:lnTo>
                    <a:lnTo>
                      <a:pt x="1125" y="1893"/>
                    </a:lnTo>
                    <a:lnTo>
                      <a:pt x="1116" y="1898"/>
                    </a:lnTo>
                    <a:lnTo>
                      <a:pt x="1103" y="1907"/>
                    </a:lnTo>
                    <a:lnTo>
                      <a:pt x="1083" y="1914"/>
                    </a:lnTo>
                    <a:lnTo>
                      <a:pt x="1074" y="1914"/>
                    </a:lnTo>
                    <a:lnTo>
                      <a:pt x="1073" y="1919"/>
                    </a:lnTo>
                    <a:lnTo>
                      <a:pt x="1062" y="1914"/>
                    </a:lnTo>
                    <a:lnTo>
                      <a:pt x="1056" y="1916"/>
                    </a:lnTo>
                    <a:lnTo>
                      <a:pt x="1052" y="1907"/>
                    </a:lnTo>
                    <a:lnTo>
                      <a:pt x="1055" y="1902"/>
                    </a:lnTo>
                    <a:lnTo>
                      <a:pt x="1046" y="1890"/>
                    </a:lnTo>
                    <a:lnTo>
                      <a:pt x="1040" y="1875"/>
                    </a:lnTo>
                    <a:lnTo>
                      <a:pt x="1026" y="1868"/>
                    </a:lnTo>
                    <a:lnTo>
                      <a:pt x="1019" y="1857"/>
                    </a:lnTo>
                    <a:lnTo>
                      <a:pt x="1011" y="1856"/>
                    </a:lnTo>
                    <a:lnTo>
                      <a:pt x="1016" y="1844"/>
                    </a:lnTo>
                    <a:lnTo>
                      <a:pt x="1014" y="1832"/>
                    </a:lnTo>
                    <a:lnTo>
                      <a:pt x="1022" y="1826"/>
                    </a:lnTo>
                    <a:lnTo>
                      <a:pt x="1031" y="1823"/>
                    </a:lnTo>
                    <a:lnTo>
                      <a:pt x="1034" y="1818"/>
                    </a:lnTo>
                    <a:lnTo>
                      <a:pt x="1035" y="1811"/>
                    </a:lnTo>
                    <a:lnTo>
                      <a:pt x="1037" y="1797"/>
                    </a:lnTo>
                    <a:lnTo>
                      <a:pt x="1037" y="1790"/>
                    </a:lnTo>
                    <a:lnTo>
                      <a:pt x="1032" y="1784"/>
                    </a:lnTo>
                    <a:lnTo>
                      <a:pt x="1031" y="1785"/>
                    </a:lnTo>
                    <a:lnTo>
                      <a:pt x="1031" y="1793"/>
                    </a:lnTo>
                    <a:lnTo>
                      <a:pt x="1031" y="1796"/>
                    </a:lnTo>
                    <a:lnTo>
                      <a:pt x="1025" y="1794"/>
                    </a:lnTo>
                    <a:lnTo>
                      <a:pt x="1019" y="1790"/>
                    </a:lnTo>
                    <a:lnTo>
                      <a:pt x="1016" y="1790"/>
                    </a:lnTo>
                    <a:lnTo>
                      <a:pt x="1011" y="1788"/>
                    </a:lnTo>
                    <a:lnTo>
                      <a:pt x="1011" y="1817"/>
                    </a:lnTo>
                    <a:lnTo>
                      <a:pt x="1002" y="1820"/>
                    </a:lnTo>
                    <a:lnTo>
                      <a:pt x="996" y="1817"/>
                    </a:lnTo>
                    <a:lnTo>
                      <a:pt x="992" y="1821"/>
                    </a:lnTo>
                    <a:lnTo>
                      <a:pt x="983" y="1815"/>
                    </a:lnTo>
                    <a:lnTo>
                      <a:pt x="974" y="1805"/>
                    </a:lnTo>
                    <a:lnTo>
                      <a:pt x="966" y="1803"/>
                    </a:lnTo>
                    <a:lnTo>
                      <a:pt x="962" y="1806"/>
                    </a:lnTo>
                    <a:lnTo>
                      <a:pt x="948" y="1797"/>
                    </a:lnTo>
                    <a:lnTo>
                      <a:pt x="936" y="1796"/>
                    </a:lnTo>
                    <a:lnTo>
                      <a:pt x="918" y="1785"/>
                    </a:lnTo>
                    <a:lnTo>
                      <a:pt x="911" y="1779"/>
                    </a:lnTo>
                    <a:lnTo>
                      <a:pt x="899" y="1757"/>
                    </a:lnTo>
                    <a:lnTo>
                      <a:pt x="903" y="1749"/>
                    </a:lnTo>
                    <a:lnTo>
                      <a:pt x="891" y="1743"/>
                    </a:lnTo>
                    <a:lnTo>
                      <a:pt x="882" y="1739"/>
                    </a:lnTo>
                    <a:lnTo>
                      <a:pt x="882" y="1725"/>
                    </a:lnTo>
                    <a:lnTo>
                      <a:pt x="881" y="1718"/>
                    </a:lnTo>
                    <a:lnTo>
                      <a:pt x="876" y="1713"/>
                    </a:lnTo>
                    <a:lnTo>
                      <a:pt x="873" y="1706"/>
                    </a:lnTo>
                    <a:lnTo>
                      <a:pt x="866" y="1707"/>
                    </a:lnTo>
                    <a:lnTo>
                      <a:pt x="863" y="1703"/>
                    </a:lnTo>
                    <a:lnTo>
                      <a:pt x="852" y="1706"/>
                    </a:lnTo>
                    <a:lnTo>
                      <a:pt x="843" y="1703"/>
                    </a:lnTo>
                    <a:lnTo>
                      <a:pt x="839" y="1698"/>
                    </a:lnTo>
                    <a:lnTo>
                      <a:pt x="831" y="1700"/>
                    </a:lnTo>
                    <a:lnTo>
                      <a:pt x="824" y="1694"/>
                    </a:lnTo>
                    <a:lnTo>
                      <a:pt x="821" y="1689"/>
                    </a:lnTo>
                    <a:lnTo>
                      <a:pt x="819" y="1682"/>
                    </a:lnTo>
                    <a:lnTo>
                      <a:pt x="815" y="1679"/>
                    </a:lnTo>
                    <a:lnTo>
                      <a:pt x="810" y="1680"/>
                    </a:lnTo>
                    <a:lnTo>
                      <a:pt x="806" y="1677"/>
                    </a:lnTo>
                    <a:lnTo>
                      <a:pt x="803" y="1680"/>
                    </a:lnTo>
                    <a:lnTo>
                      <a:pt x="800" y="1679"/>
                    </a:lnTo>
                    <a:lnTo>
                      <a:pt x="792" y="1676"/>
                    </a:lnTo>
                    <a:lnTo>
                      <a:pt x="785" y="1668"/>
                    </a:lnTo>
                    <a:lnTo>
                      <a:pt x="785" y="1661"/>
                    </a:lnTo>
                    <a:lnTo>
                      <a:pt x="777" y="1661"/>
                    </a:lnTo>
                    <a:lnTo>
                      <a:pt x="770" y="1655"/>
                    </a:lnTo>
                    <a:lnTo>
                      <a:pt x="768" y="1661"/>
                    </a:lnTo>
                    <a:lnTo>
                      <a:pt x="761" y="1656"/>
                    </a:lnTo>
                    <a:lnTo>
                      <a:pt x="756" y="1647"/>
                    </a:lnTo>
                    <a:lnTo>
                      <a:pt x="758" y="1637"/>
                    </a:lnTo>
                    <a:lnTo>
                      <a:pt x="767" y="1623"/>
                    </a:lnTo>
                    <a:lnTo>
                      <a:pt x="782" y="1616"/>
                    </a:lnTo>
                    <a:lnTo>
                      <a:pt x="789" y="1611"/>
                    </a:lnTo>
                    <a:lnTo>
                      <a:pt x="786" y="1604"/>
                    </a:lnTo>
                    <a:lnTo>
                      <a:pt x="780" y="1596"/>
                    </a:lnTo>
                    <a:lnTo>
                      <a:pt x="780" y="1580"/>
                    </a:lnTo>
                    <a:lnTo>
                      <a:pt x="753" y="1575"/>
                    </a:lnTo>
                    <a:lnTo>
                      <a:pt x="741" y="1575"/>
                    </a:lnTo>
                    <a:lnTo>
                      <a:pt x="738" y="1566"/>
                    </a:lnTo>
                    <a:lnTo>
                      <a:pt x="738" y="1559"/>
                    </a:lnTo>
                    <a:lnTo>
                      <a:pt x="744" y="1563"/>
                    </a:lnTo>
                    <a:lnTo>
                      <a:pt x="752" y="1563"/>
                    </a:lnTo>
                    <a:lnTo>
                      <a:pt x="752" y="1556"/>
                    </a:lnTo>
                    <a:lnTo>
                      <a:pt x="758" y="1554"/>
                    </a:lnTo>
                    <a:lnTo>
                      <a:pt x="762" y="1551"/>
                    </a:lnTo>
                    <a:lnTo>
                      <a:pt x="768" y="1554"/>
                    </a:lnTo>
                    <a:lnTo>
                      <a:pt x="768" y="1547"/>
                    </a:lnTo>
                    <a:lnTo>
                      <a:pt x="767" y="1538"/>
                    </a:lnTo>
                    <a:lnTo>
                      <a:pt x="761" y="1533"/>
                    </a:lnTo>
                    <a:lnTo>
                      <a:pt x="756" y="1530"/>
                    </a:lnTo>
                    <a:lnTo>
                      <a:pt x="753" y="1524"/>
                    </a:lnTo>
                    <a:lnTo>
                      <a:pt x="744" y="1526"/>
                    </a:lnTo>
                    <a:lnTo>
                      <a:pt x="738" y="1517"/>
                    </a:lnTo>
                    <a:lnTo>
                      <a:pt x="734" y="1515"/>
                    </a:lnTo>
                    <a:lnTo>
                      <a:pt x="731" y="1509"/>
                    </a:lnTo>
                    <a:lnTo>
                      <a:pt x="725" y="1506"/>
                    </a:lnTo>
                    <a:lnTo>
                      <a:pt x="731" y="1488"/>
                    </a:lnTo>
                    <a:lnTo>
                      <a:pt x="729" y="1479"/>
                    </a:lnTo>
                    <a:lnTo>
                      <a:pt x="725" y="1476"/>
                    </a:lnTo>
                    <a:lnTo>
                      <a:pt x="720" y="1475"/>
                    </a:lnTo>
                    <a:lnTo>
                      <a:pt x="720" y="1466"/>
                    </a:lnTo>
                    <a:lnTo>
                      <a:pt x="726" y="1460"/>
                    </a:lnTo>
                    <a:lnTo>
                      <a:pt x="723" y="1454"/>
                    </a:lnTo>
                    <a:lnTo>
                      <a:pt x="719" y="1446"/>
                    </a:lnTo>
                    <a:lnTo>
                      <a:pt x="711" y="1451"/>
                    </a:lnTo>
                    <a:lnTo>
                      <a:pt x="699" y="1442"/>
                    </a:lnTo>
                    <a:lnTo>
                      <a:pt x="690" y="1439"/>
                    </a:lnTo>
                    <a:lnTo>
                      <a:pt x="683" y="1433"/>
                    </a:lnTo>
                    <a:lnTo>
                      <a:pt x="680" y="1422"/>
                    </a:lnTo>
                    <a:lnTo>
                      <a:pt x="683" y="1418"/>
                    </a:lnTo>
                    <a:lnTo>
                      <a:pt x="680" y="1412"/>
                    </a:lnTo>
                    <a:lnTo>
                      <a:pt x="684" y="1409"/>
                    </a:lnTo>
                    <a:lnTo>
                      <a:pt x="684" y="1401"/>
                    </a:lnTo>
                    <a:lnTo>
                      <a:pt x="677" y="1400"/>
                    </a:lnTo>
                    <a:lnTo>
                      <a:pt x="665" y="1389"/>
                    </a:lnTo>
                    <a:lnTo>
                      <a:pt x="659" y="1374"/>
                    </a:lnTo>
                    <a:lnTo>
                      <a:pt x="660" y="1367"/>
                    </a:lnTo>
                    <a:lnTo>
                      <a:pt x="663" y="1361"/>
                    </a:lnTo>
                    <a:lnTo>
                      <a:pt x="660" y="1356"/>
                    </a:lnTo>
                    <a:lnTo>
                      <a:pt x="653" y="1347"/>
                    </a:lnTo>
                    <a:lnTo>
                      <a:pt x="651" y="1335"/>
                    </a:lnTo>
                    <a:lnTo>
                      <a:pt x="653" y="1325"/>
                    </a:lnTo>
                    <a:lnTo>
                      <a:pt x="656" y="1314"/>
                    </a:lnTo>
                    <a:lnTo>
                      <a:pt x="626" y="1310"/>
                    </a:lnTo>
                    <a:lnTo>
                      <a:pt x="621" y="1326"/>
                    </a:lnTo>
                    <a:lnTo>
                      <a:pt x="617" y="1331"/>
                    </a:lnTo>
                    <a:lnTo>
                      <a:pt x="599" y="1349"/>
                    </a:lnTo>
                    <a:lnTo>
                      <a:pt x="593" y="1344"/>
                    </a:lnTo>
                    <a:lnTo>
                      <a:pt x="588" y="1328"/>
                    </a:lnTo>
                    <a:lnTo>
                      <a:pt x="578" y="1332"/>
                    </a:lnTo>
                    <a:lnTo>
                      <a:pt x="564" y="1364"/>
                    </a:lnTo>
                    <a:lnTo>
                      <a:pt x="533" y="1364"/>
                    </a:lnTo>
                    <a:lnTo>
                      <a:pt x="527" y="1347"/>
                    </a:lnTo>
                    <a:lnTo>
                      <a:pt x="515" y="1352"/>
                    </a:lnTo>
                    <a:lnTo>
                      <a:pt x="495" y="1347"/>
                    </a:lnTo>
                    <a:lnTo>
                      <a:pt x="486" y="1349"/>
                    </a:lnTo>
                    <a:lnTo>
                      <a:pt x="483" y="1365"/>
                    </a:lnTo>
                    <a:lnTo>
                      <a:pt x="494" y="1377"/>
                    </a:lnTo>
                    <a:lnTo>
                      <a:pt x="491" y="1385"/>
                    </a:lnTo>
                    <a:lnTo>
                      <a:pt x="471" y="1388"/>
                    </a:lnTo>
                    <a:lnTo>
                      <a:pt x="458" y="1382"/>
                    </a:lnTo>
                    <a:lnTo>
                      <a:pt x="452" y="1386"/>
                    </a:lnTo>
                    <a:lnTo>
                      <a:pt x="440" y="1394"/>
                    </a:lnTo>
                    <a:lnTo>
                      <a:pt x="455" y="1412"/>
                    </a:lnTo>
                    <a:lnTo>
                      <a:pt x="468" y="1404"/>
                    </a:lnTo>
                    <a:lnTo>
                      <a:pt x="488" y="1407"/>
                    </a:lnTo>
                    <a:lnTo>
                      <a:pt x="491" y="1428"/>
                    </a:lnTo>
                    <a:lnTo>
                      <a:pt x="477" y="1434"/>
                    </a:lnTo>
                    <a:lnTo>
                      <a:pt x="465" y="1434"/>
                    </a:lnTo>
                    <a:lnTo>
                      <a:pt x="453" y="1443"/>
                    </a:lnTo>
                    <a:lnTo>
                      <a:pt x="444" y="1448"/>
                    </a:lnTo>
                    <a:lnTo>
                      <a:pt x="420" y="1448"/>
                    </a:lnTo>
                    <a:lnTo>
                      <a:pt x="417" y="1455"/>
                    </a:lnTo>
                    <a:lnTo>
                      <a:pt x="429" y="1458"/>
                    </a:lnTo>
                    <a:lnTo>
                      <a:pt x="383" y="1482"/>
                    </a:lnTo>
                    <a:lnTo>
                      <a:pt x="372" y="1481"/>
                    </a:lnTo>
                    <a:lnTo>
                      <a:pt x="368" y="1475"/>
                    </a:lnTo>
                    <a:lnTo>
                      <a:pt x="377" y="1470"/>
                    </a:lnTo>
                    <a:lnTo>
                      <a:pt x="383" y="1455"/>
                    </a:lnTo>
                    <a:lnTo>
                      <a:pt x="351" y="1451"/>
                    </a:lnTo>
                    <a:lnTo>
                      <a:pt x="347" y="1440"/>
                    </a:lnTo>
                    <a:lnTo>
                      <a:pt x="336" y="1437"/>
                    </a:lnTo>
                    <a:lnTo>
                      <a:pt x="327" y="1422"/>
                    </a:lnTo>
                    <a:lnTo>
                      <a:pt x="321" y="1421"/>
                    </a:lnTo>
                    <a:lnTo>
                      <a:pt x="317" y="1431"/>
                    </a:lnTo>
                    <a:lnTo>
                      <a:pt x="299" y="1451"/>
                    </a:lnTo>
                    <a:lnTo>
                      <a:pt x="293" y="1449"/>
                    </a:lnTo>
                    <a:lnTo>
                      <a:pt x="284" y="1434"/>
                    </a:lnTo>
                    <a:lnTo>
                      <a:pt x="275" y="1428"/>
                    </a:lnTo>
                    <a:lnTo>
                      <a:pt x="272" y="1437"/>
                    </a:lnTo>
                    <a:lnTo>
                      <a:pt x="255" y="1449"/>
                    </a:lnTo>
                    <a:lnTo>
                      <a:pt x="248" y="1449"/>
                    </a:lnTo>
                    <a:lnTo>
                      <a:pt x="236" y="1440"/>
                    </a:lnTo>
                    <a:lnTo>
                      <a:pt x="230" y="1448"/>
                    </a:lnTo>
                    <a:lnTo>
                      <a:pt x="227" y="1446"/>
                    </a:lnTo>
                    <a:lnTo>
                      <a:pt x="210" y="1449"/>
                    </a:lnTo>
                    <a:lnTo>
                      <a:pt x="195" y="1455"/>
                    </a:lnTo>
                    <a:lnTo>
                      <a:pt x="195" y="1461"/>
                    </a:lnTo>
                    <a:lnTo>
                      <a:pt x="186" y="1463"/>
                    </a:lnTo>
                    <a:lnTo>
                      <a:pt x="177" y="1457"/>
                    </a:lnTo>
                    <a:lnTo>
                      <a:pt x="173" y="1460"/>
                    </a:lnTo>
                    <a:lnTo>
                      <a:pt x="167" y="1454"/>
                    </a:lnTo>
                    <a:lnTo>
                      <a:pt x="156" y="1454"/>
                    </a:lnTo>
                    <a:lnTo>
                      <a:pt x="155" y="1458"/>
                    </a:lnTo>
                    <a:lnTo>
                      <a:pt x="147" y="1451"/>
                    </a:lnTo>
                    <a:lnTo>
                      <a:pt x="146" y="1457"/>
                    </a:lnTo>
                    <a:lnTo>
                      <a:pt x="141" y="1461"/>
                    </a:lnTo>
                    <a:lnTo>
                      <a:pt x="129" y="1461"/>
                    </a:lnTo>
                    <a:lnTo>
                      <a:pt x="126" y="1460"/>
                    </a:lnTo>
                    <a:lnTo>
                      <a:pt x="129" y="1443"/>
                    </a:lnTo>
                    <a:lnTo>
                      <a:pt x="140" y="1419"/>
                    </a:lnTo>
                    <a:lnTo>
                      <a:pt x="149" y="1406"/>
                    </a:lnTo>
                    <a:lnTo>
                      <a:pt x="132" y="1403"/>
                    </a:lnTo>
                    <a:lnTo>
                      <a:pt x="126" y="1397"/>
                    </a:lnTo>
                    <a:lnTo>
                      <a:pt x="125" y="1386"/>
                    </a:lnTo>
                    <a:lnTo>
                      <a:pt x="137" y="1383"/>
                    </a:lnTo>
                    <a:lnTo>
                      <a:pt x="131" y="1371"/>
                    </a:lnTo>
                    <a:lnTo>
                      <a:pt x="119" y="1362"/>
                    </a:lnTo>
                    <a:lnTo>
                      <a:pt x="116" y="1343"/>
                    </a:lnTo>
                    <a:lnTo>
                      <a:pt x="126" y="1334"/>
                    </a:lnTo>
                    <a:lnTo>
                      <a:pt x="134" y="1328"/>
                    </a:lnTo>
                    <a:lnTo>
                      <a:pt x="120" y="1319"/>
                    </a:lnTo>
                    <a:lnTo>
                      <a:pt x="107" y="1308"/>
                    </a:lnTo>
                    <a:lnTo>
                      <a:pt x="99" y="1301"/>
                    </a:lnTo>
                    <a:lnTo>
                      <a:pt x="93" y="1304"/>
                    </a:lnTo>
                    <a:lnTo>
                      <a:pt x="89" y="1307"/>
                    </a:lnTo>
                    <a:lnTo>
                      <a:pt x="83" y="1308"/>
                    </a:lnTo>
                    <a:lnTo>
                      <a:pt x="65" y="1296"/>
                    </a:lnTo>
                    <a:lnTo>
                      <a:pt x="54" y="1290"/>
                    </a:lnTo>
                    <a:lnTo>
                      <a:pt x="36" y="1298"/>
                    </a:lnTo>
                    <a:lnTo>
                      <a:pt x="30" y="1296"/>
                    </a:lnTo>
                    <a:lnTo>
                      <a:pt x="24" y="1304"/>
                    </a:lnTo>
                    <a:lnTo>
                      <a:pt x="17" y="1283"/>
                    </a:lnTo>
                    <a:lnTo>
                      <a:pt x="20" y="1272"/>
                    </a:lnTo>
                    <a:lnTo>
                      <a:pt x="32" y="1263"/>
                    </a:lnTo>
                    <a:lnTo>
                      <a:pt x="39" y="1259"/>
                    </a:lnTo>
                    <a:lnTo>
                      <a:pt x="41" y="1254"/>
                    </a:lnTo>
                    <a:lnTo>
                      <a:pt x="44" y="1242"/>
                    </a:lnTo>
                    <a:lnTo>
                      <a:pt x="62" y="1235"/>
                    </a:lnTo>
                    <a:lnTo>
                      <a:pt x="69" y="1217"/>
                    </a:lnTo>
                    <a:lnTo>
                      <a:pt x="63" y="1202"/>
                    </a:lnTo>
                    <a:lnTo>
                      <a:pt x="65" y="1191"/>
                    </a:lnTo>
                    <a:lnTo>
                      <a:pt x="60" y="1190"/>
                    </a:lnTo>
                    <a:lnTo>
                      <a:pt x="57" y="1184"/>
                    </a:lnTo>
                    <a:lnTo>
                      <a:pt x="63" y="1178"/>
                    </a:lnTo>
                    <a:lnTo>
                      <a:pt x="83" y="1182"/>
                    </a:lnTo>
                    <a:lnTo>
                      <a:pt x="87" y="1173"/>
                    </a:lnTo>
                    <a:lnTo>
                      <a:pt x="99" y="1166"/>
                    </a:lnTo>
                    <a:lnTo>
                      <a:pt x="90" y="1158"/>
                    </a:lnTo>
                    <a:lnTo>
                      <a:pt x="75" y="1154"/>
                    </a:lnTo>
                    <a:lnTo>
                      <a:pt x="66" y="1146"/>
                    </a:lnTo>
                    <a:lnTo>
                      <a:pt x="60" y="1151"/>
                    </a:lnTo>
                    <a:lnTo>
                      <a:pt x="44" y="1161"/>
                    </a:lnTo>
                    <a:lnTo>
                      <a:pt x="26" y="1172"/>
                    </a:lnTo>
                    <a:lnTo>
                      <a:pt x="21" y="1181"/>
                    </a:lnTo>
                    <a:lnTo>
                      <a:pt x="14" y="1167"/>
                    </a:lnTo>
                    <a:lnTo>
                      <a:pt x="15" y="1152"/>
                    </a:lnTo>
                    <a:lnTo>
                      <a:pt x="5" y="1133"/>
                    </a:lnTo>
                    <a:lnTo>
                      <a:pt x="0" y="1133"/>
                    </a:lnTo>
                    <a:lnTo>
                      <a:pt x="2" y="1127"/>
                    </a:lnTo>
                    <a:lnTo>
                      <a:pt x="9" y="1101"/>
                    </a:lnTo>
                    <a:lnTo>
                      <a:pt x="15" y="1092"/>
                    </a:lnTo>
                    <a:lnTo>
                      <a:pt x="27" y="1079"/>
                    </a:lnTo>
                    <a:lnTo>
                      <a:pt x="48" y="1082"/>
                    </a:lnTo>
                    <a:lnTo>
                      <a:pt x="47" y="1061"/>
                    </a:lnTo>
                    <a:lnTo>
                      <a:pt x="44" y="1044"/>
                    </a:lnTo>
                    <a:lnTo>
                      <a:pt x="68" y="1046"/>
                    </a:lnTo>
                    <a:lnTo>
                      <a:pt x="92" y="1062"/>
                    </a:lnTo>
                    <a:lnTo>
                      <a:pt x="102" y="1065"/>
                    </a:lnTo>
                    <a:lnTo>
                      <a:pt x="110" y="1061"/>
                    </a:lnTo>
                    <a:lnTo>
                      <a:pt x="113" y="1050"/>
                    </a:lnTo>
                    <a:lnTo>
                      <a:pt x="122" y="1050"/>
                    </a:lnTo>
                    <a:lnTo>
                      <a:pt x="122" y="1041"/>
                    </a:lnTo>
                    <a:lnTo>
                      <a:pt x="117" y="1028"/>
                    </a:lnTo>
                    <a:lnTo>
                      <a:pt x="119" y="1017"/>
                    </a:lnTo>
                    <a:lnTo>
                      <a:pt x="114" y="1008"/>
                    </a:lnTo>
                    <a:lnTo>
                      <a:pt x="101" y="1017"/>
                    </a:lnTo>
                    <a:lnTo>
                      <a:pt x="89" y="1005"/>
                    </a:lnTo>
                    <a:lnTo>
                      <a:pt x="98" y="989"/>
                    </a:lnTo>
                    <a:lnTo>
                      <a:pt x="134" y="990"/>
                    </a:lnTo>
                    <a:lnTo>
                      <a:pt x="138" y="977"/>
                    </a:lnTo>
                    <a:lnTo>
                      <a:pt x="150" y="945"/>
                    </a:lnTo>
                    <a:lnTo>
                      <a:pt x="144" y="938"/>
                    </a:lnTo>
                    <a:lnTo>
                      <a:pt x="143" y="930"/>
                    </a:lnTo>
                    <a:lnTo>
                      <a:pt x="153" y="920"/>
                    </a:lnTo>
                    <a:lnTo>
                      <a:pt x="150" y="903"/>
                    </a:lnTo>
                    <a:lnTo>
                      <a:pt x="162" y="905"/>
                    </a:lnTo>
                    <a:lnTo>
                      <a:pt x="170" y="896"/>
                    </a:lnTo>
                    <a:lnTo>
                      <a:pt x="156" y="884"/>
                    </a:lnTo>
                    <a:lnTo>
                      <a:pt x="150" y="881"/>
                    </a:lnTo>
                    <a:lnTo>
                      <a:pt x="146" y="873"/>
                    </a:lnTo>
                    <a:lnTo>
                      <a:pt x="140" y="863"/>
                    </a:lnTo>
                    <a:lnTo>
                      <a:pt x="129" y="864"/>
                    </a:lnTo>
                    <a:lnTo>
                      <a:pt x="120" y="867"/>
                    </a:lnTo>
                    <a:lnTo>
                      <a:pt x="116" y="855"/>
                    </a:lnTo>
                    <a:lnTo>
                      <a:pt x="105" y="854"/>
                    </a:lnTo>
                    <a:lnTo>
                      <a:pt x="107" y="837"/>
                    </a:lnTo>
                    <a:lnTo>
                      <a:pt x="114" y="834"/>
                    </a:lnTo>
                    <a:lnTo>
                      <a:pt x="125" y="812"/>
                    </a:lnTo>
                    <a:lnTo>
                      <a:pt x="123" y="803"/>
                    </a:lnTo>
                    <a:lnTo>
                      <a:pt x="116" y="791"/>
                    </a:lnTo>
                    <a:lnTo>
                      <a:pt x="119" y="786"/>
                    </a:lnTo>
                    <a:lnTo>
                      <a:pt x="125" y="771"/>
                    </a:lnTo>
                    <a:lnTo>
                      <a:pt x="131" y="770"/>
                    </a:lnTo>
                    <a:lnTo>
                      <a:pt x="141" y="767"/>
                    </a:lnTo>
                    <a:lnTo>
                      <a:pt x="146" y="771"/>
                    </a:lnTo>
                    <a:lnTo>
                      <a:pt x="156" y="785"/>
                    </a:lnTo>
                    <a:lnTo>
                      <a:pt x="158" y="806"/>
                    </a:lnTo>
                    <a:lnTo>
                      <a:pt x="159" y="813"/>
                    </a:lnTo>
                    <a:lnTo>
                      <a:pt x="165" y="807"/>
                    </a:lnTo>
                    <a:lnTo>
                      <a:pt x="165" y="798"/>
                    </a:lnTo>
                    <a:lnTo>
                      <a:pt x="170" y="792"/>
                    </a:lnTo>
                    <a:lnTo>
                      <a:pt x="189" y="797"/>
                    </a:lnTo>
                    <a:lnTo>
                      <a:pt x="192" y="800"/>
                    </a:lnTo>
                    <a:lnTo>
                      <a:pt x="204" y="789"/>
                    </a:lnTo>
                    <a:lnTo>
                      <a:pt x="215" y="795"/>
                    </a:lnTo>
                    <a:lnTo>
                      <a:pt x="227" y="792"/>
                    </a:lnTo>
                    <a:lnTo>
                      <a:pt x="249" y="792"/>
                    </a:lnTo>
                    <a:lnTo>
                      <a:pt x="257" y="783"/>
                    </a:lnTo>
                    <a:lnTo>
                      <a:pt x="257" y="774"/>
                    </a:lnTo>
                    <a:lnTo>
                      <a:pt x="251" y="767"/>
                    </a:lnTo>
                    <a:lnTo>
                      <a:pt x="243" y="761"/>
                    </a:lnTo>
                    <a:lnTo>
                      <a:pt x="243" y="756"/>
                    </a:lnTo>
                    <a:lnTo>
                      <a:pt x="251" y="746"/>
                    </a:lnTo>
                    <a:lnTo>
                      <a:pt x="249" y="731"/>
                    </a:lnTo>
                    <a:lnTo>
                      <a:pt x="249" y="722"/>
                    </a:lnTo>
                    <a:lnTo>
                      <a:pt x="245" y="717"/>
                    </a:lnTo>
                    <a:lnTo>
                      <a:pt x="240" y="717"/>
                    </a:lnTo>
                    <a:lnTo>
                      <a:pt x="240" y="713"/>
                    </a:lnTo>
                    <a:lnTo>
                      <a:pt x="234" y="710"/>
                    </a:lnTo>
                    <a:lnTo>
                      <a:pt x="227" y="714"/>
                    </a:lnTo>
                    <a:lnTo>
                      <a:pt x="224" y="711"/>
                    </a:lnTo>
                    <a:lnTo>
                      <a:pt x="227" y="704"/>
                    </a:lnTo>
                    <a:lnTo>
                      <a:pt x="219" y="696"/>
                    </a:lnTo>
                    <a:lnTo>
                      <a:pt x="224" y="692"/>
                    </a:lnTo>
                    <a:lnTo>
                      <a:pt x="236" y="689"/>
                    </a:lnTo>
                    <a:lnTo>
                      <a:pt x="233" y="681"/>
                    </a:lnTo>
                    <a:lnTo>
                      <a:pt x="231" y="666"/>
                    </a:lnTo>
                    <a:lnTo>
                      <a:pt x="230" y="665"/>
                    </a:lnTo>
                    <a:lnTo>
                      <a:pt x="219" y="657"/>
                    </a:lnTo>
                    <a:lnTo>
                      <a:pt x="227" y="648"/>
                    </a:lnTo>
                    <a:lnTo>
                      <a:pt x="227" y="626"/>
                    </a:lnTo>
                    <a:lnTo>
                      <a:pt x="219" y="621"/>
                    </a:lnTo>
                    <a:lnTo>
                      <a:pt x="213" y="611"/>
                    </a:lnTo>
                    <a:lnTo>
                      <a:pt x="206" y="605"/>
                    </a:lnTo>
                    <a:lnTo>
                      <a:pt x="204" y="596"/>
                    </a:lnTo>
                    <a:lnTo>
                      <a:pt x="195" y="582"/>
                    </a:lnTo>
                    <a:lnTo>
                      <a:pt x="212" y="579"/>
                    </a:lnTo>
                    <a:lnTo>
                      <a:pt x="219" y="582"/>
                    </a:lnTo>
                    <a:lnTo>
                      <a:pt x="221" y="599"/>
                    </a:lnTo>
                    <a:lnTo>
                      <a:pt x="233" y="582"/>
                    </a:lnTo>
                    <a:lnTo>
                      <a:pt x="234" y="575"/>
                    </a:lnTo>
                    <a:lnTo>
                      <a:pt x="243" y="567"/>
                    </a:lnTo>
                    <a:lnTo>
                      <a:pt x="255" y="563"/>
                    </a:lnTo>
                    <a:lnTo>
                      <a:pt x="269" y="560"/>
                    </a:lnTo>
                    <a:lnTo>
                      <a:pt x="270" y="549"/>
                    </a:lnTo>
                    <a:lnTo>
                      <a:pt x="275" y="551"/>
                    </a:lnTo>
                    <a:lnTo>
                      <a:pt x="288" y="549"/>
                    </a:lnTo>
                    <a:lnTo>
                      <a:pt x="288" y="542"/>
                    </a:lnTo>
                    <a:lnTo>
                      <a:pt x="288" y="536"/>
                    </a:lnTo>
                    <a:lnTo>
                      <a:pt x="284" y="527"/>
                    </a:lnTo>
                    <a:lnTo>
                      <a:pt x="287" y="521"/>
                    </a:lnTo>
                    <a:lnTo>
                      <a:pt x="291" y="516"/>
                    </a:lnTo>
                    <a:lnTo>
                      <a:pt x="309" y="500"/>
                    </a:lnTo>
                    <a:lnTo>
                      <a:pt x="327" y="485"/>
                    </a:lnTo>
                    <a:lnTo>
                      <a:pt x="330" y="471"/>
                    </a:lnTo>
                    <a:lnTo>
                      <a:pt x="326" y="455"/>
                    </a:lnTo>
                    <a:lnTo>
                      <a:pt x="326" y="447"/>
                    </a:lnTo>
                    <a:lnTo>
                      <a:pt x="324" y="441"/>
                    </a:lnTo>
                    <a:lnTo>
                      <a:pt x="329" y="438"/>
                    </a:lnTo>
                    <a:lnTo>
                      <a:pt x="338" y="435"/>
                    </a:lnTo>
                    <a:lnTo>
                      <a:pt x="341" y="428"/>
                    </a:lnTo>
                    <a:lnTo>
                      <a:pt x="354" y="425"/>
                    </a:lnTo>
                    <a:lnTo>
                      <a:pt x="363" y="423"/>
                    </a:lnTo>
                    <a:lnTo>
                      <a:pt x="366" y="426"/>
                    </a:lnTo>
                    <a:lnTo>
                      <a:pt x="374" y="422"/>
                    </a:lnTo>
                    <a:lnTo>
                      <a:pt x="384" y="419"/>
                    </a:lnTo>
                    <a:lnTo>
                      <a:pt x="390" y="413"/>
                    </a:lnTo>
                    <a:lnTo>
                      <a:pt x="398" y="413"/>
                    </a:lnTo>
                    <a:lnTo>
                      <a:pt x="401" y="408"/>
                    </a:lnTo>
                    <a:lnTo>
                      <a:pt x="402" y="398"/>
                    </a:lnTo>
                    <a:lnTo>
                      <a:pt x="404" y="395"/>
                    </a:lnTo>
                    <a:lnTo>
                      <a:pt x="413" y="393"/>
                    </a:lnTo>
                    <a:lnTo>
                      <a:pt x="423" y="380"/>
                    </a:lnTo>
                    <a:lnTo>
                      <a:pt x="435" y="387"/>
                    </a:lnTo>
                    <a:lnTo>
                      <a:pt x="444" y="371"/>
                    </a:lnTo>
                    <a:lnTo>
                      <a:pt x="441" y="365"/>
                    </a:lnTo>
                    <a:lnTo>
                      <a:pt x="447" y="354"/>
                    </a:lnTo>
                    <a:lnTo>
                      <a:pt x="458" y="357"/>
                    </a:lnTo>
                    <a:lnTo>
                      <a:pt x="459" y="341"/>
                    </a:lnTo>
                    <a:lnTo>
                      <a:pt x="464" y="330"/>
                    </a:lnTo>
                    <a:lnTo>
                      <a:pt x="458" y="329"/>
                    </a:lnTo>
                    <a:lnTo>
                      <a:pt x="453" y="323"/>
                    </a:lnTo>
                    <a:lnTo>
                      <a:pt x="441" y="312"/>
                    </a:lnTo>
                    <a:lnTo>
                      <a:pt x="447" y="305"/>
                    </a:lnTo>
                    <a:lnTo>
                      <a:pt x="450" y="302"/>
                    </a:lnTo>
                    <a:lnTo>
                      <a:pt x="440" y="297"/>
                    </a:lnTo>
                    <a:lnTo>
                      <a:pt x="446" y="291"/>
                    </a:lnTo>
                    <a:lnTo>
                      <a:pt x="467" y="282"/>
                    </a:lnTo>
                    <a:lnTo>
                      <a:pt x="489" y="278"/>
                    </a:lnTo>
                    <a:lnTo>
                      <a:pt x="498" y="273"/>
                    </a:lnTo>
                    <a:lnTo>
                      <a:pt x="494" y="251"/>
                    </a:lnTo>
                    <a:lnTo>
                      <a:pt x="495" y="239"/>
                    </a:lnTo>
                    <a:lnTo>
                      <a:pt x="498" y="234"/>
                    </a:lnTo>
                    <a:lnTo>
                      <a:pt x="503" y="236"/>
                    </a:lnTo>
                    <a:lnTo>
                      <a:pt x="506" y="239"/>
                    </a:lnTo>
                    <a:lnTo>
                      <a:pt x="516" y="227"/>
                    </a:lnTo>
                    <a:lnTo>
                      <a:pt x="521" y="228"/>
                    </a:lnTo>
                    <a:lnTo>
                      <a:pt x="527" y="228"/>
                    </a:lnTo>
                    <a:lnTo>
                      <a:pt x="528" y="213"/>
                    </a:lnTo>
                    <a:lnTo>
                      <a:pt x="530" y="213"/>
                    </a:lnTo>
                    <a:lnTo>
                      <a:pt x="533" y="207"/>
                    </a:lnTo>
                    <a:lnTo>
                      <a:pt x="539" y="206"/>
                    </a:lnTo>
                    <a:lnTo>
                      <a:pt x="549" y="203"/>
                    </a:lnTo>
                    <a:lnTo>
                      <a:pt x="554" y="200"/>
                    </a:lnTo>
                    <a:lnTo>
                      <a:pt x="555" y="192"/>
                    </a:lnTo>
                    <a:lnTo>
                      <a:pt x="554" y="185"/>
                    </a:lnTo>
                    <a:lnTo>
                      <a:pt x="542" y="176"/>
                    </a:lnTo>
                    <a:lnTo>
                      <a:pt x="540" y="165"/>
                    </a:lnTo>
                    <a:lnTo>
                      <a:pt x="536" y="158"/>
                    </a:lnTo>
                    <a:lnTo>
                      <a:pt x="546" y="149"/>
                    </a:lnTo>
                    <a:lnTo>
                      <a:pt x="558" y="150"/>
                    </a:lnTo>
                    <a:lnTo>
                      <a:pt x="555" y="140"/>
                    </a:lnTo>
                    <a:lnTo>
                      <a:pt x="554" y="131"/>
                    </a:lnTo>
                    <a:lnTo>
                      <a:pt x="554" y="126"/>
                    </a:lnTo>
                    <a:lnTo>
                      <a:pt x="545" y="111"/>
                    </a:lnTo>
                    <a:lnTo>
                      <a:pt x="540" y="104"/>
                    </a:lnTo>
                    <a:lnTo>
                      <a:pt x="540" y="93"/>
                    </a:lnTo>
                    <a:lnTo>
                      <a:pt x="536" y="89"/>
                    </a:lnTo>
                    <a:lnTo>
                      <a:pt x="539" y="80"/>
                    </a:lnTo>
                    <a:lnTo>
                      <a:pt x="536" y="71"/>
                    </a:lnTo>
                    <a:lnTo>
                      <a:pt x="533" y="48"/>
                    </a:lnTo>
                    <a:lnTo>
                      <a:pt x="554" y="42"/>
                    </a:lnTo>
                    <a:lnTo>
                      <a:pt x="560" y="39"/>
                    </a:lnTo>
                    <a:lnTo>
                      <a:pt x="563" y="33"/>
                    </a:lnTo>
                    <a:lnTo>
                      <a:pt x="569" y="41"/>
                    </a:lnTo>
                    <a:lnTo>
                      <a:pt x="581" y="36"/>
                    </a:lnTo>
                    <a:lnTo>
                      <a:pt x="587" y="29"/>
                    </a:lnTo>
                    <a:lnTo>
                      <a:pt x="588" y="23"/>
                    </a:lnTo>
                    <a:lnTo>
                      <a:pt x="600" y="21"/>
                    </a:lnTo>
                    <a:lnTo>
                      <a:pt x="608" y="11"/>
                    </a:lnTo>
                    <a:lnTo>
                      <a:pt x="620" y="8"/>
                    </a:lnTo>
                    <a:lnTo>
                      <a:pt x="626" y="5"/>
                    </a:lnTo>
                    <a:lnTo>
                      <a:pt x="633" y="0"/>
                    </a:lnTo>
                    <a:lnTo>
                      <a:pt x="639" y="21"/>
                    </a:lnTo>
                    <a:lnTo>
                      <a:pt x="647" y="21"/>
                    </a:lnTo>
                    <a:lnTo>
                      <a:pt x="662" y="8"/>
                    </a:lnTo>
                    <a:lnTo>
                      <a:pt x="678" y="12"/>
                    </a:lnTo>
                    <a:lnTo>
                      <a:pt x="690" y="18"/>
                    </a:lnTo>
                    <a:lnTo>
                      <a:pt x="699" y="17"/>
                    </a:lnTo>
                    <a:lnTo>
                      <a:pt x="708" y="20"/>
                    </a:lnTo>
                    <a:lnTo>
                      <a:pt x="711" y="21"/>
                    </a:lnTo>
                    <a:lnTo>
                      <a:pt x="722" y="26"/>
                    </a:lnTo>
                    <a:lnTo>
                      <a:pt x="723" y="30"/>
                    </a:lnTo>
                    <a:lnTo>
                      <a:pt x="726" y="36"/>
                    </a:lnTo>
                    <a:lnTo>
                      <a:pt x="731" y="39"/>
                    </a:lnTo>
                    <a:lnTo>
                      <a:pt x="738" y="45"/>
                    </a:lnTo>
                    <a:lnTo>
                      <a:pt x="738" y="50"/>
                    </a:lnTo>
                    <a:lnTo>
                      <a:pt x="749" y="50"/>
                    </a:lnTo>
                    <a:lnTo>
                      <a:pt x="750" y="54"/>
                    </a:lnTo>
                    <a:lnTo>
                      <a:pt x="755" y="63"/>
                    </a:lnTo>
                    <a:lnTo>
                      <a:pt x="764" y="72"/>
                    </a:lnTo>
                    <a:lnTo>
                      <a:pt x="768" y="75"/>
                    </a:lnTo>
                    <a:lnTo>
                      <a:pt x="767" y="90"/>
                    </a:lnTo>
                    <a:lnTo>
                      <a:pt x="771" y="93"/>
                    </a:lnTo>
                    <a:lnTo>
                      <a:pt x="776" y="95"/>
                    </a:lnTo>
                    <a:lnTo>
                      <a:pt x="786" y="95"/>
                    </a:lnTo>
                    <a:lnTo>
                      <a:pt x="791" y="101"/>
                    </a:lnTo>
                    <a:lnTo>
                      <a:pt x="795" y="104"/>
                    </a:lnTo>
                    <a:lnTo>
                      <a:pt x="801" y="107"/>
                    </a:lnTo>
                    <a:lnTo>
                      <a:pt x="804" y="119"/>
                    </a:lnTo>
                    <a:lnTo>
                      <a:pt x="801" y="129"/>
                    </a:lnTo>
                    <a:lnTo>
                      <a:pt x="816" y="135"/>
                    </a:lnTo>
                    <a:lnTo>
                      <a:pt x="819" y="143"/>
                    </a:lnTo>
                    <a:lnTo>
                      <a:pt x="830" y="132"/>
                    </a:lnTo>
                    <a:lnTo>
                      <a:pt x="842" y="140"/>
                    </a:lnTo>
                    <a:lnTo>
                      <a:pt x="842" y="143"/>
                    </a:lnTo>
                    <a:lnTo>
                      <a:pt x="845" y="141"/>
                    </a:lnTo>
                    <a:lnTo>
                      <a:pt x="846" y="135"/>
                    </a:lnTo>
                    <a:lnTo>
                      <a:pt x="854" y="140"/>
                    </a:lnTo>
                    <a:lnTo>
                      <a:pt x="861" y="135"/>
                    </a:lnTo>
                    <a:lnTo>
                      <a:pt x="860" y="125"/>
                    </a:lnTo>
                    <a:lnTo>
                      <a:pt x="866" y="120"/>
                    </a:lnTo>
                    <a:lnTo>
                      <a:pt x="872" y="126"/>
                    </a:lnTo>
                    <a:lnTo>
                      <a:pt x="878" y="117"/>
                    </a:lnTo>
                    <a:lnTo>
                      <a:pt x="885" y="117"/>
                    </a:lnTo>
                    <a:lnTo>
                      <a:pt x="888" y="119"/>
                    </a:lnTo>
                    <a:lnTo>
                      <a:pt x="893" y="110"/>
                    </a:lnTo>
                    <a:lnTo>
                      <a:pt x="909" y="111"/>
                    </a:lnTo>
                    <a:lnTo>
                      <a:pt x="908" y="107"/>
                    </a:lnTo>
                    <a:lnTo>
                      <a:pt x="914" y="96"/>
                    </a:lnTo>
                    <a:lnTo>
                      <a:pt x="918" y="93"/>
                    </a:lnTo>
                    <a:lnTo>
                      <a:pt x="921" y="83"/>
                    </a:lnTo>
                    <a:lnTo>
                      <a:pt x="927" y="81"/>
                    </a:lnTo>
                    <a:lnTo>
                      <a:pt x="933" y="81"/>
                    </a:lnTo>
                    <a:lnTo>
                      <a:pt x="944" y="84"/>
                    </a:lnTo>
                    <a:lnTo>
                      <a:pt x="951" y="87"/>
                    </a:lnTo>
                    <a:lnTo>
                      <a:pt x="951" y="93"/>
                    </a:lnTo>
                    <a:lnTo>
                      <a:pt x="953" y="113"/>
                    </a:lnTo>
                    <a:lnTo>
                      <a:pt x="959" y="111"/>
                    </a:lnTo>
                    <a:lnTo>
                      <a:pt x="972" y="98"/>
                    </a:lnTo>
                    <a:lnTo>
                      <a:pt x="990" y="87"/>
                    </a:lnTo>
                    <a:lnTo>
                      <a:pt x="1008" y="83"/>
                    </a:lnTo>
                    <a:lnTo>
                      <a:pt x="1028" y="78"/>
                    </a:lnTo>
                    <a:lnTo>
                      <a:pt x="1035" y="81"/>
                    </a:lnTo>
                    <a:lnTo>
                      <a:pt x="1043" y="86"/>
                    </a:lnTo>
                    <a:lnTo>
                      <a:pt x="1049" y="84"/>
                    </a:lnTo>
                    <a:lnTo>
                      <a:pt x="1061" y="108"/>
                    </a:lnTo>
                    <a:lnTo>
                      <a:pt x="1059" y="119"/>
                    </a:lnTo>
                    <a:lnTo>
                      <a:pt x="1059" y="128"/>
                    </a:lnTo>
                    <a:lnTo>
                      <a:pt x="1062" y="135"/>
                    </a:lnTo>
                    <a:lnTo>
                      <a:pt x="1073" y="144"/>
                    </a:lnTo>
                    <a:lnTo>
                      <a:pt x="1080" y="153"/>
                    </a:lnTo>
                    <a:lnTo>
                      <a:pt x="1079" y="161"/>
                    </a:lnTo>
                    <a:lnTo>
                      <a:pt x="1073" y="167"/>
                    </a:lnTo>
                    <a:lnTo>
                      <a:pt x="1065" y="170"/>
                    </a:lnTo>
                    <a:lnTo>
                      <a:pt x="1068" y="194"/>
                    </a:lnTo>
                    <a:lnTo>
                      <a:pt x="1073" y="203"/>
                    </a:lnTo>
                    <a:lnTo>
                      <a:pt x="1089" y="230"/>
                    </a:lnTo>
                    <a:lnTo>
                      <a:pt x="1097" y="234"/>
                    </a:lnTo>
                    <a:lnTo>
                      <a:pt x="1100" y="242"/>
                    </a:lnTo>
                    <a:lnTo>
                      <a:pt x="1106" y="258"/>
                    </a:lnTo>
                    <a:lnTo>
                      <a:pt x="1113" y="266"/>
                    </a:lnTo>
                    <a:lnTo>
                      <a:pt x="1118" y="270"/>
                    </a:lnTo>
                    <a:lnTo>
                      <a:pt x="1125" y="273"/>
                    </a:lnTo>
                    <a:lnTo>
                      <a:pt x="1124" y="288"/>
                    </a:lnTo>
                    <a:lnTo>
                      <a:pt x="1130" y="302"/>
                    </a:lnTo>
                    <a:lnTo>
                      <a:pt x="1128" y="312"/>
                    </a:lnTo>
                    <a:lnTo>
                      <a:pt x="1127" y="320"/>
                    </a:lnTo>
                    <a:lnTo>
                      <a:pt x="1115" y="324"/>
                    </a:lnTo>
                    <a:lnTo>
                      <a:pt x="1113" y="330"/>
                    </a:lnTo>
                    <a:lnTo>
                      <a:pt x="1118" y="345"/>
                    </a:lnTo>
                    <a:lnTo>
                      <a:pt x="1113" y="374"/>
                    </a:lnTo>
                    <a:lnTo>
                      <a:pt x="1110" y="384"/>
                    </a:lnTo>
                    <a:lnTo>
                      <a:pt x="1100" y="396"/>
                    </a:lnTo>
                    <a:lnTo>
                      <a:pt x="1100" y="407"/>
                    </a:lnTo>
                    <a:lnTo>
                      <a:pt x="1107" y="413"/>
                    </a:lnTo>
                    <a:lnTo>
                      <a:pt x="1119" y="407"/>
                    </a:lnTo>
                    <a:lnTo>
                      <a:pt x="1134" y="432"/>
                    </a:lnTo>
                    <a:lnTo>
                      <a:pt x="1137" y="435"/>
                    </a:lnTo>
                    <a:lnTo>
                      <a:pt x="1133" y="443"/>
                    </a:lnTo>
                    <a:lnTo>
                      <a:pt x="1127" y="446"/>
                    </a:lnTo>
                    <a:lnTo>
                      <a:pt x="1133" y="453"/>
                    </a:lnTo>
                    <a:lnTo>
                      <a:pt x="1134" y="459"/>
                    </a:lnTo>
                    <a:lnTo>
                      <a:pt x="1131" y="468"/>
                    </a:lnTo>
                    <a:lnTo>
                      <a:pt x="1130" y="473"/>
                    </a:lnTo>
                    <a:lnTo>
                      <a:pt x="1131" y="476"/>
                    </a:lnTo>
                    <a:lnTo>
                      <a:pt x="1146" y="488"/>
                    </a:lnTo>
                    <a:lnTo>
                      <a:pt x="1164" y="500"/>
                    </a:lnTo>
                    <a:lnTo>
                      <a:pt x="1170" y="495"/>
                    </a:lnTo>
                    <a:lnTo>
                      <a:pt x="1173" y="495"/>
                    </a:lnTo>
                    <a:lnTo>
                      <a:pt x="1173" y="491"/>
                    </a:lnTo>
                    <a:lnTo>
                      <a:pt x="1167" y="488"/>
                    </a:lnTo>
                    <a:lnTo>
                      <a:pt x="1166" y="473"/>
                    </a:lnTo>
                    <a:lnTo>
                      <a:pt x="1164" y="465"/>
                    </a:lnTo>
                    <a:lnTo>
                      <a:pt x="1170" y="461"/>
                    </a:lnTo>
                    <a:lnTo>
                      <a:pt x="1178" y="458"/>
                    </a:lnTo>
                    <a:lnTo>
                      <a:pt x="1185" y="456"/>
                    </a:lnTo>
                    <a:lnTo>
                      <a:pt x="1196" y="459"/>
                    </a:lnTo>
                    <a:lnTo>
                      <a:pt x="1200" y="459"/>
                    </a:lnTo>
                    <a:lnTo>
                      <a:pt x="1211" y="450"/>
                    </a:lnTo>
                    <a:lnTo>
                      <a:pt x="1215" y="449"/>
                    </a:lnTo>
                    <a:lnTo>
                      <a:pt x="1218" y="447"/>
                    </a:lnTo>
                    <a:lnTo>
                      <a:pt x="1220" y="446"/>
                    </a:lnTo>
                    <a:lnTo>
                      <a:pt x="1230" y="444"/>
                    </a:lnTo>
                    <a:lnTo>
                      <a:pt x="1235" y="446"/>
                    </a:lnTo>
                    <a:lnTo>
                      <a:pt x="1241" y="449"/>
                    </a:lnTo>
                    <a:lnTo>
                      <a:pt x="1242" y="447"/>
                    </a:lnTo>
                    <a:lnTo>
                      <a:pt x="1250" y="446"/>
                    </a:lnTo>
                    <a:lnTo>
                      <a:pt x="1256" y="440"/>
                    </a:lnTo>
                    <a:lnTo>
                      <a:pt x="1263" y="446"/>
                    </a:lnTo>
                    <a:lnTo>
                      <a:pt x="1266" y="447"/>
                    </a:lnTo>
                    <a:lnTo>
                      <a:pt x="1265" y="458"/>
                    </a:lnTo>
                    <a:lnTo>
                      <a:pt x="1266" y="465"/>
                    </a:lnTo>
                    <a:lnTo>
                      <a:pt x="1275" y="471"/>
                    </a:lnTo>
                    <a:lnTo>
                      <a:pt x="1281" y="476"/>
                    </a:lnTo>
                    <a:lnTo>
                      <a:pt x="1290" y="473"/>
                    </a:lnTo>
                    <a:lnTo>
                      <a:pt x="1296" y="468"/>
                    </a:lnTo>
                    <a:lnTo>
                      <a:pt x="1299" y="462"/>
                    </a:lnTo>
                    <a:lnTo>
                      <a:pt x="1304" y="464"/>
                    </a:lnTo>
                    <a:lnTo>
                      <a:pt x="1305" y="471"/>
                    </a:lnTo>
                    <a:lnTo>
                      <a:pt x="1314" y="467"/>
                    </a:lnTo>
                    <a:lnTo>
                      <a:pt x="1323" y="471"/>
                    </a:lnTo>
                    <a:lnTo>
                      <a:pt x="1328" y="473"/>
                    </a:lnTo>
                    <a:lnTo>
                      <a:pt x="1334" y="473"/>
                    </a:lnTo>
                    <a:lnTo>
                      <a:pt x="1340" y="476"/>
                    </a:lnTo>
                    <a:lnTo>
                      <a:pt x="1344" y="477"/>
                    </a:lnTo>
                    <a:lnTo>
                      <a:pt x="1352" y="468"/>
                    </a:lnTo>
                    <a:lnTo>
                      <a:pt x="1367" y="471"/>
                    </a:lnTo>
                    <a:lnTo>
                      <a:pt x="1370" y="462"/>
                    </a:lnTo>
                    <a:lnTo>
                      <a:pt x="1374" y="465"/>
                    </a:lnTo>
                    <a:lnTo>
                      <a:pt x="1380" y="462"/>
                    </a:lnTo>
                    <a:lnTo>
                      <a:pt x="1386" y="455"/>
                    </a:lnTo>
                    <a:lnTo>
                      <a:pt x="1383" y="447"/>
                    </a:lnTo>
                    <a:lnTo>
                      <a:pt x="1383" y="443"/>
                    </a:lnTo>
                    <a:lnTo>
                      <a:pt x="1394" y="420"/>
                    </a:lnTo>
                    <a:lnTo>
                      <a:pt x="1400" y="413"/>
                    </a:lnTo>
                    <a:lnTo>
                      <a:pt x="1406" y="414"/>
                    </a:lnTo>
                    <a:lnTo>
                      <a:pt x="1407" y="413"/>
                    </a:lnTo>
                    <a:lnTo>
                      <a:pt x="1407" y="402"/>
                    </a:lnTo>
                    <a:lnTo>
                      <a:pt x="1419" y="393"/>
                    </a:lnTo>
                    <a:lnTo>
                      <a:pt x="1431" y="390"/>
                    </a:lnTo>
                    <a:lnTo>
                      <a:pt x="1433" y="386"/>
                    </a:lnTo>
                    <a:lnTo>
                      <a:pt x="1437" y="380"/>
                    </a:lnTo>
                    <a:lnTo>
                      <a:pt x="1437" y="372"/>
                    </a:lnTo>
                    <a:lnTo>
                      <a:pt x="1434" y="363"/>
                    </a:lnTo>
                    <a:lnTo>
                      <a:pt x="1434" y="354"/>
                    </a:lnTo>
                    <a:lnTo>
                      <a:pt x="1434" y="345"/>
                    </a:lnTo>
                    <a:lnTo>
                      <a:pt x="1440" y="339"/>
                    </a:lnTo>
                    <a:lnTo>
                      <a:pt x="1445" y="317"/>
                    </a:lnTo>
                    <a:lnTo>
                      <a:pt x="1451" y="311"/>
                    </a:lnTo>
                    <a:lnTo>
                      <a:pt x="1461" y="312"/>
                    </a:lnTo>
                    <a:lnTo>
                      <a:pt x="1469" y="306"/>
                    </a:lnTo>
                    <a:lnTo>
                      <a:pt x="1473" y="294"/>
                    </a:lnTo>
                    <a:lnTo>
                      <a:pt x="1469" y="269"/>
                    </a:lnTo>
                    <a:lnTo>
                      <a:pt x="1473" y="263"/>
                    </a:lnTo>
                    <a:lnTo>
                      <a:pt x="1481" y="258"/>
                    </a:lnTo>
                    <a:lnTo>
                      <a:pt x="1482" y="251"/>
                    </a:lnTo>
                    <a:lnTo>
                      <a:pt x="1476" y="242"/>
                    </a:lnTo>
                    <a:lnTo>
                      <a:pt x="1485" y="231"/>
                    </a:lnTo>
                    <a:lnTo>
                      <a:pt x="1488" y="230"/>
                    </a:lnTo>
                    <a:lnTo>
                      <a:pt x="1499" y="207"/>
                    </a:lnTo>
                    <a:lnTo>
                      <a:pt x="1509" y="210"/>
                    </a:lnTo>
                    <a:lnTo>
                      <a:pt x="1515" y="210"/>
                    </a:lnTo>
                    <a:lnTo>
                      <a:pt x="1518" y="201"/>
                    </a:lnTo>
                    <a:lnTo>
                      <a:pt x="1518" y="192"/>
                    </a:lnTo>
                    <a:lnTo>
                      <a:pt x="1536" y="170"/>
                    </a:lnTo>
                    <a:lnTo>
                      <a:pt x="1545" y="173"/>
                    </a:lnTo>
                    <a:lnTo>
                      <a:pt x="1556" y="167"/>
                    </a:lnTo>
                    <a:lnTo>
                      <a:pt x="1562" y="158"/>
                    </a:lnTo>
                    <a:lnTo>
                      <a:pt x="1565" y="144"/>
                    </a:lnTo>
                    <a:lnTo>
                      <a:pt x="1572" y="147"/>
                    </a:lnTo>
                    <a:lnTo>
                      <a:pt x="1577" y="135"/>
                    </a:lnTo>
                    <a:lnTo>
                      <a:pt x="1584" y="131"/>
                    </a:lnTo>
                    <a:lnTo>
                      <a:pt x="1586" y="134"/>
                    </a:lnTo>
                    <a:lnTo>
                      <a:pt x="1584" y="144"/>
                    </a:lnTo>
                    <a:lnTo>
                      <a:pt x="1592" y="141"/>
                    </a:lnTo>
                    <a:lnTo>
                      <a:pt x="1598" y="140"/>
                    </a:lnTo>
                    <a:lnTo>
                      <a:pt x="1601" y="146"/>
                    </a:lnTo>
                    <a:lnTo>
                      <a:pt x="1610" y="159"/>
                    </a:lnTo>
                    <a:lnTo>
                      <a:pt x="1611" y="165"/>
                    </a:lnTo>
                    <a:lnTo>
                      <a:pt x="1611" y="177"/>
                    </a:lnTo>
                    <a:lnTo>
                      <a:pt x="1614" y="194"/>
                    </a:lnTo>
                    <a:lnTo>
                      <a:pt x="1608" y="204"/>
                    </a:lnTo>
                    <a:lnTo>
                      <a:pt x="1607" y="215"/>
                    </a:lnTo>
                    <a:lnTo>
                      <a:pt x="1607" y="224"/>
                    </a:lnTo>
                    <a:lnTo>
                      <a:pt x="1616" y="228"/>
                    </a:lnTo>
                    <a:lnTo>
                      <a:pt x="1622" y="216"/>
                    </a:lnTo>
                    <a:lnTo>
                      <a:pt x="1629" y="212"/>
                    </a:lnTo>
                    <a:lnTo>
                      <a:pt x="1635" y="207"/>
                    </a:lnTo>
                    <a:lnTo>
                      <a:pt x="1641" y="209"/>
                    </a:lnTo>
                    <a:lnTo>
                      <a:pt x="1656" y="210"/>
                    </a:lnTo>
                    <a:lnTo>
                      <a:pt x="1673" y="210"/>
                    </a:lnTo>
                    <a:lnTo>
                      <a:pt x="1682" y="209"/>
                    </a:lnTo>
                    <a:lnTo>
                      <a:pt x="1677" y="218"/>
                    </a:lnTo>
                    <a:lnTo>
                      <a:pt x="1676" y="227"/>
                    </a:lnTo>
                    <a:lnTo>
                      <a:pt x="1680" y="237"/>
                    </a:lnTo>
                    <a:lnTo>
                      <a:pt x="1680" y="243"/>
                    </a:lnTo>
                    <a:lnTo>
                      <a:pt x="1683" y="251"/>
                    </a:lnTo>
                    <a:lnTo>
                      <a:pt x="1689" y="260"/>
                    </a:lnTo>
                    <a:lnTo>
                      <a:pt x="1685" y="269"/>
                    </a:lnTo>
                    <a:lnTo>
                      <a:pt x="1689" y="291"/>
                    </a:lnTo>
                    <a:lnTo>
                      <a:pt x="1695" y="299"/>
                    </a:lnTo>
                    <a:lnTo>
                      <a:pt x="1698" y="309"/>
                    </a:lnTo>
                    <a:lnTo>
                      <a:pt x="1710" y="314"/>
                    </a:lnTo>
                    <a:lnTo>
                      <a:pt x="1719" y="302"/>
                    </a:lnTo>
                    <a:lnTo>
                      <a:pt x="1724" y="300"/>
                    </a:lnTo>
                    <a:lnTo>
                      <a:pt x="1728" y="311"/>
                    </a:lnTo>
                    <a:lnTo>
                      <a:pt x="1733" y="314"/>
                    </a:lnTo>
                    <a:lnTo>
                      <a:pt x="1734" y="329"/>
                    </a:lnTo>
                    <a:lnTo>
                      <a:pt x="1730" y="336"/>
                    </a:lnTo>
                    <a:lnTo>
                      <a:pt x="1721" y="332"/>
                    </a:lnTo>
                    <a:lnTo>
                      <a:pt x="1718" y="333"/>
                    </a:lnTo>
                    <a:lnTo>
                      <a:pt x="1716" y="339"/>
                    </a:lnTo>
                    <a:lnTo>
                      <a:pt x="1719" y="344"/>
                    </a:lnTo>
                    <a:lnTo>
                      <a:pt x="1725" y="345"/>
                    </a:lnTo>
                    <a:lnTo>
                      <a:pt x="1733" y="348"/>
                    </a:lnTo>
                    <a:lnTo>
                      <a:pt x="1736" y="359"/>
                    </a:lnTo>
                    <a:lnTo>
                      <a:pt x="1730" y="369"/>
                    </a:lnTo>
                    <a:lnTo>
                      <a:pt x="1725" y="374"/>
                    </a:lnTo>
                    <a:lnTo>
                      <a:pt x="1728" y="381"/>
                    </a:lnTo>
                    <a:lnTo>
                      <a:pt x="1731" y="392"/>
                    </a:lnTo>
                    <a:lnTo>
                      <a:pt x="1739" y="434"/>
                    </a:lnTo>
                    <a:lnTo>
                      <a:pt x="1745" y="437"/>
                    </a:lnTo>
                    <a:lnTo>
                      <a:pt x="1758" y="461"/>
                    </a:lnTo>
                    <a:lnTo>
                      <a:pt x="1764" y="467"/>
                    </a:lnTo>
                    <a:lnTo>
                      <a:pt x="1773" y="470"/>
                    </a:lnTo>
                    <a:lnTo>
                      <a:pt x="1782" y="480"/>
                    </a:lnTo>
                    <a:lnTo>
                      <a:pt x="1800" y="503"/>
                    </a:lnTo>
                    <a:lnTo>
                      <a:pt x="1812" y="522"/>
                    </a:lnTo>
                    <a:lnTo>
                      <a:pt x="1820" y="528"/>
                    </a:lnTo>
                    <a:lnTo>
                      <a:pt x="1835" y="545"/>
                    </a:lnTo>
                    <a:lnTo>
                      <a:pt x="1847" y="554"/>
                    </a:lnTo>
                    <a:lnTo>
                      <a:pt x="1850" y="560"/>
                    </a:lnTo>
                    <a:lnTo>
                      <a:pt x="1856" y="570"/>
                    </a:lnTo>
                    <a:lnTo>
                      <a:pt x="1853" y="579"/>
                    </a:lnTo>
                    <a:lnTo>
                      <a:pt x="1848" y="596"/>
                    </a:lnTo>
                    <a:lnTo>
                      <a:pt x="1848" y="617"/>
                    </a:lnTo>
                    <a:lnTo>
                      <a:pt x="1845" y="629"/>
                    </a:lnTo>
                    <a:lnTo>
                      <a:pt x="1844" y="639"/>
                    </a:lnTo>
                    <a:lnTo>
                      <a:pt x="1868" y="660"/>
                    </a:lnTo>
                    <a:lnTo>
                      <a:pt x="1880" y="668"/>
                    </a:lnTo>
                    <a:lnTo>
                      <a:pt x="1886" y="683"/>
                    </a:lnTo>
                    <a:lnTo>
                      <a:pt x="1887" y="689"/>
                    </a:lnTo>
                    <a:lnTo>
                      <a:pt x="1893" y="687"/>
                    </a:lnTo>
                    <a:lnTo>
                      <a:pt x="1896" y="696"/>
                    </a:lnTo>
                    <a:lnTo>
                      <a:pt x="1896" y="701"/>
                    </a:lnTo>
                    <a:lnTo>
                      <a:pt x="1896" y="705"/>
                    </a:lnTo>
                    <a:lnTo>
                      <a:pt x="1901" y="708"/>
                    </a:lnTo>
                    <a:lnTo>
                      <a:pt x="1901" y="716"/>
                    </a:lnTo>
                    <a:lnTo>
                      <a:pt x="1899" y="725"/>
                    </a:lnTo>
                    <a:lnTo>
                      <a:pt x="1895" y="728"/>
                    </a:lnTo>
                    <a:lnTo>
                      <a:pt x="1892" y="734"/>
                    </a:lnTo>
                    <a:lnTo>
                      <a:pt x="1890" y="737"/>
                    </a:lnTo>
                    <a:lnTo>
                      <a:pt x="1895" y="740"/>
                    </a:lnTo>
                    <a:lnTo>
                      <a:pt x="1898" y="744"/>
                    </a:lnTo>
                    <a:lnTo>
                      <a:pt x="1898" y="752"/>
                    </a:lnTo>
                    <a:lnTo>
                      <a:pt x="1898" y="761"/>
                    </a:lnTo>
                    <a:lnTo>
                      <a:pt x="1895" y="762"/>
                    </a:lnTo>
                    <a:lnTo>
                      <a:pt x="1884" y="767"/>
                    </a:lnTo>
                    <a:lnTo>
                      <a:pt x="1881" y="770"/>
                    </a:lnTo>
                    <a:lnTo>
                      <a:pt x="1884" y="774"/>
                    </a:lnTo>
                    <a:lnTo>
                      <a:pt x="1886" y="780"/>
                    </a:lnTo>
                    <a:lnTo>
                      <a:pt x="1884" y="788"/>
                    </a:lnTo>
                    <a:lnTo>
                      <a:pt x="1881" y="789"/>
                    </a:lnTo>
                    <a:lnTo>
                      <a:pt x="1884" y="795"/>
                    </a:lnTo>
                    <a:lnTo>
                      <a:pt x="1890" y="801"/>
                    </a:lnTo>
                    <a:lnTo>
                      <a:pt x="1890" y="819"/>
                    </a:lnTo>
                    <a:lnTo>
                      <a:pt x="1893" y="836"/>
                    </a:lnTo>
                    <a:lnTo>
                      <a:pt x="1907" y="831"/>
                    </a:lnTo>
                    <a:lnTo>
                      <a:pt x="1910" y="834"/>
                    </a:lnTo>
                    <a:lnTo>
                      <a:pt x="1902" y="849"/>
                    </a:lnTo>
                    <a:lnTo>
                      <a:pt x="1908" y="852"/>
                    </a:lnTo>
                    <a:lnTo>
                      <a:pt x="1911" y="857"/>
                    </a:lnTo>
                    <a:lnTo>
                      <a:pt x="1901" y="870"/>
                    </a:lnTo>
                    <a:lnTo>
                      <a:pt x="1889" y="885"/>
                    </a:lnTo>
                    <a:lnTo>
                      <a:pt x="1887" y="891"/>
                    </a:lnTo>
                    <a:lnTo>
                      <a:pt x="1884" y="909"/>
                    </a:lnTo>
                    <a:lnTo>
                      <a:pt x="1890" y="914"/>
                    </a:lnTo>
                    <a:lnTo>
                      <a:pt x="1899" y="909"/>
                    </a:lnTo>
                    <a:lnTo>
                      <a:pt x="1905" y="894"/>
                    </a:lnTo>
                    <a:lnTo>
                      <a:pt x="1907" y="896"/>
                    </a:lnTo>
                    <a:lnTo>
                      <a:pt x="1910" y="899"/>
                    </a:lnTo>
                    <a:lnTo>
                      <a:pt x="1910" y="908"/>
                    </a:lnTo>
                    <a:lnTo>
                      <a:pt x="1914" y="915"/>
                    </a:lnTo>
                    <a:lnTo>
                      <a:pt x="1911" y="924"/>
                    </a:lnTo>
                    <a:lnTo>
                      <a:pt x="1916" y="932"/>
                    </a:lnTo>
                    <a:lnTo>
                      <a:pt x="1928" y="935"/>
                    </a:lnTo>
                    <a:lnTo>
                      <a:pt x="1937" y="930"/>
                    </a:lnTo>
                    <a:lnTo>
                      <a:pt x="1943" y="936"/>
                    </a:lnTo>
                    <a:lnTo>
                      <a:pt x="1952" y="942"/>
                    </a:lnTo>
                    <a:lnTo>
                      <a:pt x="1967" y="950"/>
                    </a:lnTo>
                    <a:lnTo>
                      <a:pt x="1962" y="963"/>
                    </a:lnTo>
                    <a:lnTo>
                      <a:pt x="1962" y="975"/>
                    </a:lnTo>
                    <a:lnTo>
                      <a:pt x="1950" y="993"/>
                    </a:lnTo>
                    <a:lnTo>
                      <a:pt x="1950" y="995"/>
                    </a:lnTo>
                    <a:lnTo>
                      <a:pt x="1977" y="995"/>
                    </a:lnTo>
                    <a:lnTo>
                      <a:pt x="1991" y="990"/>
                    </a:lnTo>
                    <a:lnTo>
                      <a:pt x="1998" y="983"/>
                    </a:lnTo>
                    <a:lnTo>
                      <a:pt x="2016" y="984"/>
                    </a:lnTo>
                    <a:lnTo>
                      <a:pt x="2021" y="978"/>
                    </a:lnTo>
                    <a:lnTo>
                      <a:pt x="2033" y="981"/>
                    </a:lnTo>
                    <a:lnTo>
                      <a:pt x="2037" y="987"/>
                    </a:lnTo>
                    <a:lnTo>
                      <a:pt x="2054" y="980"/>
                    </a:lnTo>
                    <a:lnTo>
                      <a:pt x="2061" y="986"/>
                    </a:lnTo>
                    <a:lnTo>
                      <a:pt x="2075" y="984"/>
                    </a:lnTo>
                    <a:lnTo>
                      <a:pt x="2072" y="992"/>
                    </a:lnTo>
                    <a:lnTo>
                      <a:pt x="2078" y="1001"/>
                    </a:lnTo>
                    <a:lnTo>
                      <a:pt x="2084" y="1016"/>
                    </a:lnTo>
                    <a:lnTo>
                      <a:pt x="2081" y="1022"/>
                    </a:lnTo>
                    <a:lnTo>
                      <a:pt x="2069" y="1023"/>
                    </a:lnTo>
                    <a:lnTo>
                      <a:pt x="2058" y="1032"/>
                    </a:lnTo>
                    <a:lnTo>
                      <a:pt x="2054" y="1032"/>
                    </a:lnTo>
                    <a:lnTo>
                      <a:pt x="2051" y="1049"/>
                    </a:lnTo>
                    <a:lnTo>
                      <a:pt x="2043" y="1056"/>
                    </a:lnTo>
                    <a:lnTo>
                      <a:pt x="2040" y="1065"/>
                    </a:lnTo>
                    <a:lnTo>
                      <a:pt x="2045" y="1088"/>
                    </a:lnTo>
                    <a:lnTo>
                      <a:pt x="2031" y="1095"/>
                    </a:lnTo>
                    <a:lnTo>
                      <a:pt x="2013" y="1095"/>
                    </a:lnTo>
                    <a:lnTo>
                      <a:pt x="2004" y="1106"/>
                    </a:lnTo>
                    <a:lnTo>
                      <a:pt x="1997" y="1107"/>
                    </a:lnTo>
                    <a:lnTo>
                      <a:pt x="2000" y="1113"/>
                    </a:lnTo>
                    <a:lnTo>
                      <a:pt x="2007" y="1115"/>
                    </a:lnTo>
                    <a:lnTo>
                      <a:pt x="2006" y="1122"/>
                    </a:lnTo>
                    <a:lnTo>
                      <a:pt x="2022" y="1136"/>
                    </a:lnTo>
                    <a:lnTo>
                      <a:pt x="2034" y="1139"/>
                    </a:lnTo>
                    <a:lnTo>
                      <a:pt x="2039" y="1127"/>
                    </a:lnTo>
                    <a:lnTo>
                      <a:pt x="2046" y="1125"/>
                    </a:lnTo>
                    <a:lnTo>
                      <a:pt x="2051" y="1133"/>
                    </a:lnTo>
                    <a:lnTo>
                      <a:pt x="2052" y="1143"/>
                    </a:lnTo>
                    <a:lnTo>
                      <a:pt x="2061" y="1155"/>
                    </a:lnTo>
                    <a:lnTo>
                      <a:pt x="2064" y="1160"/>
                    </a:lnTo>
                    <a:lnTo>
                      <a:pt x="2073" y="1155"/>
                    </a:lnTo>
                    <a:lnTo>
                      <a:pt x="2079" y="1151"/>
                    </a:lnTo>
                    <a:lnTo>
                      <a:pt x="2082" y="1157"/>
                    </a:lnTo>
                    <a:lnTo>
                      <a:pt x="2087" y="1152"/>
                    </a:lnTo>
                    <a:lnTo>
                      <a:pt x="2091" y="1151"/>
                    </a:lnTo>
                    <a:lnTo>
                      <a:pt x="2097" y="1152"/>
                    </a:lnTo>
                    <a:lnTo>
                      <a:pt x="2100" y="1160"/>
                    </a:lnTo>
                    <a:lnTo>
                      <a:pt x="2103" y="1164"/>
                    </a:lnTo>
                    <a:lnTo>
                      <a:pt x="2108" y="1169"/>
                    </a:lnTo>
                    <a:lnTo>
                      <a:pt x="2117" y="1170"/>
                    </a:lnTo>
                    <a:lnTo>
                      <a:pt x="2129" y="1176"/>
                    </a:lnTo>
                    <a:lnTo>
                      <a:pt x="2138" y="1185"/>
                    </a:lnTo>
                    <a:lnTo>
                      <a:pt x="2144" y="1188"/>
                    </a:lnTo>
                    <a:lnTo>
                      <a:pt x="2145" y="1202"/>
                    </a:lnTo>
                    <a:lnTo>
                      <a:pt x="2139" y="1214"/>
                    </a:lnTo>
                    <a:lnTo>
                      <a:pt x="2121" y="1224"/>
                    </a:lnTo>
                    <a:lnTo>
                      <a:pt x="2114" y="1238"/>
                    </a:lnTo>
                    <a:lnTo>
                      <a:pt x="2109" y="1250"/>
                    </a:lnTo>
                    <a:lnTo>
                      <a:pt x="2085" y="1253"/>
                    </a:lnTo>
                    <a:lnTo>
                      <a:pt x="2087" y="1263"/>
                    </a:lnTo>
                    <a:lnTo>
                      <a:pt x="2072" y="1272"/>
                    </a:lnTo>
                    <a:lnTo>
                      <a:pt x="2066" y="1284"/>
                    </a:lnTo>
                    <a:lnTo>
                      <a:pt x="2069" y="1295"/>
                    </a:lnTo>
                    <a:lnTo>
                      <a:pt x="2073" y="1310"/>
                    </a:lnTo>
                    <a:lnTo>
                      <a:pt x="2072" y="1317"/>
                    </a:lnTo>
                    <a:lnTo>
                      <a:pt x="2063" y="1319"/>
                    </a:lnTo>
                    <a:lnTo>
                      <a:pt x="2060" y="1328"/>
                    </a:lnTo>
                    <a:lnTo>
                      <a:pt x="2061" y="1334"/>
                    </a:lnTo>
                    <a:lnTo>
                      <a:pt x="2061" y="1337"/>
                    </a:lnTo>
                    <a:lnTo>
                      <a:pt x="2054" y="1340"/>
                    </a:lnTo>
                    <a:lnTo>
                      <a:pt x="2046" y="1341"/>
                    </a:lnTo>
                    <a:lnTo>
                      <a:pt x="2040" y="1338"/>
                    </a:lnTo>
                    <a:lnTo>
                      <a:pt x="2025" y="1337"/>
                    </a:lnTo>
                    <a:lnTo>
                      <a:pt x="2019" y="1338"/>
                    </a:lnTo>
                    <a:lnTo>
                      <a:pt x="2013" y="1338"/>
                    </a:lnTo>
                    <a:lnTo>
                      <a:pt x="2010" y="1334"/>
                    </a:lnTo>
                    <a:lnTo>
                      <a:pt x="2006" y="1334"/>
                    </a:lnTo>
                    <a:lnTo>
                      <a:pt x="2000" y="1343"/>
                    </a:lnTo>
                    <a:lnTo>
                      <a:pt x="1998" y="1347"/>
                    </a:lnTo>
                    <a:lnTo>
                      <a:pt x="1997" y="1356"/>
                    </a:lnTo>
                    <a:lnTo>
                      <a:pt x="1985" y="1358"/>
                    </a:lnTo>
                    <a:lnTo>
                      <a:pt x="1982" y="1365"/>
                    </a:lnTo>
                    <a:lnTo>
                      <a:pt x="1977" y="1377"/>
                    </a:lnTo>
                    <a:lnTo>
                      <a:pt x="1982" y="1385"/>
                    </a:lnTo>
                    <a:lnTo>
                      <a:pt x="1991" y="1395"/>
                    </a:lnTo>
                    <a:lnTo>
                      <a:pt x="1989" y="1403"/>
                    </a:lnTo>
                    <a:lnTo>
                      <a:pt x="1986" y="1412"/>
                    </a:lnTo>
                    <a:lnTo>
                      <a:pt x="1980" y="1415"/>
                    </a:lnTo>
                    <a:lnTo>
                      <a:pt x="1971" y="1419"/>
                    </a:lnTo>
                    <a:lnTo>
                      <a:pt x="1962" y="1428"/>
                    </a:lnTo>
                    <a:lnTo>
                      <a:pt x="1949" y="1428"/>
                    </a:lnTo>
                    <a:lnTo>
                      <a:pt x="1940" y="1430"/>
                    </a:lnTo>
                    <a:lnTo>
                      <a:pt x="1926" y="1428"/>
                    </a:lnTo>
                    <a:lnTo>
                      <a:pt x="1914" y="1425"/>
                    </a:lnTo>
                    <a:lnTo>
                      <a:pt x="1907" y="1425"/>
                    </a:lnTo>
                    <a:lnTo>
                      <a:pt x="1893" y="1425"/>
                    </a:lnTo>
                    <a:lnTo>
                      <a:pt x="1889" y="1422"/>
                    </a:lnTo>
                    <a:lnTo>
                      <a:pt x="1881" y="1416"/>
                    </a:lnTo>
                    <a:lnTo>
                      <a:pt x="1871" y="1407"/>
                    </a:lnTo>
                    <a:lnTo>
                      <a:pt x="1856" y="1403"/>
                    </a:lnTo>
                    <a:lnTo>
                      <a:pt x="1841" y="1404"/>
                    </a:lnTo>
                    <a:lnTo>
                      <a:pt x="1836" y="1410"/>
                    </a:lnTo>
                    <a:lnTo>
                      <a:pt x="1835" y="1422"/>
                    </a:lnTo>
                    <a:lnTo>
                      <a:pt x="1841" y="1430"/>
                    </a:lnTo>
                    <a:lnTo>
                      <a:pt x="1830" y="1436"/>
                    </a:lnTo>
                    <a:lnTo>
                      <a:pt x="1827" y="1445"/>
                    </a:lnTo>
                    <a:lnTo>
                      <a:pt x="1830" y="1445"/>
                    </a:lnTo>
                    <a:lnTo>
                      <a:pt x="1833" y="1454"/>
                    </a:lnTo>
                    <a:lnTo>
                      <a:pt x="1836" y="1467"/>
                    </a:lnTo>
                    <a:lnTo>
                      <a:pt x="1848" y="1481"/>
                    </a:lnTo>
                    <a:lnTo>
                      <a:pt x="1842" y="1496"/>
                    </a:lnTo>
                    <a:lnTo>
                      <a:pt x="1836" y="1497"/>
                    </a:lnTo>
                    <a:lnTo>
                      <a:pt x="1832" y="1506"/>
                    </a:lnTo>
                    <a:lnTo>
                      <a:pt x="1836" y="1515"/>
                    </a:lnTo>
                    <a:lnTo>
                      <a:pt x="1832" y="1524"/>
                    </a:lnTo>
                    <a:lnTo>
                      <a:pt x="1835" y="1529"/>
                    </a:lnTo>
                    <a:lnTo>
                      <a:pt x="1832" y="1538"/>
                    </a:lnTo>
                    <a:lnTo>
                      <a:pt x="1835" y="1544"/>
                    </a:lnTo>
                    <a:lnTo>
                      <a:pt x="1845" y="1550"/>
                    </a:lnTo>
                    <a:lnTo>
                      <a:pt x="1838" y="1557"/>
                    </a:lnTo>
                    <a:lnTo>
                      <a:pt x="1836" y="1566"/>
                    </a:lnTo>
                    <a:lnTo>
                      <a:pt x="1824" y="1562"/>
                    </a:lnTo>
                    <a:lnTo>
                      <a:pt x="1815" y="1568"/>
                    </a:lnTo>
                    <a:lnTo>
                      <a:pt x="1809" y="1566"/>
                    </a:lnTo>
                    <a:lnTo>
                      <a:pt x="1796" y="1556"/>
                    </a:lnTo>
                    <a:lnTo>
                      <a:pt x="1784" y="1551"/>
                    </a:lnTo>
                    <a:lnTo>
                      <a:pt x="1767" y="1553"/>
                    </a:lnTo>
                    <a:lnTo>
                      <a:pt x="1757" y="1560"/>
                    </a:lnTo>
                    <a:lnTo>
                      <a:pt x="1746" y="1568"/>
                    </a:lnTo>
                    <a:lnTo>
                      <a:pt x="1739" y="1569"/>
                    </a:lnTo>
                    <a:close/>
                  </a:path>
                </a:pathLst>
              </a:custGeom>
              <a:solidFill>
                <a:srgbClr val="70AD47">
                  <a:lumMod val="20000"/>
                  <a:lumOff val="80000"/>
                </a:srgbClr>
              </a:solidFill>
              <a:ln w="12700" cap="flat" cmpd="sng" algn="ctr">
                <a:solidFill>
                  <a:sysClr val="windowText" lastClr="000000"/>
                </a:solidFill>
                <a:prstDash val="solid"/>
                <a:miter lim="800000"/>
                <a:headEnd/>
                <a:tailEnd/>
              </a:ln>
              <a:effectLst/>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rgbClr val="000000"/>
                  </a:solidFill>
                  <a:effectLst/>
                  <a:uLnTx/>
                  <a:uFillTx/>
                  <a:latin typeface="Arial" panose="020B0604020202020204"/>
                  <a:ea typeface="MS PGothic" pitchFamily="34" charset="-128"/>
                  <a:cs typeface="+mn-cs"/>
                </a:endParaRPr>
              </a:p>
            </p:txBody>
          </p:sp>
          <p:sp>
            <p:nvSpPr>
              <p:cNvPr id="266" name="Freeform 285">
                <a:extLst>
                  <a:ext uri="{FF2B5EF4-FFF2-40B4-BE49-F238E27FC236}">
                    <a16:creationId xmlns:a16="http://schemas.microsoft.com/office/drawing/2014/main" id="{5D7BC20B-059C-6BF1-01F5-985AFFE53450}"/>
                  </a:ext>
                </a:extLst>
              </p:cNvPr>
              <p:cNvSpPr>
                <a:spLocks/>
              </p:cNvSpPr>
              <p:nvPr/>
            </p:nvSpPr>
            <p:spPr bwMode="auto">
              <a:xfrm>
                <a:off x="2509" y="3034"/>
                <a:ext cx="791" cy="543"/>
              </a:xfrm>
              <a:custGeom>
                <a:avLst/>
                <a:gdLst>
                  <a:gd name="T0" fmla="*/ 0 w 2374"/>
                  <a:gd name="T1" fmla="*/ 0 h 1630"/>
                  <a:gd name="T2" fmla="*/ 0 w 2374"/>
                  <a:gd name="T3" fmla="*/ 0 h 1630"/>
                  <a:gd name="T4" fmla="*/ 0 w 2374"/>
                  <a:gd name="T5" fmla="*/ 0 h 1630"/>
                  <a:gd name="T6" fmla="*/ 0 w 2374"/>
                  <a:gd name="T7" fmla="*/ 0 h 1630"/>
                  <a:gd name="T8" fmla="*/ 0 w 2374"/>
                  <a:gd name="T9" fmla="*/ 0 h 1630"/>
                  <a:gd name="T10" fmla="*/ 0 w 2374"/>
                  <a:gd name="T11" fmla="*/ 0 h 1630"/>
                  <a:gd name="T12" fmla="*/ 0 w 2374"/>
                  <a:gd name="T13" fmla="*/ 0 h 1630"/>
                  <a:gd name="T14" fmla="*/ 0 w 2374"/>
                  <a:gd name="T15" fmla="*/ 0 h 1630"/>
                  <a:gd name="T16" fmla="*/ 0 w 2374"/>
                  <a:gd name="T17" fmla="*/ 0 h 1630"/>
                  <a:gd name="T18" fmla="*/ 0 w 2374"/>
                  <a:gd name="T19" fmla="*/ 0 h 1630"/>
                  <a:gd name="T20" fmla="*/ 0 w 2374"/>
                  <a:gd name="T21" fmla="*/ 0 h 1630"/>
                  <a:gd name="T22" fmla="*/ 0 w 2374"/>
                  <a:gd name="T23" fmla="*/ 0 h 1630"/>
                  <a:gd name="T24" fmla="*/ 0 w 2374"/>
                  <a:gd name="T25" fmla="*/ 0 h 1630"/>
                  <a:gd name="T26" fmla="*/ 0 w 2374"/>
                  <a:gd name="T27" fmla="*/ 0 h 1630"/>
                  <a:gd name="T28" fmla="*/ 0 w 2374"/>
                  <a:gd name="T29" fmla="*/ 0 h 1630"/>
                  <a:gd name="T30" fmla="*/ 0 w 2374"/>
                  <a:gd name="T31" fmla="*/ 0 h 1630"/>
                  <a:gd name="T32" fmla="*/ 0 w 2374"/>
                  <a:gd name="T33" fmla="*/ 0 h 1630"/>
                  <a:gd name="T34" fmla="*/ 0 w 2374"/>
                  <a:gd name="T35" fmla="*/ 0 h 1630"/>
                  <a:gd name="T36" fmla="*/ 0 w 2374"/>
                  <a:gd name="T37" fmla="*/ 0 h 1630"/>
                  <a:gd name="T38" fmla="*/ 0 w 2374"/>
                  <a:gd name="T39" fmla="*/ 0 h 1630"/>
                  <a:gd name="T40" fmla="*/ 0 w 2374"/>
                  <a:gd name="T41" fmla="*/ 0 h 1630"/>
                  <a:gd name="T42" fmla="*/ 0 w 2374"/>
                  <a:gd name="T43" fmla="*/ 0 h 1630"/>
                  <a:gd name="T44" fmla="*/ 0 w 2374"/>
                  <a:gd name="T45" fmla="*/ 0 h 1630"/>
                  <a:gd name="T46" fmla="*/ 0 w 2374"/>
                  <a:gd name="T47" fmla="*/ 0 h 1630"/>
                  <a:gd name="T48" fmla="*/ 0 w 2374"/>
                  <a:gd name="T49" fmla="*/ 0 h 1630"/>
                  <a:gd name="T50" fmla="*/ 0 w 2374"/>
                  <a:gd name="T51" fmla="*/ 0 h 1630"/>
                  <a:gd name="T52" fmla="*/ 0 w 2374"/>
                  <a:gd name="T53" fmla="*/ 0 h 1630"/>
                  <a:gd name="T54" fmla="*/ 0 w 2374"/>
                  <a:gd name="T55" fmla="*/ 0 h 1630"/>
                  <a:gd name="T56" fmla="*/ 0 w 2374"/>
                  <a:gd name="T57" fmla="*/ 0 h 1630"/>
                  <a:gd name="T58" fmla="*/ 0 w 2374"/>
                  <a:gd name="T59" fmla="*/ 0 h 1630"/>
                  <a:gd name="T60" fmla="*/ 0 w 2374"/>
                  <a:gd name="T61" fmla="*/ 0 h 1630"/>
                  <a:gd name="T62" fmla="*/ 0 w 2374"/>
                  <a:gd name="T63" fmla="*/ 0 h 1630"/>
                  <a:gd name="T64" fmla="*/ 0 w 2374"/>
                  <a:gd name="T65" fmla="*/ 0 h 1630"/>
                  <a:gd name="T66" fmla="*/ 0 w 2374"/>
                  <a:gd name="T67" fmla="*/ 0 h 1630"/>
                  <a:gd name="T68" fmla="*/ 0 w 2374"/>
                  <a:gd name="T69" fmla="*/ 0 h 1630"/>
                  <a:gd name="T70" fmla="*/ 0 w 2374"/>
                  <a:gd name="T71" fmla="*/ 0 h 1630"/>
                  <a:gd name="T72" fmla="*/ 0 w 2374"/>
                  <a:gd name="T73" fmla="*/ 0 h 1630"/>
                  <a:gd name="T74" fmla="*/ 0 w 2374"/>
                  <a:gd name="T75" fmla="*/ 0 h 1630"/>
                  <a:gd name="T76" fmla="*/ 0 w 2374"/>
                  <a:gd name="T77" fmla="*/ 0 h 1630"/>
                  <a:gd name="T78" fmla="*/ 0 w 2374"/>
                  <a:gd name="T79" fmla="*/ 0 h 1630"/>
                  <a:gd name="T80" fmla="*/ 0 w 2374"/>
                  <a:gd name="T81" fmla="*/ 0 h 1630"/>
                  <a:gd name="T82" fmla="*/ 0 w 2374"/>
                  <a:gd name="T83" fmla="*/ 0 h 1630"/>
                  <a:gd name="T84" fmla="*/ 0 w 2374"/>
                  <a:gd name="T85" fmla="*/ 0 h 1630"/>
                  <a:gd name="T86" fmla="*/ 0 w 2374"/>
                  <a:gd name="T87" fmla="*/ 0 h 1630"/>
                  <a:gd name="T88" fmla="*/ 0 w 2374"/>
                  <a:gd name="T89" fmla="*/ 0 h 1630"/>
                  <a:gd name="T90" fmla="*/ 0 w 2374"/>
                  <a:gd name="T91" fmla="*/ 0 h 1630"/>
                  <a:gd name="T92" fmla="*/ 0 w 2374"/>
                  <a:gd name="T93" fmla="*/ 0 h 1630"/>
                  <a:gd name="T94" fmla="*/ 0 w 2374"/>
                  <a:gd name="T95" fmla="*/ 0 h 1630"/>
                  <a:gd name="T96" fmla="*/ 0 w 2374"/>
                  <a:gd name="T97" fmla="*/ 0 h 1630"/>
                  <a:gd name="T98" fmla="*/ 0 w 2374"/>
                  <a:gd name="T99" fmla="*/ 0 h 1630"/>
                  <a:gd name="T100" fmla="*/ 0 w 2374"/>
                  <a:gd name="T101" fmla="*/ 0 h 1630"/>
                  <a:gd name="T102" fmla="*/ 0 w 2374"/>
                  <a:gd name="T103" fmla="*/ 0 h 1630"/>
                  <a:gd name="T104" fmla="*/ 0 w 2374"/>
                  <a:gd name="T105" fmla="*/ 0 h 1630"/>
                  <a:gd name="T106" fmla="*/ 0 w 2374"/>
                  <a:gd name="T107" fmla="*/ 0 h 1630"/>
                  <a:gd name="T108" fmla="*/ 0 w 2374"/>
                  <a:gd name="T109" fmla="*/ 0 h 1630"/>
                  <a:gd name="T110" fmla="*/ 0 w 2374"/>
                  <a:gd name="T111" fmla="*/ 0 h 1630"/>
                  <a:gd name="T112" fmla="*/ 0 w 2374"/>
                  <a:gd name="T113" fmla="*/ 0 h 1630"/>
                  <a:gd name="T114" fmla="*/ 0 w 2374"/>
                  <a:gd name="T115" fmla="*/ 0 h 1630"/>
                  <a:gd name="T116" fmla="*/ 0 w 2374"/>
                  <a:gd name="T117" fmla="*/ 0 h 1630"/>
                  <a:gd name="T118" fmla="*/ 0 w 2374"/>
                  <a:gd name="T119" fmla="*/ 0 h 16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374" h="1630">
                    <a:moveTo>
                      <a:pt x="1908" y="886"/>
                    </a:moveTo>
                    <a:lnTo>
                      <a:pt x="1912" y="892"/>
                    </a:lnTo>
                    <a:lnTo>
                      <a:pt x="1927" y="903"/>
                    </a:lnTo>
                    <a:lnTo>
                      <a:pt x="1927" y="910"/>
                    </a:lnTo>
                    <a:lnTo>
                      <a:pt x="1914" y="913"/>
                    </a:lnTo>
                    <a:lnTo>
                      <a:pt x="1911" y="927"/>
                    </a:lnTo>
                    <a:lnTo>
                      <a:pt x="1897" y="930"/>
                    </a:lnTo>
                    <a:lnTo>
                      <a:pt x="1881" y="954"/>
                    </a:lnTo>
                    <a:lnTo>
                      <a:pt x="1875" y="955"/>
                    </a:lnTo>
                    <a:lnTo>
                      <a:pt x="1864" y="969"/>
                    </a:lnTo>
                    <a:lnTo>
                      <a:pt x="1878" y="979"/>
                    </a:lnTo>
                    <a:lnTo>
                      <a:pt x="1878" y="991"/>
                    </a:lnTo>
                    <a:lnTo>
                      <a:pt x="1858" y="1003"/>
                    </a:lnTo>
                    <a:lnTo>
                      <a:pt x="1855" y="999"/>
                    </a:lnTo>
                    <a:lnTo>
                      <a:pt x="1848" y="1005"/>
                    </a:lnTo>
                    <a:lnTo>
                      <a:pt x="1837" y="1000"/>
                    </a:lnTo>
                    <a:lnTo>
                      <a:pt x="1827" y="1017"/>
                    </a:lnTo>
                    <a:lnTo>
                      <a:pt x="1837" y="1026"/>
                    </a:lnTo>
                    <a:lnTo>
                      <a:pt x="1786" y="1074"/>
                    </a:lnTo>
                    <a:lnTo>
                      <a:pt x="1774" y="1090"/>
                    </a:lnTo>
                    <a:lnTo>
                      <a:pt x="1792" y="1105"/>
                    </a:lnTo>
                    <a:lnTo>
                      <a:pt x="1779" y="1119"/>
                    </a:lnTo>
                    <a:lnTo>
                      <a:pt x="1785" y="1119"/>
                    </a:lnTo>
                    <a:lnTo>
                      <a:pt x="1795" y="1119"/>
                    </a:lnTo>
                    <a:lnTo>
                      <a:pt x="1816" y="1111"/>
                    </a:lnTo>
                    <a:lnTo>
                      <a:pt x="1813" y="1120"/>
                    </a:lnTo>
                    <a:lnTo>
                      <a:pt x="1821" y="1126"/>
                    </a:lnTo>
                    <a:lnTo>
                      <a:pt x="1824" y="1137"/>
                    </a:lnTo>
                    <a:lnTo>
                      <a:pt x="1845" y="1138"/>
                    </a:lnTo>
                    <a:lnTo>
                      <a:pt x="1845" y="1150"/>
                    </a:lnTo>
                    <a:lnTo>
                      <a:pt x="1860" y="1155"/>
                    </a:lnTo>
                    <a:lnTo>
                      <a:pt x="1863" y="1159"/>
                    </a:lnTo>
                    <a:lnTo>
                      <a:pt x="1867" y="1162"/>
                    </a:lnTo>
                    <a:lnTo>
                      <a:pt x="1866" y="1168"/>
                    </a:lnTo>
                    <a:lnTo>
                      <a:pt x="1858" y="1171"/>
                    </a:lnTo>
                    <a:lnTo>
                      <a:pt x="1867" y="1177"/>
                    </a:lnTo>
                    <a:lnTo>
                      <a:pt x="1870" y="1185"/>
                    </a:lnTo>
                    <a:lnTo>
                      <a:pt x="1867" y="1192"/>
                    </a:lnTo>
                    <a:lnTo>
                      <a:pt x="1872" y="1200"/>
                    </a:lnTo>
                    <a:lnTo>
                      <a:pt x="1866" y="1204"/>
                    </a:lnTo>
                    <a:lnTo>
                      <a:pt x="1855" y="1195"/>
                    </a:lnTo>
                    <a:lnTo>
                      <a:pt x="1848" y="1200"/>
                    </a:lnTo>
                    <a:lnTo>
                      <a:pt x="1848" y="1224"/>
                    </a:lnTo>
                    <a:lnTo>
                      <a:pt x="1837" y="1234"/>
                    </a:lnTo>
                    <a:lnTo>
                      <a:pt x="1845" y="1245"/>
                    </a:lnTo>
                    <a:lnTo>
                      <a:pt x="1854" y="1243"/>
                    </a:lnTo>
                    <a:lnTo>
                      <a:pt x="1866" y="1228"/>
                    </a:lnTo>
                    <a:lnTo>
                      <a:pt x="1872" y="1221"/>
                    </a:lnTo>
                    <a:lnTo>
                      <a:pt x="1882" y="1225"/>
                    </a:lnTo>
                    <a:lnTo>
                      <a:pt x="1885" y="1221"/>
                    </a:lnTo>
                    <a:lnTo>
                      <a:pt x="1891" y="1216"/>
                    </a:lnTo>
                    <a:lnTo>
                      <a:pt x="1893" y="1207"/>
                    </a:lnTo>
                    <a:lnTo>
                      <a:pt x="1905" y="1213"/>
                    </a:lnTo>
                    <a:lnTo>
                      <a:pt x="1908" y="1222"/>
                    </a:lnTo>
                    <a:lnTo>
                      <a:pt x="1909" y="1233"/>
                    </a:lnTo>
                    <a:lnTo>
                      <a:pt x="1915" y="1245"/>
                    </a:lnTo>
                    <a:lnTo>
                      <a:pt x="1918" y="1252"/>
                    </a:lnTo>
                    <a:lnTo>
                      <a:pt x="1917" y="1257"/>
                    </a:lnTo>
                    <a:lnTo>
                      <a:pt x="1906" y="1258"/>
                    </a:lnTo>
                    <a:lnTo>
                      <a:pt x="1905" y="1263"/>
                    </a:lnTo>
                    <a:lnTo>
                      <a:pt x="1906" y="1270"/>
                    </a:lnTo>
                    <a:lnTo>
                      <a:pt x="1918" y="1282"/>
                    </a:lnTo>
                    <a:lnTo>
                      <a:pt x="1924" y="1284"/>
                    </a:lnTo>
                    <a:lnTo>
                      <a:pt x="1930" y="1288"/>
                    </a:lnTo>
                    <a:lnTo>
                      <a:pt x="1933" y="1300"/>
                    </a:lnTo>
                    <a:lnTo>
                      <a:pt x="1927" y="1303"/>
                    </a:lnTo>
                    <a:lnTo>
                      <a:pt x="1924" y="1303"/>
                    </a:lnTo>
                    <a:lnTo>
                      <a:pt x="1915" y="1314"/>
                    </a:lnTo>
                    <a:lnTo>
                      <a:pt x="1906" y="1318"/>
                    </a:lnTo>
                    <a:lnTo>
                      <a:pt x="1899" y="1324"/>
                    </a:lnTo>
                    <a:lnTo>
                      <a:pt x="1897" y="1327"/>
                    </a:lnTo>
                    <a:lnTo>
                      <a:pt x="1894" y="1330"/>
                    </a:lnTo>
                    <a:lnTo>
                      <a:pt x="1891" y="1350"/>
                    </a:lnTo>
                    <a:lnTo>
                      <a:pt x="1888" y="1354"/>
                    </a:lnTo>
                    <a:lnTo>
                      <a:pt x="1884" y="1369"/>
                    </a:lnTo>
                    <a:lnTo>
                      <a:pt x="1876" y="1384"/>
                    </a:lnTo>
                    <a:lnTo>
                      <a:pt x="1876" y="1390"/>
                    </a:lnTo>
                    <a:lnTo>
                      <a:pt x="1875" y="1396"/>
                    </a:lnTo>
                    <a:lnTo>
                      <a:pt x="1866" y="1407"/>
                    </a:lnTo>
                    <a:lnTo>
                      <a:pt x="1857" y="1408"/>
                    </a:lnTo>
                    <a:lnTo>
                      <a:pt x="1852" y="1404"/>
                    </a:lnTo>
                    <a:lnTo>
                      <a:pt x="1843" y="1405"/>
                    </a:lnTo>
                    <a:lnTo>
                      <a:pt x="1836" y="1399"/>
                    </a:lnTo>
                    <a:lnTo>
                      <a:pt x="1831" y="1399"/>
                    </a:lnTo>
                    <a:lnTo>
                      <a:pt x="1822" y="1399"/>
                    </a:lnTo>
                    <a:lnTo>
                      <a:pt x="1809" y="1390"/>
                    </a:lnTo>
                    <a:lnTo>
                      <a:pt x="1800" y="1386"/>
                    </a:lnTo>
                    <a:lnTo>
                      <a:pt x="1792" y="1407"/>
                    </a:lnTo>
                    <a:lnTo>
                      <a:pt x="1785" y="1417"/>
                    </a:lnTo>
                    <a:lnTo>
                      <a:pt x="1786" y="1422"/>
                    </a:lnTo>
                    <a:lnTo>
                      <a:pt x="1786" y="1429"/>
                    </a:lnTo>
                    <a:lnTo>
                      <a:pt x="1785" y="1438"/>
                    </a:lnTo>
                    <a:lnTo>
                      <a:pt x="1782" y="1447"/>
                    </a:lnTo>
                    <a:lnTo>
                      <a:pt x="1780" y="1464"/>
                    </a:lnTo>
                    <a:lnTo>
                      <a:pt x="1786" y="1476"/>
                    </a:lnTo>
                    <a:lnTo>
                      <a:pt x="1786" y="1488"/>
                    </a:lnTo>
                    <a:lnTo>
                      <a:pt x="1777" y="1504"/>
                    </a:lnTo>
                    <a:lnTo>
                      <a:pt x="1785" y="1522"/>
                    </a:lnTo>
                    <a:lnTo>
                      <a:pt x="1780" y="1537"/>
                    </a:lnTo>
                    <a:lnTo>
                      <a:pt x="1777" y="1551"/>
                    </a:lnTo>
                    <a:lnTo>
                      <a:pt x="1774" y="1554"/>
                    </a:lnTo>
                    <a:lnTo>
                      <a:pt x="1800" y="1581"/>
                    </a:lnTo>
                    <a:lnTo>
                      <a:pt x="1800" y="1593"/>
                    </a:lnTo>
                    <a:lnTo>
                      <a:pt x="1782" y="1605"/>
                    </a:lnTo>
                    <a:lnTo>
                      <a:pt x="1753" y="1611"/>
                    </a:lnTo>
                    <a:lnTo>
                      <a:pt x="1734" y="1600"/>
                    </a:lnTo>
                    <a:lnTo>
                      <a:pt x="1731" y="1584"/>
                    </a:lnTo>
                    <a:lnTo>
                      <a:pt x="1705" y="1573"/>
                    </a:lnTo>
                    <a:lnTo>
                      <a:pt x="1677" y="1593"/>
                    </a:lnTo>
                    <a:lnTo>
                      <a:pt x="1675" y="1614"/>
                    </a:lnTo>
                    <a:lnTo>
                      <a:pt x="1660" y="1630"/>
                    </a:lnTo>
                    <a:lnTo>
                      <a:pt x="1647" y="1627"/>
                    </a:lnTo>
                    <a:lnTo>
                      <a:pt x="1632" y="1609"/>
                    </a:lnTo>
                    <a:lnTo>
                      <a:pt x="1621" y="1581"/>
                    </a:lnTo>
                    <a:lnTo>
                      <a:pt x="1597" y="1578"/>
                    </a:lnTo>
                    <a:lnTo>
                      <a:pt x="1581" y="1570"/>
                    </a:lnTo>
                    <a:lnTo>
                      <a:pt x="1560" y="1557"/>
                    </a:lnTo>
                    <a:lnTo>
                      <a:pt x="1533" y="1578"/>
                    </a:lnTo>
                    <a:lnTo>
                      <a:pt x="1509" y="1590"/>
                    </a:lnTo>
                    <a:lnTo>
                      <a:pt x="1497" y="1582"/>
                    </a:lnTo>
                    <a:lnTo>
                      <a:pt x="1479" y="1585"/>
                    </a:lnTo>
                    <a:lnTo>
                      <a:pt x="1464" y="1608"/>
                    </a:lnTo>
                    <a:lnTo>
                      <a:pt x="1441" y="1602"/>
                    </a:lnTo>
                    <a:lnTo>
                      <a:pt x="1429" y="1603"/>
                    </a:lnTo>
                    <a:lnTo>
                      <a:pt x="1422" y="1621"/>
                    </a:lnTo>
                    <a:lnTo>
                      <a:pt x="1381" y="1612"/>
                    </a:lnTo>
                    <a:lnTo>
                      <a:pt x="1369" y="1611"/>
                    </a:lnTo>
                    <a:lnTo>
                      <a:pt x="1366" y="1584"/>
                    </a:lnTo>
                    <a:lnTo>
                      <a:pt x="1332" y="1578"/>
                    </a:lnTo>
                    <a:lnTo>
                      <a:pt x="1317" y="1540"/>
                    </a:lnTo>
                    <a:lnTo>
                      <a:pt x="1300" y="1521"/>
                    </a:lnTo>
                    <a:lnTo>
                      <a:pt x="1296" y="1492"/>
                    </a:lnTo>
                    <a:lnTo>
                      <a:pt x="1275" y="1500"/>
                    </a:lnTo>
                    <a:lnTo>
                      <a:pt x="1236" y="1485"/>
                    </a:lnTo>
                    <a:lnTo>
                      <a:pt x="1230" y="1470"/>
                    </a:lnTo>
                    <a:lnTo>
                      <a:pt x="1224" y="1461"/>
                    </a:lnTo>
                    <a:lnTo>
                      <a:pt x="1210" y="1464"/>
                    </a:lnTo>
                    <a:lnTo>
                      <a:pt x="1200" y="1455"/>
                    </a:lnTo>
                    <a:lnTo>
                      <a:pt x="1191" y="1444"/>
                    </a:lnTo>
                    <a:lnTo>
                      <a:pt x="1170" y="1431"/>
                    </a:lnTo>
                    <a:lnTo>
                      <a:pt x="1162" y="1447"/>
                    </a:lnTo>
                    <a:lnTo>
                      <a:pt x="1138" y="1450"/>
                    </a:lnTo>
                    <a:lnTo>
                      <a:pt x="1126" y="1474"/>
                    </a:lnTo>
                    <a:lnTo>
                      <a:pt x="1107" y="1488"/>
                    </a:lnTo>
                    <a:lnTo>
                      <a:pt x="1089" y="1477"/>
                    </a:lnTo>
                    <a:lnTo>
                      <a:pt x="1077" y="1488"/>
                    </a:lnTo>
                    <a:lnTo>
                      <a:pt x="1039" y="1480"/>
                    </a:lnTo>
                    <a:lnTo>
                      <a:pt x="1035" y="1470"/>
                    </a:lnTo>
                    <a:lnTo>
                      <a:pt x="1015" y="1453"/>
                    </a:lnTo>
                    <a:lnTo>
                      <a:pt x="1003" y="1477"/>
                    </a:lnTo>
                    <a:lnTo>
                      <a:pt x="996" y="1497"/>
                    </a:lnTo>
                    <a:lnTo>
                      <a:pt x="987" y="1495"/>
                    </a:lnTo>
                    <a:lnTo>
                      <a:pt x="984" y="1510"/>
                    </a:lnTo>
                    <a:lnTo>
                      <a:pt x="967" y="1507"/>
                    </a:lnTo>
                    <a:lnTo>
                      <a:pt x="963" y="1506"/>
                    </a:lnTo>
                    <a:lnTo>
                      <a:pt x="967" y="1488"/>
                    </a:lnTo>
                    <a:lnTo>
                      <a:pt x="964" y="1480"/>
                    </a:lnTo>
                    <a:lnTo>
                      <a:pt x="951" y="1485"/>
                    </a:lnTo>
                    <a:lnTo>
                      <a:pt x="940" y="1476"/>
                    </a:lnTo>
                    <a:lnTo>
                      <a:pt x="936" y="1449"/>
                    </a:lnTo>
                    <a:lnTo>
                      <a:pt x="912" y="1428"/>
                    </a:lnTo>
                    <a:lnTo>
                      <a:pt x="901" y="1426"/>
                    </a:lnTo>
                    <a:lnTo>
                      <a:pt x="892" y="1408"/>
                    </a:lnTo>
                    <a:lnTo>
                      <a:pt x="876" y="1393"/>
                    </a:lnTo>
                    <a:lnTo>
                      <a:pt x="865" y="1398"/>
                    </a:lnTo>
                    <a:lnTo>
                      <a:pt x="846" y="1386"/>
                    </a:lnTo>
                    <a:lnTo>
                      <a:pt x="838" y="1375"/>
                    </a:lnTo>
                    <a:lnTo>
                      <a:pt x="832" y="1356"/>
                    </a:lnTo>
                    <a:lnTo>
                      <a:pt x="843" y="1344"/>
                    </a:lnTo>
                    <a:lnTo>
                      <a:pt x="837" y="1341"/>
                    </a:lnTo>
                    <a:lnTo>
                      <a:pt x="838" y="1327"/>
                    </a:lnTo>
                    <a:lnTo>
                      <a:pt x="826" y="1324"/>
                    </a:lnTo>
                    <a:lnTo>
                      <a:pt x="825" y="1317"/>
                    </a:lnTo>
                    <a:lnTo>
                      <a:pt x="823" y="1300"/>
                    </a:lnTo>
                    <a:lnTo>
                      <a:pt x="807" y="1294"/>
                    </a:lnTo>
                    <a:lnTo>
                      <a:pt x="801" y="1299"/>
                    </a:lnTo>
                    <a:lnTo>
                      <a:pt x="780" y="1311"/>
                    </a:lnTo>
                    <a:lnTo>
                      <a:pt x="744" y="1312"/>
                    </a:lnTo>
                    <a:lnTo>
                      <a:pt x="717" y="1311"/>
                    </a:lnTo>
                    <a:lnTo>
                      <a:pt x="706" y="1305"/>
                    </a:lnTo>
                    <a:lnTo>
                      <a:pt x="694" y="1296"/>
                    </a:lnTo>
                    <a:lnTo>
                      <a:pt x="684" y="1312"/>
                    </a:lnTo>
                    <a:lnTo>
                      <a:pt x="645" y="1302"/>
                    </a:lnTo>
                    <a:lnTo>
                      <a:pt x="628" y="1279"/>
                    </a:lnTo>
                    <a:lnTo>
                      <a:pt x="622" y="1267"/>
                    </a:lnTo>
                    <a:lnTo>
                      <a:pt x="604" y="1261"/>
                    </a:lnTo>
                    <a:lnTo>
                      <a:pt x="562" y="1255"/>
                    </a:lnTo>
                    <a:lnTo>
                      <a:pt x="561" y="1245"/>
                    </a:lnTo>
                    <a:lnTo>
                      <a:pt x="537" y="1233"/>
                    </a:lnTo>
                    <a:lnTo>
                      <a:pt x="517" y="1251"/>
                    </a:lnTo>
                    <a:lnTo>
                      <a:pt x="514" y="1230"/>
                    </a:lnTo>
                    <a:lnTo>
                      <a:pt x="493" y="1216"/>
                    </a:lnTo>
                    <a:lnTo>
                      <a:pt x="486" y="1224"/>
                    </a:lnTo>
                    <a:lnTo>
                      <a:pt x="475" y="1221"/>
                    </a:lnTo>
                    <a:lnTo>
                      <a:pt x="462" y="1198"/>
                    </a:lnTo>
                    <a:lnTo>
                      <a:pt x="447" y="1197"/>
                    </a:lnTo>
                    <a:lnTo>
                      <a:pt x="438" y="1209"/>
                    </a:lnTo>
                    <a:lnTo>
                      <a:pt x="427" y="1209"/>
                    </a:lnTo>
                    <a:lnTo>
                      <a:pt x="408" y="1189"/>
                    </a:lnTo>
                    <a:lnTo>
                      <a:pt x="384" y="1174"/>
                    </a:lnTo>
                    <a:lnTo>
                      <a:pt x="388" y="1143"/>
                    </a:lnTo>
                    <a:lnTo>
                      <a:pt x="406" y="1123"/>
                    </a:lnTo>
                    <a:lnTo>
                      <a:pt x="399" y="1120"/>
                    </a:lnTo>
                    <a:lnTo>
                      <a:pt x="367" y="1128"/>
                    </a:lnTo>
                    <a:lnTo>
                      <a:pt x="357" y="1149"/>
                    </a:lnTo>
                    <a:lnTo>
                      <a:pt x="361" y="1162"/>
                    </a:lnTo>
                    <a:lnTo>
                      <a:pt x="352" y="1221"/>
                    </a:lnTo>
                    <a:lnTo>
                      <a:pt x="340" y="1221"/>
                    </a:lnTo>
                    <a:lnTo>
                      <a:pt x="285" y="1206"/>
                    </a:lnTo>
                    <a:lnTo>
                      <a:pt x="271" y="1185"/>
                    </a:lnTo>
                    <a:lnTo>
                      <a:pt x="256" y="1159"/>
                    </a:lnTo>
                    <a:lnTo>
                      <a:pt x="258" y="1149"/>
                    </a:lnTo>
                    <a:lnTo>
                      <a:pt x="291" y="1113"/>
                    </a:lnTo>
                    <a:lnTo>
                      <a:pt x="298" y="1104"/>
                    </a:lnTo>
                    <a:lnTo>
                      <a:pt x="303" y="1080"/>
                    </a:lnTo>
                    <a:lnTo>
                      <a:pt x="309" y="1074"/>
                    </a:lnTo>
                    <a:lnTo>
                      <a:pt x="309" y="1047"/>
                    </a:lnTo>
                    <a:lnTo>
                      <a:pt x="322" y="1035"/>
                    </a:lnTo>
                    <a:lnTo>
                      <a:pt x="322" y="1000"/>
                    </a:lnTo>
                    <a:lnTo>
                      <a:pt x="330" y="985"/>
                    </a:lnTo>
                    <a:lnTo>
                      <a:pt x="324" y="967"/>
                    </a:lnTo>
                    <a:lnTo>
                      <a:pt x="315" y="952"/>
                    </a:lnTo>
                    <a:lnTo>
                      <a:pt x="300" y="945"/>
                    </a:lnTo>
                    <a:lnTo>
                      <a:pt x="283" y="948"/>
                    </a:lnTo>
                    <a:lnTo>
                      <a:pt x="274" y="945"/>
                    </a:lnTo>
                    <a:lnTo>
                      <a:pt x="256" y="942"/>
                    </a:lnTo>
                    <a:lnTo>
                      <a:pt x="240" y="930"/>
                    </a:lnTo>
                    <a:lnTo>
                      <a:pt x="234" y="933"/>
                    </a:lnTo>
                    <a:lnTo>
                      <a:pt x="225" y="916"/>
                    </a:lnTo>
                    <a:lnTo>
                      <a:pt x="208" y="915"/>
                    </a:lnTo>
                    <a:lnTo>
                      <a:pt x="184" y="922"/>
                    </a:lnTo>
                    <a:lnTo>
                      <a:pt x="187" y="937"/>
                    </a:lnTo>
                    <a:lnTo>
                      <a:pt x="171" y="966"/>
                    </a:lnTo>
                    <a:lnTo>
                      <a:pt x="162" y="960"/>
                    </a:lnTo>
                    <a:lnTo>
                      <a:pt x="139" y="961"/>
                    </a:lnTo>
                    <a:lnTo>
                      <a:pt x="129" y="922"/>
                    </a:lnTo>
                    <a:lnTo>
                      <a:pt x="133" y="906"/>
                    </a:lnTo>
                    <a:lnTo>
                      <a:pt x="123" y="901"/>
                    </a:lnTo>
                    <a:lnTo>
                      <a:pt x="94" y="895"/>
                    </a:lnTo>
                    <a:lnTo>
                      <a:pt x="73" y="900"/>
                    </a:lnTo>
                    <a:lnTo>
                      <a:pt x="48" y="910"/>
                    </a:lnTo>
                    <a:lnTo>
                      <a:pt x="48" y="895"/>
                    </a:lnTo>
                    <a:lnTo>
                      <a:pt x="42" y="892"/>
                    </a:lnTo>
                    <a:lnTo>
                      <a:pt x="46" y="882"/>
                    </a:lnTo>
                    <a:lnTo>
                      <a:pt x="45" y="876"/>
                    </a:lnTo>
                    <a:lnTo>
                      <a:pt x="34" y="874"/>
                    </a:lnTo>
                    <a:lnTo>
                      <a:pt x="31" y="864"/>
                    </a:lnTo>
                    <a:lnTo>
                      <a:pt x="19" y="859"/>
                    </a:lnTo>
                    <a:lnTo>
                      <a:pt x="3" y="844"/>
                    </a:lnTo>
                    <a:lnTo>
                      <a:pt x="9" y="834"/>
                    </a:lnTo>
                    <a:lnTo>
                      <a:pt x="0" y="828"/>
                    </a:lnTo>
                    <a:lnTo>
                      <a:pt x="1" y="813"/>
                    </a:lnTo>
                    <a:lnTo>
                      <a:pt x="10" y="817"/>
                    </a:lnTo>
                    <a:lnTo>
                      <a:pt x="31" y="814"/>
                    </a:lnTo>
                    <a:lnTo>
                      <a:pt x="34" y="808"/>
                    </a:lnTo>
                    <a:lnTo>
                      <a:pt x="39" y="814"/>
                    </a:lnTo>
                    <a:lnTo>
                      <a:pt x="48" y="811"/>
                    </a:lnTo>
                    <a:lnTo>
                      <a:pt x="84" y="799"/>
                    </a:lnTo>
                    <a:lnTo>
                      <a:pt x="91" y="795"/>
                    </a:lnTo>
                    <a:lnTo>
                      <a:pt x="88" y="799"/>
                    </a:lnTo>
                    <a:lnTo>
                      <a:pt x="93" y="804"/>
                    </a:lnTo>
                    <a:lnTo>
                      <a:pt x="100" y="802"/>
                    </a:lnTo>
                    <a:lnTo>
                      <a:pt x="103" y="798"/>
                    </a:lnTo>
                    <a:lnTo>
                      <a:pt x="99" y="790"/>
                    </a:lnTo>
                    <a:lnTo>
                      <a:pt x="108" y="786"/>
                    </a:lnTo>
                    <a:lnTo>
                      <a:pt x="126" y="778"/>
                    </a:lnTo>
                    <a:lnTo>
                      <a:pt x="133" y="769"/>
                    </a:lnTo>
                    <a:lnTo>
                      <a:pt x="142" y="762"/>
                    </a:lnTo>
                    <a:lnTo>
                      <a:pt x="148" y="760"/>
                    </a:lnTo>
                    <a:lnTo>
                      <a:pt x="168" y="721"/>
                    </a:lnTo>
                    <a:lnTo>
                      <a:pt x="178" y="703"/>
                    </a:lnTo>
                    <a:lnTo>
                      <a:pt x="177" y="694"/>
                    </a:lnTo>
                    <a:lnTo>
                      <a:pt x="186" y="691"/>
                    </a:lnTo>
                    <a:lnTo>
                      <a:pt x="195" y="678"/>
                    </a:lnTo>
                    <a:lnTo>
                      <a:pt x="217" y="637"/>
                    </a:lnTo>
                    <a:lnTo>
                      <a:pt x="234" y="640"/>
                    </a:lnTo>
                    <a:lnTo>
                      <a:pt x="240" y="637"/>
                    </a:lnTo>
                    <a:lnTo>
                      <a:pt x="247" y="628"/>
                    </a:lnTo>
                    <a:lnTo>
                      <a:pt x="252" y="627"/>
                    </a:lnTo>
                    <a:lnTo>
                      <a:pt x="255" y="633"/>
                    </a:lnTo>
                    <a:lnTo>
                      <a:pt x="267" y="636"/>
                    </a:lnTo>
                    <a:lnTo>
                      <a:pt x="265" y="654"/>
                    </a:lnTo>
                    <a:lnTo>
                      <a:pt x="292" y="658"/>
                    </a:lnTo>
                    <a:lnTo>
                      <a:pt x="292" y="664"/>
                    </a:lnTo>
                    <a:lnTo>
                      <a:pt x="295" y="670"/>
                    </a:lnTo>
                    <a:lnTo>
                      <a:pt x="298" y="678"/>
                    </a:lnTo>
                    <a:lnTo>
                      <a:pt x="319" y="679"/>
                    </a:lnTo>
                    <a:lnTo>
                      <a:pt x="328" y="682"/>
                    </a:lnTo>
                    <a:lnTo>
                      <a:pt x="339" y="681"/>
                    </a:lnTo>
                    <a:lnTo>
                      <a:pt x="364" y="669"/>
                    </a:lnTo>
                    <a:lnTo>
                      <a:pt x="376" y="669"/>
                    </a:lnTo>
                    <a:lnTo>
                      <a:pt x="399" y="673"/>
                    </a:lnTo>
                    <a:lnTo>
                      <a:pt x="420" y="657"/>
                    </a:lnTo>
                    <a:lnTo>
                      <a:pt x="457" y="639"/>
                    </a:lnTo>
                    <a:lnTo>
                      <a:pt x="468" y="625"/>
                    </a:lnTo>
                    <a:lnTo>
                      <a:pt x="480" y="619"/>
                    </a:lnTo>
                    <a:lnTo>
                      <a:pt x="489" y="619"/>
                    </a:lnTo>
                    <a:lnTo>
                      <a:pt x="498" y="621"/>
                    </a:lnTo>
                    <a:lnTo>
                      <a:pt x="505" y="630"/>
                    </a:lnTo>
                    <a:lnTo>
                      <a:pt x="517" y="642"/>
                    </a:lnTo>
                    <a:lnTo>
                      <a:pt x="529" y="651"/>
                    </a:lnTo>
                    <a:lnTo>
                      <a:pt x="526" y="661"/>
                    </a:lnTo>
                    <a:lnTo>
                      <a:pt x="514" y="664"/>
                    </a:lnTo>
                    <a:lnTo>
                      <a:pt x="501" y="666"/>
                    </a:lnTo>
                    <a:lnTo>
                      <a:pt x="498" y="672"/>
                    </a:lnTo>
                    <a:lnTo>
                      <a:pt x="499" y="676"/>
                    </a:lnTo>
                    <a:lnTo>
                      <a:pt x="495" y="685"/>
                    </a:lnTo>
                    <a:lnTo>
                      <a:pt x="501" y="688"/>
                    </a:lnTo>
                    <a:lnTo>
                      <a:pt x="508" y="679"/>
                    </a:lnTo>
                    <a:lnTo>
                      <a:pt x="517" y="690"/>
                    </a:lnTo>
                    <a:lnTo>
                      <a:pt x="526" y="675"/>
                    </a:lnTo>
                    <a:lnTo>
                      <a:pt x="546" y="669"/>
                    </a:lnTo>
                    <a:lnTo>
                      <a:pt x="541" y="660"/>
                    </a:lnTo>
                    <a:lnTo>
                      <a:pt x="544" y="654"/>
                    </a:lnTo>
                    <a:lnTo>
                      <a:pt x="547" y="657"/>
                    </a:lnTo>
                    <a:lnTo>
                      <a:pt x="558" y="661"/>
                    </a:lnTo>
                    <a:lnTo>
                      <a:pt x="567" y="649"/>
                    </a:lnTo>
                    <a:lnTo>
                      <a:pt x="571" y="654"/>
                    </a:lnTo>
                    <a:lnTo>
                      <a:pt x="573" y="664"/>
                    </a:lnTo>
                    <a:lnTo>
                      <a:pt x="583" y="661"/>
                    </a:lnTo>
                    <a:lnTo>
                      <a:pt x="597" y="661"/>
                    </a:lnTo>
                    <a:lnTo>
                      <a:pt x="603" y="666"/>
                    </a:lnTo>
                    <a:lnTo>
                      <a:pt x="609" y="670"/>
                    </a:lnTo>
                    <a:lnTo>
                      <a:pt x="631" y="672"/>
                    </a:lnTo>
                    <a:lnTo>
                      <a:pt x="633" y="669"/>
                    </a:lnTo>
                    <a:lnTo>
                      <a:pt x="639" y="642"/>
                    </a:lnTo>
                    <a:lnTo>
                      <a:pt x="634" y="630"/>
                    </a:lnTo>
                    <a:lnTo>
                      <a:pt x="640" y="624"/>
                    </a:lnTo>
                    <a:lnTo>
                      <a:pt x="654" y="633"/>
                    </a:lnTo>
                    <a:lnTo>
                      <a:pt x="667" y="639"/>
                    </a:lnTo>
                    <a:lnTo>
                      <a:pt x="676" y="630"/>
                    </a:lnTo>
                    <a:lnTo>
                      <a:pt x="684" y="630"/>
                    </a:lnTo>
                    <a:lnTo>
                      <a:pt x="690" y="633"/>
                    </a:lnTo>
                    <a:lnTo>
                      <a:pt x="690" y="619"/>
                    </a:lnTo>
                    <a:lnTo>
                      <a:pt x="700" y="615"/>
                    </a:lnTo>
                    <a:lnTo>
                      <a:pt x="712" y="615"/>
                    </a:lnTo>
                    <a:lnTo>
                      <a:pt x="738" y="624"/>
                    </a:lnTo>
                    <a:lnTo>
                      <a:pt x="751" y="625"/>
                    </a:lnTo>
                    <a:lnTo>
                      <a:pt x="754" y="621"/>
                    </a:lnTo>
                    <a:lnTo>
                      <a:pt x="756" y="606"/>
                    </a:lnTo>
                    <a:lnTo>
                      <a:pt x="766" y="603"/>
                    </a:lnTo>
                    <a:lnTo>
                      <a:pt x="784" y="607"/>
                    </a:lnTo>
                    <a:lnTo>
                      <a:pt x="802" y="598"/>
                    </a:lnTo>
                    <a:lnTo>
                      <a:pt x="802" y="585"/>
                    </a:lnTo>
                    <a:lnTo>
                      <a:pt x="814" y="583"/>
                    </a:lnTo>
                    <a:lnTo>
                      <a:pt x="837" y="604"/>
                    </a:lnTo>
                    <a:lnTo>
                      <a:pt x="841" y="609"/>
                    </a:lnTo>
                    <a:lnTo>
                      <a:pt x="849" y="619"/>
                    </a:lnTo>
                    <a:lnTo>
                      <a:pt x="861" y="621"/>
                    </a:lnTo>
                    <a:lnTo>
                      <a:pt x="862" y="601"/>
                    </a:lnTo>
                    <a:lnTo>
                      <a:pt x="877" y="607"/>
                    </a:lnTo>
                    <a:lnTo>
                      <a:pt x="895" y="597"/>
                    </a:lnTo>
                    <a:lnTo>
                      <a:pt x="910" y="586"/>
                    </a:lnTo>
                    <a:lnTo>
                      <a:pt x="915" y="592"/>
                    </a:lnTo>
                    <a:lnTo>
                      <a:pt x="907" y="601"/>
                    </a:lnTo>
                    <a:lnTo>
                      <a:pt x="903" y="609"/>
                    </a:lnTo>
                    <a:lnTo>
                      <a:pt x="916" y="612"/>
                    </a:lnTo>
                    <a:lnTo>
                      <a:pt x="922" y="613"/>
                    </a:lnTo>
                    <a:lnTo>
                      <a:pt x="930" y="619"/>
                    </a:lnTo>
                    <a:lnTo>
                      <a:pt x="936" y="627"/>
                    </a:lnTo>
                    <a:lnTo>
                      <a:pt x="940" y="633"/>
                    </a:lnTo>
                    <a:lnTo>
                      <a:pt x="949" y="630"/>
                    </a:lnTo>
                    <a:lnTo>
                      <a:pt x="952" y="616"/>
                    </a:lnTo>
                    <a:lnTo>
                      <a:pt x="973" y="609"/>
                    </a:lnTo>
                    <a:lnTo>
                      <a:pt x="979" y="607"/>
                    </a:lnTo>
                    <a:lnTo>
                      <a:pt x="981" y="622"/>
                    </a:lnTo>
                    <a:lnTo>
                      <a:pt x="990" y="621"/>
                    </a:lnTo>
                    <a:lnTo>
                      <a:pt x="1011" y="603"/>
                    </a:lnTo>
                    <a:lnTo>
                      <a:pt x="1023" y="594"/>
                    </a:lnTo>
                    <a:lnTo>
                      <a:pt x="1030" y="589"/>
                    </a:lnTo>
                    <a:lnTo>
                      <a:pt x="1020" y="585"/>
                    </a:lnTo>
                    <a:lnTo>
                      <a:pt x="1027" y="580"/>
                    </a:lnTo>
                    <a:lnTo>
                      <a:pt x="1039" y="585"/>
                    </a:lnTo>
                    <a:lnTo>
                      <a:pt x="1054" y="570"/>
                    </a:lnTo>
                    <a:lnTo>
                      <a:pt x="1059" y="571"/>
                    </a:lnTo>
                    <a:lnTo>
                      <a:pt x="1072" y="562"/>
                    </a:lnTo>
                    <a:lnTo>
                      <a:pt x="1084" y="580"/>
                    </a:lnTo>
                    <a:lnTo>
                      <a:pt x="1066" y="597"/>
                    </a:lnTo>
                    <a:lnTo>
                      <a:pt x="1054" y="603"/>
                    </a:lnTo>
                    <a:lnTo>
                      <a:pt x="1066" y="615"/>
                    </a:lnTo>
                    <a:lnTo>
                      <a:pt x="1077" y="612"/>
                    </a:lnTo>
                    <a:lnTo>
                      <a:pt x="1083" y="604"/>
                    </a:lnTo>
                    <a:lnTo>
                      <a:pt x="1098" y="597"/>
                    </a:lnTo>
                    <a:lnTo>
                      <a:pt x="1111" y="597"/>
                    </a:lnTo>
                    <a:lnTo>
                      <a:pt x="1126" y="595"/>
                    </a:lnTo>
                    <a:lnTo>
                      <a:pt x="1135" y="601"/>
                    </a:lnTo>
                    <a:lnTo>
                      <a:pt x="1144" y="600"/>
                    </a:lnTo>
                    <a:lnTo>
                      <a:pt x="1149" y="604"/>
                    </a:lnTo>
                    <a:lnTo>
                      <a:pt x="1155" y="610"/>
                    </a:lnTo>
                    <a:lnTo>
                      <a:pt x="1171" y="609"/>
                    </a:lnTo>
                    <a:lnTo>
                      <a:pt x="1185" y="601"/>
                    </a:lnTo>
                    <a:lnTo>
                      <a:pt x="1195" y="589"/>
                    </a:lnTo>
                    <a:lnTo>
                      <a:pt x="1201" y="576"/>
                    </a:lnTo>
                    <a:lnTo>
                      <a:pt x="1215" y="574"/>
                    </a:lnTo>
                    <a:lnTo>
                      <a:pt x="1224" y="570"/>
                    </a:lnTo>
                    <a:lnTo>
                      <a:pt x="1224" y="577"/>
                    </a:lnTo>
                    <a:lnTo>
                      <a:pt x="1230" y="576"/>
                    </a:lnTo>
                    <a:lnTo>
                      <a:pt x="1227" y="559"/>
                    </a:lnTo>
                    <a:lnTo>
                      <a:pt x="1221" y="559"/>
                    </a:lnTo>
                    <a:lnTo>
                      <a:pt x="1225" y="540"/>
                    </a:lnTo>
                    <a:lnTo>
                      <a:pt x="1221" y="535"/>
                    </a:lnTo>
                    <a:lnTo>
                      <a:pt x="1209" y="537"/>
                    </a:lnTo>
                    <a:lnTo>
                      <a:pt x="1201" y="531"/>
                    </a:lnTo>
                    <a:lnTo>
                      <a:pt x="1198" y="513"/>
                    </a:lnTo>
                    <a:lnTo>
                      <a:pt x="1201" y="505"/>
                    </a:lnTo>
                    <a:lnTo>
                      <a:pt x="1215" y="513"/>
                    </a:lnTo>
                    <a:lnTo>
                      <a:pt x="1215" y="498"/>
                    </a:lnTo>
                    <a:lnTo>
                      <a:pt x="1215" y="495"/>
                    </a:lnTo>
                    <a:lnTo>
                      <a:pt x="1228" y="490"/>
                    </a:lnTo>
                    <a:lnTo>
                      <a:pt x="1230" y="481"/>
                    </a:lnTo>
                    <a:lnTo>
                      <a:pt x="1234" y="469"/>
                    </a:lnTo>
                    <a:lnTo>
                      <a:pt x="1219" y="471"/>
                    </a:lnTo>
                    <a:lnTo>
                      <a:pt x="1221" y="457"/>
                    </a:lnTo>
                    <a:lnTo>
                      <a:pt x="1230" y="453"/>
                    </a:lnTo>
                    <a:lnTo>
                      <a:pt x="1233" y="442"/>
                    </a:lnTo>
                    <a:lnTo>
                      <a:pt x="1227" y="430"/>
                    </a:lnTo>
                    <a:lnTo>
                      <a:pt x="1243" y="423"/>
                    </a:lnTo>
                    <a:lnTo>
                      <a:pt x="1248" y="418"/>
                    </a:lnTo>
                    <a:lnTo>
                      <a:pt x="1258" y="409"/>
                    </a:lnTo>
                    <a:lnTo>
                      <a:pt x="1267" y="397"/>
                    </a:lnTo>
                    <a:lnTo>
                      <a:pt x="1266" y="381"/>
                    </a:lnTo>
                    <a:lnTo>
                      <a:pt x="1251" y="376"/>
                    </a:lnTo>
                    <a:lnTo>
                      <a:pt x="1252" y="372"/>
                    </a:lnTo>
                    <a:lnTo>
                      <a:pt x="1258" y="370"/>
                    </a:lnTo>
                    <a:lnTo>
                      <a:pt x="1254" y="342"/>
                    </a:lnTo>
                    <a:lnTo>
                      <a:pt x="1248" y="336"/>
                    </a:lnTo>
                    <a:lnTo>
                      <a:pt x="1249" y="319"/>
                    </a:lnTo>
                    <a:lnTo>
                      <a:pt x="1246" y="310"/>
                    </a:lnTo>
                    <a:lnTo>
                      <a:pt x="1255" y="312"/>
                    </a:lnTo>
                    <a:lnTo>
                      <a:pt x="1269" y="313"/>
                    </a:lnTo>
                    <a:lnTo>
                      <a:pt x="1269" y="301"/>
                    </a:lnTo>
                    <a:lnTo>
                      <a:pt x="1269" y="286"/>
                    </a:lnTo>
                    <a:lnTo>
                      <a:pt x="1275" y="283"/>
                    </a:lnTo>
                    <a:lnTo>
                      <a:pt x="1270" y="276"/>
                    </a:lnTo>
                    <a:lnTo>
                      <a:pt x="1260" y="259"/>
                    </a:lnTo>
                    <a:lnTo>
                      <a:pt x="1258" y="252"/>
                    </a:lnTo>
                    <a:lnTo>
                      <a:pt x="1269" y="249"/>
                    </a:lnTo>
                    <a:lnTo>
                      <a:pt x="1267" y="241"/>
                    </a:lnTo>
                    <a:lnTo>
                      <a:pt x="1270" y="240"/>
                    </a:lnTo>
                    <a:lnTo>
                      <a:pt x="1275" y="250"/>
                    </a:lnTo>
                    <a:lnTo>
                      <a:pt x="1276" y="244"/>
                    </a:lnTo>
                    <a:lnTo>
                      <a:pt x="1273" y="229"/>
                    </a:lnTo>
                    <a:lnTo>
                      <a:pt x="1263" y="222"/>
                    </a:lnTo>
                    <a:lnTo>
                      <a:pt x="1251" y="217"/>
                    </a:lnTo>
                    <a:lnTo>
                      <a:pt x="1245" y="219"/>
                    </a:lnTo>
                    <a:lnTo>
                      <a:pt x="1234" y="213"/>
                    </a:lnTo>
                    <a:lnTo>
                      <a:pt x="1237" y="210"/>
                    </a:lnTo>
                    <a:lnTo>
                      <a:pt x="1242" y="204"/>
                    </a:lnTo>
                    <a:lnTo>
                      <a:pt x="1246" y="190"/>
                    </a:lnTo>
                    <a:lnTo>
                      <a:pt x="1251" y="198"/>
                    </a:lnTo>
                    <a:lnTo>
                      <a:pt x="1258" y="190"/>
                    </a:lnTo>
                    <a:lnTo>
                      <a:pt x="1266" y="189"/>
                    </a:lnTo>
                    <a:lnTo>
                      <a:pt x="1272" y="177"/>
                    </a:lnTo>
                    <a:lnTo>
                      <a:pt x="1279" y="172"/>
                    </a:lnTo>
                    <a:lnTo>
                      <a:pt x="1282" y="159"/>
                    </a:lnTo>
                    <a:lnTo>
                      <a:pt x="1296" y="175"/>
                    </a:lnTo>
                    <a:lnTo>
                      <a:pt x="1299" y="169"/>
                    </a:lnTo>
                    <a:lnTo>
                      <a:pt x="1302" y="168"/>
                    </a:lnTo>
                    <a:lnTo>
                      <a:pt x="1306" y="159"/>
                    </a:lnTo>
                    <a:lnTo>
                      <a:pt x="1318" y="163"/>
                    </a:lnTo>
                    <a:lnTo>
                      <a:pt x="1326" y="156"/>
                    </a:lnTo>
                    <a:lnTo>
                      <a:pt x="1336" y="168"/>
                    </a:lnTo>
                    <a:lnTo>
                      <a:pt x="1342" y="175"/>
                    </a:lnTo>
                    <a:lnTo>
                      <a:pt x="1347" y="169"/>
                    </a:lnTo>
                    <a:lnTo>
                      <a:pt x="1347" y="156"/>
                    </a:lnTo>
                    <a:lnTo>
                      <a:pt x="1354" y="151"/>
                    </a:lnTo>
                    <a:lnTo>
                      <a:pt x="1357" y="156"/>
                    </a:lnTo>
                    <a:lnTo>
                      <a:pt x="1368" y="154"/>
                    </a:lnTo>
                    <a:lnTo>
                      <a:pt x="1368" y="148"/>
                    </a:lnTo>
                    <a:lnTo>
                      <a:pt x="1380" y="138"/>
                    </a:lnTo>
                    <a:lnTo>
                      <a:pt x="1389" y="136"/>
                    </a:lnTo>
                    <a:lnTo>
                      <a:pt x="1396" y="111"/>
                    </a:lnTo>
                    <a:lnTo>
                      <a:pt x="1411" y="129"/>
                    </a:lnTo>
                    <a:lnTo>
                      <a:pt x="1423" y="135"/>
                    </a:lnTo>
                    <a:lnTo>
                      <a:pt x="1428" y="156"/>
                    </a:lnTo>
                    <a:lnTo>
                      <a:pt x="1408" y="174"/>
                    </a:lnTo>
                    <a:lnTo>
                      <a:pt x="1411" y="178"/>
                    </a:lnTo>
                    <a:lnTo>
                      <a:pt x="1438" y="195"/>
                    </a:lnTo>
                    <a:lnTo>
                      <a:pt x="1449" y="211"/>
                    </a:lnTo>
                    <a:lnTo>
                      <a:pt x="1452" y="207"/>
                    </a:lnTo>
                    <a:lnTo>
                      <a:pt x="1459" y="205"/>
                    </a:lnTo>
                    <a:lnTo>
                      <a:pt x="1470" y="210"/>
                    </a:lnTo>
                    <a:lnTo>
                      <a:pt x="1480" y="202"/>
                    </a:lnTo>
                    <a:lnTo>
                      <a:pt x="1480" y="192"/>
                    </a:lnTo>
                    <a:lnTo>
                      <a:pt x="1482" y="181"/>
                    </a:lnTo>
                    <a:lnTo>
                      <a:pt x="1468" y="145"/>
                    </a:lnTo>
                    <a:lnTo>
                      <a:pt x="1470" y="136"/>
                    </a:lnTo>
                    <a:lnTo>
                      <a:pt x="1477" y="133"/>
                    </a:lnTo>
                    <a:lnTo>
                      <a:pt x="1477" y="123"/>
                    </a:lnTo>
                    <a:lnTo>
                      <a:pt x="1479" y="114"/>
                    </a:lnTo>
                    <a:lnTo>
                      <a:pt x="1492" y="109"/>
                    </a:lnTo>
                    <a:lnTo>
                      <a:pt x="1509" y="108"/>
                    </a:lnTo>
                    <a:lnTo>
                      <a:pt x="1527" y="90"/>
                    </a:lnTo>
                    <a:lnTo>
                      <a:pt x="1533" y="93"/>
                    </a:lnTo>
                    <a:lnTo>
                      <a:pt x="1536" y="105"/>
                    </a:lnTo>
                    <a:lnTo>
                      <a:pt x="1530" y="120"/>
                    </a:lnTo>
                    <a:lnTo>
                      <a:pt x="1546" y="123"/>
                    </a:lnTo>
                    <a:lnTo>
                      <a:pt x="1552" y="118"/>
                    </a:lnTo>
                    <a:lnTo>
                      <a:pt x="1554" y="96"/>
                    </a:lnTo>
                    <a:lnTo>
                      <a:pt x="1564" y="90"/>
                    </a:lnTo>
                    <a:lnTo>
                      <a:pt x="1569" y="82"/>
                    </a:lnTo>
                    <a:lnTo>
                      <a:pt x="1576" y="75"/>
                    </a:lnTo>
                    <a:lnTo>
                      <a:pt x="1582" y="75"/>
                    </a:lnTo>
                    <a:lnTo>
                      <a:pt x="1587" y="70"/>
                    </a:lnTo>
                    <a:lnTo>
                      <a:pt x="1591" y="67"/>
                    </a:lnTo>
                    <a:lnTo>
                      <a:pt x="1602" y="69"/>
                    </a:lnTo>
                    <a:lnTo>
                      <a:pt x="1606" y="69"/>
                    </a:lnTo>
                    <a:lnTo>
                      <a:pt x="1606" y="79"/>
                    </a:lnTo>
                    <a:lnTo>
                      <a:pt x="1620" y="88"/>
                    </a:lnTo>
                    <a:lnTo>
                      <a:pt x="1624" y="79"/>
                    </a:lnTo>
                    <a:lnTo>
                      <a:pt x="1636" y="91"/>
                    </a:lnTo>
                    <a:lnTo>
                      <a:pt x="1660" y="102"/>
                    </a:lnTo>
                    <a:lnTo>
                      <a:pt x="1672" y="91"/>
                    </a:lnTo>
                    <a:lnTo>
                      <a:pt x="1671" y="82"/>
                    </a:lnTo>
                    <a:lnTo>
                      <a:pt x="1680" y="82"/>
                    </a:lnTo>
                    <a:lnTo>
                      <a:pt x="1687" y="79"/>
                    </a:lnTo>
                    <a:lnTo>
                      <a:pt x="1710" y="75"/>
                    </a:lnTo>
                    <a:lnTo>
                      <a:pt x="1716" y="82"/>
                    </a:lnTo>
                    <a:lnTo>
                      <a:pt x="1725" y="84"/>
                    </a:lnTo>
                    <a:lnTo>
                      <a:pt x="1735" y="67"/>
                    </a:lnTo>
                    <a:lnTo>
                      <a:pt x="1747" y="67"/>
                    </a:lnTo>
                    <a:lnTo>
                      <a:pt x="1752" y="58"/>
                    </a:lnTo>
                    <a:lnTo>
                      <a:pt x="1762" y="60"/>
                    </a:lnTo>
                    <a:lnTo>
                      <a:pt x="1771" y="58"/>
                    </a:lnTo>
                    <a:lnTo>
                      <a:pt x="1777" y="39"/>
                    </a:lnTo>
                    <a:lnTo>
                      <a:pt x="1786" y="27"/>
                    </a:lnTo>
                    <a:lnTo>
                      <a:pt x="1804" y="30"/>
                    </a:lnTo>
                    <a:lnTo>
                      <a:pt x="1809" y="25"/>
                    </a:lnTo>
                    <a:lnTo>
                      <a:pt x="1816" y="22"/>
                    </a:lnTo>
                    <a:lnTo>
                      <a:pt x="1824" y="31"/>
                    </a:lnTo>
                    <a:lnTo>
                      <a:pt x="1827" y="16"/>
                    </a:lnTo>
                    <a:lnTo>
                      <a:pt x="1834" y="24"/>
                    </a:lnTo>
                    <a:lnTo>
                      <a:pt x="1845" y="27"/>
                    </a:lnTo>
                    <a:lnTo>
                      <a:pt x="1848" y="31"/>
                    </a:lnTo>
                    <a:lnTo>
                      <a:pt x="1852" y="25"/>
                    </a:lnTo>
                    <a:lnTo>
                      <a:pt x="1860" y="28"/>
                    </a:lnTo>
                    <a:lnTo>
                      <a:pt x="1878" y="10"/>
                    </a:lnTo>
                    <a:lnTo>
                      <a:pt x="1879" y="4"/>
                    </a:lnTo>
                    <a:lnTo>
                      <a:pt x="1894" y="0"/>
                    </a:lnTo>
                    <a:lnTo>
                      <a:pt x="1897" y="3"/>
                    </a:lnTo>
                    <a:lnTo>
                      <a:pt x="1905" y="16"/>
                    </a:lnTo>
                    <a:lnTo>
                      <a:pt x="1918" y="22"/>
                    </a:lnTo>
                    <a:lnTo>
                      <a:pt x="1923" y="31"/>
                    </a:lnTo>
                    <a:lnTo>
                      <a:pt x="1938" y="40"/>
                    </a:lnTo>
                    <a:lnTo>
                      <a:pt x="1944" y="60"/>
                    </a:lnTo>
                    <a:lnTo>
                      <a:pt x="1962" y="58"/>
                    </a:lnTo>
                    <a:lnTo>
                      <a:pt x="1959" y="51"/>
                    </a:lnTo>
                    <a:lnTo>
                      <a:pt x="1960" y="37"/>
                    </a:lnTo>
                    <a:lnTo>
                      <a:pt x="1972" y="37"/>
                    </a:lnTo>
                    <a:lnTo>
                      <a:pt x="1978" y="27"/>
                    </a:lnTo>
                    <a:lnTo>
                      <a:pt x="2001" y="19"/>
                    </a:lnTo>
                    <a:lnTo>
                      <a:pt x="2010" y="12"/>
                    </a:lnTo>
                    <a:lnTo>
                      <a:pt x="2020" y="31"/>
                    </a:lnTo>
                    <a:lnTo>
                      <a:pt x="2019" y="46"/>
                    </a:lnTo>
                    <a:lnTo>
                      <a:pt x="2026" y="60"/>
                    </a:lnTo>
                    <a:lnTo>
                      <a:pt x="2031" y="51"/>
                    </a:lnTo>
                    <a:lnTo>
                      <a:pt x="2049" y="40"/>
                    </a:lnTo>
                    <a:lnTo>
                      <a:pt x="2065" y="30"/>
                    </a:lnTo>
                    <a:lnTo>
                      <a:pt x="2071" y="25"/>
                    </a:lnTo>
                    <a:lnTo>
                      <a:pt x="2080" y="33"/>
                    </a:lnTo>
                    <a:lnTo>
                      <a:pt x="2095" y="37"/>
                    </a:lnTo>
                    <a:lnTo>
                      <a:pt x="2104" y="45"/>
                    </a:lnTo>
                    <a:lnTo>
                      <a:pt x="2092" y="52"/>
                    </a:lnTo>
                    <a:lnTo>
                      <a:pt x="2088" y="61"/>
                    </a:lnTo>
                    <a:lnTo>
                      <a:pt x="2068" y="57"/>
                    </a:lnTo>
                    <a:lnTo>
                      <a:pt x="2062" y="63"/>
                    </a:lnTo>
                    <a:lnTo>
                      <a:pt x="2065" y="69"/>
                    </a:lnTo>
                    <a:lnTo>
                      <a:pt x="2070" y="70"/>
                    </a:lnTo>
                    <a:lnTo>
                      <a:pt x="2068" y="81"/>
                    </a:lnTo>
                    <a:lnTo>
                      <a:pt x="2074" y="96"/>
                    </a:lnTo>
                    <a:lnTo>
                      <a:pt x="2067" y="114"/>
                    </a:lnTo>
                    <a:lnTo>
                      <a:pt x="2049" y="121"/>
                    </a:lnTo>
                    <a:lnTo>
                      <a:pt x="2046" y="133"/>
                    </a:lnTo>
                    <a:lnTo>
                      <a:pt x="2044" y="138"/>
                    </a:lnTo>
                    <a:lnTo>
                      <a:pt x="2037" y="142"/>
                    </a:lnTo>
                    <a:lnTo>
                      <a:pt x="2025" y="151"/>
                    </a:lnTo>
                    <a:lnTo>
                      <a:pt x="2022" y="162"/>
                    </a:lnTo>
                    <a:lnTo>
                      <a:pt x="2029" y="183"/>
                    </a:lnTo>
                    <a:lnTo>
                      <a:pt x="2035" y="175"/>
                    </a:lnTo>
                    <a:lnTo>
                      <a:pt x="2041" y="177"/>
                    </a:lnTo>
                    <a:lnTo>
                      <a:pt x="2059" y="169"/>
                    </a:lnTo>
                    <a:lnTo>
                      <a:pt x="2070" y="175"/>
                    </a:lnTo>
                    <a:lnTo>
                      <a:pt x="2088" y="187"/>
                    </a:lnTo>
                    <a:lnTo>
                      <a:pt x="2094" y="186"/>
                    </a:lnTo>
                    <a:lnTo>
                      <a:pt x="2098" y="183"/>
                    </a:lnTo>
                    <a:lnTo>
                      <a:pt x="2104" y="180"/>
                    </a:lnTo>
                    <a:lnTo>
                      <a:pt x="2112" y="187"/>
                    </a:lnTo>
                    <a:lnTo>
                      <a:pt x="2125" y="198"/>
                    </a:lnTo>
                    <a:lnTo>
                      <a:pt x="2139" y="207"/>
                    </a:lnTo>
                    <a:lnTo>
                      <a:pt x="2131" y="213"/>
                    </a:lnTo>
                    <a:lnTo>
                      <a:pt x="2121" y="222"/>
                    </a:lnTo>
                    <a:lnTo>
                      <a:pt x="2124" y="241"/>
                    </a:lnTo>
                    <a:lnTo>
                      <a:pt x="2136" y="250"/>
                    </a:lnTo>
                    <a:lnTo>
                      <a:pt x="2142" y="262"/>
                    </a:lnTo>
                    <a:lnTo>
                      <a:pt x="2130" y="265"/>
                    </a:lnTo>
                    <a:lnTo>
                      <a:pt x="2131" y="276"/>
                    </a:lnTo>
                    <a:lnTo>
                      <a:pt x="2137" y="282"/>
                    </a:lnTo>
                    <a:lnTo>
                      <a:pt x="2154" y="285"/>
                    </a:lnTo>
                    <a:lnTo>
                      <a:pt x="2145" y="298"/>
                    </a:lnTo>
                    <a:lnTo>
                      <a:pt x="2134" y="322"/>
                    </a:lnTo>
                    <a:lnTo>
                      <a:pt x="2131" y="339"/>
                    </a:lnTo>
                    <a:lnTo>
                      <a:pt x="2134" y="340"/>
                    </a:lnTo>
                    <a:lnTo>
                      <a:pt x="2146" y="340"/>
                    </a:lnTo>
                    <a:lnTo>
                      <a:pt x="2151" y="336"/>
                    </a:lnTo>
                    <a:lnTo>
                      <a:pt x="2152" y="330"/>
                    </a:lnTo>
                    <a:lnTo>
                      <a:pt x="2160" y="337"/>
                    </a:lnTo>
                    <a:lnTo>
                      <a:pt x="2161" y="333"/>
                    </a:lnTo>
                    <a:lnTo>
                      <a:pt x="2172" y="333"/>
                    </a:lnTo>
                    <a:lnTo>
                      <a:pt x="2178" y="339"/>
                    </a:lnTo>
                    <a:lnTo>
                      <a:pt x="2190" y="367"/>
                    </a:lnTo>
                    <a:lnTo>
                      <a:pt x="2193" y="373"/>
                    </a:lnTo>
                    <a:lnTo>
                      <a:pt x="2194" y="373"/>
                    </a:lnTo>
                    <a:lnTo>
                      <a:pt x="2203" y="385"/>
                    </a:lnTo>
                    <a:lnTo>
                      <a:pt x="2208" y="391"/>
                    </a:lnTo>
                    <a:lnTo>
                      <a:pt x="2209" y="400"/>
                    </a:lnTo>
                    <a:lnTo>
                      <a:pt x="2218" y="402"/>
                    </a:lnTo>
                    <a:lnTo>
                      <a:pt x="2226" y="411"/>
                    </a:lnTo>
                    <a:lnTo>
                      <a:pt x="2235" y="415"/>
                    </a:lnTo>
                    <a:lnTo>
                      <a:pt x="2233" y="429"/>
                    </a:lnTo>
                    <a:lnTo>
                      <a:pt x="2244" y="426"/>
                    </a:lnTo>
                    <a:lnTo>
                      <a:pt x="2256" y="432"/>
                    </a:lnTo>
                    <a:lnTo>
                      <a:pt x="2268" y="442"/>
                    </a:lnTo>
                    <a:lnTo>
                      <a:pt x="2262" y="445"/>
                    </a:lnTo>
                    <a:lnTo>
                      <a:pt x="2263" y="457"/>
                    </a:lnTo>
                    <a:lnTo>
                      <a:pt x="2254" y="460"/>
                    </a:lnTo>
                    <a:lnTo>
                      <a:pt x="2253" y="466"/>
                    </a:lnTo>
                    <a:lnTo>
                      <a:pt x="2259" y="475"/>
                    </a:lnTo>
                    <a:lnTo>
                      <a:pt x="2269" y="478"/>
                    </a:lnTo>
                    <a:lnTo>
                      <a:pt x="2275" y="486"/>
                    </a:lnTo>
                    <a:lnTo>
                      <a:pt x="2286" y="483"/>
                    </a:lnTo>
                    <a:lnTo>
                      <a:pt x="2293" y="487"/>
                    </a:lnTo>
                    <a:lnTo>
                      <a:pt x="2295" y="493"/>
                    </a:lnTo>
                    <a:lnTo>
                      <a:pt x="2284" y="495"/>
                    </a:lnTo>
                    <a:lnTo>
                      <a:pt x="2284" y="505"/>
                    </a:lnTo>
                    <a:lnTo>
                      <a:pt x="2298" y="508"/>
                    </a:lnTo>
                    <a:lnTo>
                      <a:pt x="2308" y="514"/>
                    </a:lnTo>
                    <a:lnTo>
                      <a:pt x="2317" y="508"/>
                    </a:lnTo>
                    <a:lnTo>
                      <a:pt x="2331" y="516"/>
                    </a:lnTo>
                    <a:lnTo>
                      <a:pt x="2325" y="532"/>
                    </a:lnTo>
                    <a:lnTo>
                      <a:pt x="2332" y="538"/>
                    </a:lnTo>
                    <a:lnTo>
                      <a:pt x="2341" y="550"/>
                    </a:lnTo>
                    <a:lnTo>
                      <a:pt x="2352" y="549"/>
                    </a:lnTo>
                    <a:lnTo>
                      <a:pt x="2358" y="540"/>
                    </a:lnTo>
                    <a:lnTo>
                      <a:pt x="2365" y="549"/>
                    </a:lnTo>
                    <a:lnTo>
                      <a:pt x="2374" y="562"/>
                    </a:lnTo>
                    <a:lnTo>
                      <a:pt x="2373" y="592"/>
                    </a:lnTo>
                    <a:lnTo>
                      <a:pt x="2358" y="589"/>
                    </a:lnTo>
                    <a:lnTo>
                      <a:pt x="2341" y="589"/>
                    </a:lnTo>
                    <a:lnTo>
                      <a:pt x="2337" y="606"/>
                    </a:lnTo>
                    <a:lnTo>
                      <a:pt x="2308" y="609"/>
                    </a:lnTo>
                    <a:lnTo>
                      <a:pt x="2301" y="610"/>
                    </a:lnTo>
                    <a:lnTo>
                      <a:pt x="2308" y="616"/>
                    </a:lnTo>
                    <a:lnTo>
                      <a:pt x="2305" y="624"/>
                    </a:lnTo>
                    <a:lnTo>
                      <a:pt x="2298" y="631"/>
                    </a:lnTo>
                    <a:lnTo>
                      <a:pt x="2293" y="633"/>
                    </a:lnTo>
                    <a:lnTo>
                      <a:pt x="2284" y="621"/>
                    </a:lnTo>
                    <a:lnTo>
                      <a:pt x="2275" y="616"/>
                    </a:lnTo>
                    <a:lnTo>
                      <a:pt x="2266" y="625"/>
                    </a:lnTo>
                    <a:lnTo>
                      <a:pt x="2254" y="625"/>
                    </a:lnTo>
                    <a:lnTo>
                      <a:pt x="2272" y="642"/>
                    </a:lnTo>
                    <a:lnTo>
                      <a:pt x="2271" y="645"/>
                    </a:lnTo>
                    <a:lnTo>
                      <a:pt x="2259" y="642"/>
                    </a:lnTo>
                    <a:lnTo>
                      <a:pt x="2257" y="648"/>
                    </a:lnTo>
                    <a:lnTo>
                      <a:pt x="2254" y="654"/>
                    </a:lnTo>
                    <a:lnTo>
                      <a:pt x="2262" y="657"/>
                    </a:lnTo>
                    <a:lnTo>
                      <a:pt x="2262" y="661"/>
                    </a:lnTo>
                    <a:lnTo>
                      <a:pt x="2269" y="669"/>
                    </a:lnTo>
                    <a:lnTo>
                      <a:pt x="2260" y="670"/>
                    </a:lnTo>
                    <a:lnTo>
                      <a:pt x="2259" y="681"/>
                    </a:lnTo>
                    <a:lnTo>
                      <a:pt x="2253" y="676"/>
                    </a:lnTo>
                    <a:lnTo>
                      <a:pt x="2257" y="687"/>
                    </a:lnTo>
                    <a:lnTo>
                      <a:pt x="2245" y="690"/>
                    </a:lnTo>
                    <a:lnTo>
                      <a:pt x="2229" y="699"/>
                    </a:lnTo>
                    <a:lnTo>
                      <a:pt x="2233" y="705"/>
                    </a:lnTo>
                    <a:lnTo>
                      <a:pt x="2241" y="714"/>
                    </a:lnTo>
                    <a:lnTo>
                      <a:pt x="2250" y="718"/>
                    </a:lnTo>
                    <a:lnTo>
                      <a:pt x="2244" y="723"/>
                    </a:lnTo>
                    <a:lnTo>
                      <a:pt x="2250" y="732"/>
                    </a:lnTo>
                    <a:lnTo>
                      <a:pt x="2242" y="729"/>
                    </a:lnTo>
                    <a:lnTo>
                      <a:pt x="2241" y="738"/>
                    </a:lnTo>
                    <a:lnTo>
                      <a:pt x="2239" y="742"/>
                    </a:lnTo>
                    <a:lnTo>
                      <a:pt x="2232" y="745"/>
                    </a:lnTo>
                    <a:lnTo>
                      <a:pt x="2233" y="757"/>
                    </a:lnTo>
                    <a:lnTo>
                      <a:pt x="2238" y="765"/>
                    </a:lnTo>
                    <a:lnTo>
                      <a:pt x="2233" y="774"/>
                    </a:lnTo>
                    <a:lnTo>
                      <a:pt x="2215" y="771"/>
                    </a:lnTo>
                    <a:lnTo>
                      <a:pt x="2211" y="777"/>
                    </a:lnTo>
                    <a:lnTo>
                      <a:pt x="2214" y="786"/>
                    </a:lnTo>
                    <a:lnTo>
                      <a:pt x="2217" y="798"/>
                    </a:lnTo>
                    <a:lnTo>
                      <a:pt x="2214" y="808"/>
                    </a:lnTo>
                    <a:lnTo>
                      <a:pt x="2218" y="811"/>
                    </a:lnTo>
                    <a:lnTo>
                      <a:pt x="2218" y="817"/>
                    </a:lnTo>
                    <a:lnTo>
                      <a:pt x="2209" y="819"/>
                    </a:lnTo>
                    <a:lnTo>
                      <a:pt x="2211" y="828"/>
                    </a:lnTo>
                    <a:lnTo>
                      <a:pt x="2200" y="834"/>
                    </a:lnTo>
                    <a:lnTo>
                      <a:pt x="2187" y="823"/>
                    </a:lnTo>
                    <a:lnTo>
                      <a:pt x="2190" y="816"/>
                    </a:lnTo>
                    <a:lnTo>
                      <a:pt x="2188" y="807"/>
                    </a:lnTo>
                    <a:lnTo>
                      <a:pt x="2172" y="805"/>
                    </a:lnTo>
                    <a:lnTo>
                      <a:pt x="2157" y="793"/>
                    </a:lnTo>
                    <a:lnTo>
                      <a:pt x="2154" y="781"/>
                    </a:lnTo>
                    <a:lnTo>
                      <a:pt x="2140" y="780"/>
                    </a:lnTo>
                    <a:lnTo>
                      <a:pt x="2127" y="778"/>
                    </a:lnTo>
                    <a:lnTo>
                      <a:pt x="2119" y="774"/>
                    </a:lnTo>
                    <a:lnTo>
                      <a:pt x="2103" y="771"/>
                    </a:lnTo>
                    <a:lnTo>
                      <a:pt x="2098" y="771"/>
                    </a:lnTo>
                    <a:lnTo>
                      <a:pt x="2094" y="775"/>
                    </a:lnTo>
                    <a:lnTo>
                      <a:pt x="2076" y="768"/>
                    </a:lnTo>
                    <a:lnTo>
                      <a:pt x="2067" y="775"/>
                    </a:lnTo>
                    <a:lnTo>
                      <a:pt x="2064" y="789"/>
                    </a:lnTo>
                    <a:lnTo>
                      <a:pt x="2041" y="771"/>
                    </a:lnTo>
                    <a:lnTo>
                      <a:pt x="2028" y="769"/>
                    </a:lnTo>
                    <a:lnTo>
                      <a:pt x="2020" y="765"/>
                    </a:lnTo>
                    <a:lnTo>
                      <a:pt x="2017" y="766"/>
                    </a:lnTo>
                    <a:lnTo>
                      <a:pt x="2025" y="781"/>
                    </a:lnTo>
                    <a:lnTo>
                      <a:pt x="2016" y="792"/>
                    </a:lnTo>
                    <a:lnTo>
                      <a:pt x="2020" y="798"/>
                    </a:lnTo>
                    <a:lnTo>
                      <a:pt x="2011" y="811"/>
                    </a:lnTo>
                    <a:lnTo>
                      <a:pt x="2005" y="819"/>
                    </a:lnTo>
                    <a:lnTo>
                      <a:pt x="1992" y="814"/>
                    </a:lnTo>
                    <a:lnTo>
                      <a:pt x="1978" y="831"/>
                    </a:lnTo>
                    <a:lnTo>
                      <a:pt x="1975" y="837"/>
                    </a:lnTo>
                    <a:lnTo>
                      <a:pt x="1971" y="843"/>
                    </a:lnTo>
                    <a:lnTo>
                      <a:pt x="1956" y="868"/>
                    </a:lnTo>
                    <a:lnTo>
                      <a:pt x="1945" y="883"/>
                    </a:lnTo>
                    <a:lnTo>
                      <a:pt x="1938" y="888"/>
                    </a:lnTo>
                    <a:lnTo>
                      <a:pt x="1918" y="885"/>
                    </a:lnTo>
                    <a:lnTo>
                      <a:pt x="1908" y="886"/>
                    </a:lnTo>
                    <a:close/>
                  </a:path>
                </a:pathLst>
              </a:custGeom>
              <a:solidFill>
                <a:sysClr val="window" lastClr="FFFFFF"/>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67" name="Freeform 278">
                <a:extLst>
                  <a:ext uri="{FF2B5EF4-FFF2-40B4-BE49-F238E27FC236}">
                    <a16:creationId xmlns:a16="http://schemas.microsoft.com/office/drawing/2014/main" id="{398D78C5-E646-6427-E144-3438DA29EE4B}"/>
                  </a:ext>
                </a:extLst>
              </p:cNvPr>
              <p:cNvSpPr>
                <a:spLocks/>
              </p:cNvSpPr>
              <p:nvPr/>
            </p:nvSpPr>
            <p:spPr bwMode="auto">
              <a:xfrm>
                <a:off x="2581" y="2457"/>
                <a:ext cx="686" cy="807"/>
              </a:xfrm>
              <a:custGeom>
                <a:avLst/>
                <a:gdLst>
                  <a:gd name="T0" fmla="*/ 0 w 2058"/>
                  <a:gd name="T1" fmla="*/ 0 h 2420"/>
                  <a:gd name="T2" fmla="*/ 0 w 2058"/>
                  <a:gd name="T3" fmla="*/ 0 h 2420"/>
                  <a:gd name="T4" fmla="*/ 0 w 2058"/>
                  <a:gd name="T5" fmla="*/ 0 h 2420"/>
                  <a:gd name="T6" fmla="*/ 0 w 2058"/>
                  <a:gd name="T7" fmla="*/ 0 h 2420"/>
                  <a:gd name="T8" fmla="*/ 0 w 2058"/>
                  <a:gd name="T9" fmla="*/ 0 h 2420"/>
                  <a:gd name="T10" fmla="*/ 0 w 2058"/>
                  <a:gd name="T11" fmla="*/ 0 h 2420"/>
                  <a:gd name="T12" fmla="*/ 0 w 2058"/>
                  <a:gd name="T13" fmla="*/ 0 h 2420"/>
                  <a:gd name="T14" fmla="*/ 0 w 2058"/>
                  <a:gd name="T15" fmla="*/ 0 h 2420"/>
                  <a:gd name="T16" fmla="*/ 0 w 2058"/>
                  <a:gd name="T17" fmla="*/ 0 h 2420"/>
                  <a:gd name="T18" fmla="*/ 0 w 2058"/>
                  <a:gd name="T19" fmla="*/ 0 h 2420"/>
                  <a:gd name="T20" fmla="*/ 0 w 2058"/>
                  <a:gd name="T21" fmla="*/ 0 h 2420"/>
                  <a:gd name="T22" fmla="*/ 0 w 2058"/>
                  <a:gd name="T23" fmla="*/ 0 h 2420"/>
                  <a:gd name="T24" fmla="*/ 0 w 2058"/>
                  <a:gd name="T25" fmla="*/ 0 h 2420"/>
                  <a:gd name="T26" fmla="*/ 0 w 2058"/>
                  <a:gd name="T27" fmla="*/ 0 h 2420"/>
                  <a:gd name="T28" fmla="*/ 0 w 2058"/>
                  <a:gd name="T29" fmla="*/ 0 h 2420"/>
                  <a:gd name="T30" fmla="*/ 0 w 2058"/>
                  <a:gd name="T31" fmla="*/ 0 h 2420"/>
                  <a:gd name="T32" fmla="*/ 0 w 2058"/>
                  <a:gd name="T33" fmla="*/ 0 h 2420"/>
                  <a:gd name="T34" fmla="*/ 0 w 2058"/>
                  <a:gd name="T35" fmla="*/ 0 h 2420"/>
                  <a:gd name="T36" fmla="*/ 0 w 2058"/>
                  <a:gd name="T37" fmla="*/ 0 h 2420"/>
                  <a:gd name="T38" fmla="*/ 0 w 2058"/>
                  <a:gd name="T39" fmla="*/ 0 h 2420"/>
                  <a:gd name="T40" fmla="*/ 0 w 2058"/>
                  <a:gd name="T41" fmla="*/ 0 h 2420"/>
                  <a:gd name="T42" fmla="*/ 0 w 2058"/>
                  <a:gd name="T43" fmla="*/ 0 h 2420"/>
                  <a:gd name="T44" fmla="*/ 0 w 2058"/>
                  <a:gd name="T45" fmla="*/ 0 h 2420"/>
                  <a:gd name="T46" fmla="*/ 0 w 2058"/>
                  <a:gd name="T47" fmla="*/ 0 h 2420"/>
                  <a:gd name="T48" fmla="*/ 0 w 2058"/>
                  <a:gd name="T49" fmla="*/ 0 h 2420"/>
                  <a:gd name="T50" fmla="*/ 0 w 2058"/>
                  <a:gd name="T51" fmla="*/ 0 h 2420"/>
                  <a:gd name="T52" fmla="*/ 0 w 2058"/>
                  <a:gd name="T53" fmla="*/ 0 h 2420"/>
                  <a:gd name="T54" fmla="*/ 0 w 2058"/>
                  <a:gd name="T55" fmla="*/ 0 h 2420"/>
                  <a:gd name="T56" fmla="*/ 0 w 2058"/>
                  <a:gd name="T57" fmla="*/ 0 h 2420"/>
                  <a:gd name="T58" fmla="*/ 0 w 2058"/>
                  <a:gd name="T59" fmla="*/ 0 h 2420"/>
                  <a:gd name="T60" fmla="*/ 0 w 2058"/>
                  <a:gd name="T61" fmla="*/ 0 h 2420"/>
                  <a:gd name="T62" fmla="*/ 0 w 2058"/>
                  <a:gd name="T63" fmla="*/ 0 h 2420"/>
                  <a:gd name="T64" fmla="*/ 0 w 2058"/>
                  <a:gd name="T65" fmla="*/ 0 h 2420"/>
                  <a:gd name="T66" fmla="*/ 0 w 2058"/>
                  <a:gd name="T67" fmla="*/ 0 h 2420"/>
                  <a:gd name="T68" fmla="*/ 0 w 2058"/>
                  <a:gd name="T69" fmla="*/ 0 h 2420"/>
                  <a:gd name="T70" fmla="*/ 0 w 2058"/>
                  <a:gd name="T71" fmla="*/ 0 h 2420"/>
                  <a:gd name="T72" fmla="*/ 0 w 2058"/>
                  <a:gd name="T73" fmla="*/ 0 h 2420"/>
                  <a:gd name="T74" fmla="*/ 0 w 2058"/>
                  <a:gd name="T75" fmla="*/ 0 h 2420"/>
                  <a:gd name="T76" fmla="*/ 0 w 2058"/>
                  <a:gd name="T77" fmla="*/ 0 h 2420"/>
                  <a:gd name="T78" fmla="*/ 0 w 2058"/>
                  <a:gd name="T79" fmla="*/ 0 h 2420"/>
                  <a:gd name="T80" fmla="*/ 0 w 2058"/>
                  <a:gd name="T81" fmla="*/ 0 h 2420"/>
                  <a:gd name="T82" fmla="*/ 0 w 2058"/>
                  <a:gd name="T83" fmla="*/ 0 h 2420"/>
                  <a:gd name="T84" fmla="*/ 0 w 2058"/>
                  <a:gd name="T85" fmla="*/ 0 h 2420"/>
                  <a:gd name="T86" fmla="*/ 0 w 2058"/>
                  <a:gd name="T87" fmla="*/ 0 h 2420"/>
                  <a:gd name="T88" fmla="*/ 0 w 2058"/>
                  <a:gd name="T89" fmla="*/ 0 h 2420"/>
                  <a:gd name="T90" fmla="*/ 0 w 2058"/>
                  <a:gd name="T91" fmla="*/ 0 h 2420"/>
                  <a:gd name="T92" fmla="*/ 0 w 2058"/>
                  <a:gd name="T93" fmla="*/ 0 h 2420"/>
                  <a:gd name="T94" fmla="*/ 0 w 2058"/>
                  <a:gd name="T95" fmla="*/ 0 h 2420"/>
                  <a:gd name="T96" fmla="*/ 0 w 2058"/>
                  <a:gd name="T97" fmla="*/ 0 h 2420"/>
                  <a:gd name="T98" fmla="*/ 0 w 2058"/>
                  <a:gd name="T99" fmla="*/ 0 h 2420"/>
                  <a:gd name="T100" fmla="*/ 0 w 2058"/>
                  <a:gd name="T101" fmla="*/ 0 h 2420"/>
                  <a:gd name="T102" fmla="*/ 0 w 2058"/>
                  <a:gd name="T103" fmla="*/ 0 h 2420"/>
                  <a:gd name="T104" fmla="*/ 0 w 2058"/>
                  <a:gd name="T105" fmla="*/ 0 h 2420"/>
                  <a:gd name="T106" fmla="*/ 0 w 2058"/>
                  <a:gd name="T107" fmla="*/ 0 h 2420"/>
                  <a:gd name="T108" fmla="*/ 0 w 2058"/>
                  <a:gd name="T109" fmla="*/ 0 h 2420"/>
                  <a:gd name="T110" fmla="*/ 0 w 2058"/>
                  <a:gd name="T111" fmla="*/ 0 h 2420"/>
                  <a:gd name="T112" fmla="*/ 0 w 2058"/>
                  <a:gd name="T113" fmla="*/ 0 h 2420"/>
                  <a:gd name="T114" fmla="*/ 0 w 2058"/>
                  <a:gd name="T115" fmla="*/ 0 h 2420"/>
                  <a:gd name="T116" fmla="*/ 0 w 2058"/>
                  <a:gd name="T117" fmla="*/ 0 h 2420"/>
                  <a:gd name="T118" fmla="*/ 0 w 2058"/>
                  <a:gd name="T119" fmla="*/ 0 h 2420"/>
                  <a:gd name="T120" fmla="*/ 0 w 2058"/>
                  <a:gd name="T121" fmla="*/ 0 h 2420"/>
                  <a:gd name="T122" fmla="*/ 0 w 2058"/>
                  <a:gd name="T123" fmla="*/ 0 h 2420"/>
                  <a:gd name="T124" fmla="*/ 0 w 2058"/>
                  <a:gd name="T125" fmla="*/ 0 h 24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058" h="2420">
                    <a:moveTo>
                      <a:pt x="1262" y="1844"/>
                    </a:moveTo>
                    <a:lnTo>
                      <a:pt x="1260" y="1853"/>
                    </a:lnTo>
                    <a:lnTo>
                      <a:pt x="1260" y="1863"/>
                    </a:lnTo>
                    <a:lnTo>
                      <a:pt x="1253" y="1866"/>
                    </a:lnTo>
                    <a:lnTo>
                      <a:pt x="1251" y="1875"/>
                    </a:lnTo>
                    <a:lnTo>
                      <a:pt x="1265" y="1911"/>
                    </a:lnTo>
                    <a:lnTo>
                      <a:pt x="1263" y="1922"/>
                    </a:lnTo>
                    <a:lnTo>
                      <a:pt x="1263" y="1932"/>
                    </a:lnTo>
                    <a:lnTo>
                      <a:pt x="1253" y="1940"/>
                    </a:lnTo>
                    <a:lnTo>
                      <a:pt x="1242" y="1935"/>
                    </a:lnTo>
                    <a:lnTo>
                      <a:pt x="1235" y="1937"/>
                    </a:lnTo>
                    <a:lnTo>
                      <a:pt x="1232" y="1941"/>
                    </a:lnTo>
                    <a:lnTo>
                      <a:pt x="1221" y="1925"/>
                    </a:lnTo>
                    <a:lnTo>
                      <a:pt x="1194" y="1908"/>
                    </a:lnTo>
                    <a:lnTo>
                      <a:pt x="1191" y="1904"/>
                    </a:lnTo>
                    <a:lnTo>
                      <a:pt x="1211" y="1886"/>
                    </a:lnTo>
                    <a:lnTo>
                      <a:pt x="1206" y="1865"/>
                    </a:lnTo>
                    <a:lnTo>
                      <a:pt x="1194" y="1859"/>
                    </a:lnTo>
                    <a:lnTo>
                      <a:pt x="1179" y="1841"/>
                    </a:lnTo>
                    <a:lnTo>
                      <a:pt x="1172" y="1866"/>
                    </a:lnTo>
                    <a:lnTo>
                      <a:pt x="1163" y="1868"/>
                    </a:lnTo>
                    <a:lnTo>
                      <a:pt x="1151" y="1878"/>
                    </a:lnTo>
                    <a:lnTo>
                      <a:pt x="1151" y="1884"/>
                    </a:lnTo>
                    <a:lnTo>
                      <a:pt x="1140" y="1886"/>
                    </a:lnTo>
                    <a:lnTo>
                      <a:pt x="1137" y="1881"/>
                    </a:lnTo>
                    <a:lnTo>
                      <a:pt x="1130" y="1886"/>
                    </a:lnTo>
                    <a:lnTo>
                      <a:pt x="1130" y="1899"/>
                    </a:lnTo>
                    <a:lnTo>
                      <a:pt x="1125" y="1905"/>
                    </a:lnTo>
                    <a:lnTo>
                      <a:pt x="1119" y="1898"/>
                    </a:lnTo>
                    <a:lnTo>
                      <a:pt x="1109" y="1886"/>
                    </a:lnTo>
                    <a:lnTo>
                      <a:pt x="1101" y="1893"/>
                    </a:lnTo>
                    <a:lnTo>
                      <a:pt x="1089" y="1889"/>
                    </a:lnTo>
                    <a:lnTo>
                      <a:pt x="1085" y="1898"/>
                    </a:lnTo>
                    <a:lnTo>
                      <a:pt x="1082" y="1899"/>
                    </a:lnTo>
                    <a:lnTo>
                      <a:pt x="1079" y="1905"/>
                    </a:lnTo>
                    <a:lnTo>
                      <a:pt x="1065" y="1889"/>
                    </a:lnTo>
                    <a:lnTo>
                      <a:pt x="1062" y="1902"/>
                    </a:lnTo>
                    <a:lnTo>
                      <a:pt x="1055" y="1907"/>
                    </a:lnTo>
                    <a:lnTo>
                      <a:pt x="1049" y="1919"/>
                    </a:lnTo>
                    <a:lnTo>
                      <a:pt x="1041" y="1920"/>
                    </a:lnTo>
                    <a:lnTo>
                      <a:pt x="1034" y="1928"/>
                    </a:lnTo>
                    <a:lnTo>
                      <a:pt x="1029" y="1920"/>
                    </a:lnTo>
                    <a:lnTo>
                      <a:pt x="1025" y="1934"/>
                    </a:lnTo>
                    <a:lnTo>
                      <a:pt x="1020" y="1940"/>
                    </a:lnTo>
                    <a:lnTo>
                      <a:pt x="1017" y="1943"/>
                    </a:lnTo>
                    <a:lnTo>
                      <a:pt x="1028" y="1949"/>
                    </a:lnTo>
                    <a:lnTo>
                      <a:pt x="1034" y="1947"/>
                    </a:lnTo>
                    <a:lnTo>
                      <a:pt x="1046" y="1952"/>
                    </a:lnTo>
                    <a:lnTo>
                      <a:pt x="1056" y="1959"/>
                    </a:lnTo>
                    <a:lnTo>
                      <a:pt x="1059" y="1974"/>
                    </a:lnTo>
                    <a:lnTo>
                      <a:pt x="1058" y="1980"/>
                    </a:lnTo>
                    <a:lnTo>
                      <a:pt x="1053" y="1970"/>
                    </a:lnTo>
                    <a:lnTo>
                      <a:pt x="1050" y="1971"/>
                    </a:lnTo>
                    <a:lnTo>
                      <a:pt x="1052" y="1979"/>
                    </a:lnTo>
                    <a:lnTo>
                      <a:pt x="1041" y="1982"/>
                    </a:lnTo>
                    <a:lnTo>
                      <a:pt x="1043" y="1989"/>
                    </a:lnTo>
                    <a:lnTo>
                      <a:pt x="1053" y="2006"/>
                    </a:lnTo>
                    <a:lnTo>
                      <a:pt x="1058" y="2013"/>
                    </a:lnTo>
                    <a:lnTo>
                      <a:pt x="1052" y="2016"/>
                    </a:lnTo>
                    <a:lnTo>
                      <a:pt x="1052" y="2031"/>
                    </a:lnTo>
                    <a:lnTo>
                      <a:pt x="1052" y="2043"/>
                    </a:lnTo>
                    <a:lnTo>
                      <a:pt x="1038" y="2042"/>
                    </a:lnTo>
                    <a:lnTo>
                      <a:pt x="1029" y="2040"/>
                    </a:lnTo>
                    <a:lnTo>
                      <a:pt x="1032" y="2049"/>
                    </a:lnTo>
                    <a:lnTo>
                      <a:pt x="1031" y="2066"/>
                    </a:lnTo>
                    <a:lnTo>
                      <a:pt x="1037" y="2072"/>
                    </a:lnTo>
                    <a:lnTo>
                      <a:pt x="1041" y="2100"/>
                    </a:lnTo>
                    <a:lnTo>
                      <a:pt x="1035" y="2102"/>
                    </a:lnTo>
                    <a:lnTo>
                      <a:pt x="1034" y="2106"/>
                    </a:lnTo>
                    <a:lnTo>
                      <a:pt x="1049" y="2111"/>
                    </a:lnTo>
                    <a:lnTo>
                      <a:pt x="1050" y="2127"/>
                    </a:lnTo>
                    <a:lnTo>
                      <a:pt x="1041" y="2139"/>
                    </a:lnTo>
                    <a:lnTo>
                      <a:pt x="1031" y="2148"/>
                    </a:lnTo>
                    <a:lnTo>
                      <a:pt x="1026" y="2153"/>
                    </a:lnTo>
                    <a:lnTo>
                      <a:pt x="1010" y="2160"/>
                    </a:lnTo>
                    <a:lnTo>
                      <a:pt x="1016" y="2172"/>
                    </a:lnTo>
                    <a:lnTo>
                      <a:pt x="1013" y="2183"/>
                    </a:lnTo>
                    <a:lnTo>
                      <a:pt x="1004" y="2187"/>
                    </a:lnTo>
                    <a:lnTo>
                      <a:pt x="1002" y="2201"/>
                    </a:lnTo>
                    <a:lnTo>
                      <a:pt x="1017" y="2199"/>
                    </a:lnTo>
                    <a:lnTo>
                      <a:pt x="1013" y="2211"/>
                    </a:lnTo>
                    <a:lnTo>
                      <a:pt x="1011" y="2220"/>
                    </a:lnTo>
                    <a:lnTo>
                      <a:pt x="998" y="2225"/>
                    </a:lnTo>
                    <a:lnTo>
                      <a:pt x="998" y="2228"/>
                    </a:lnTo>
                    <a:lnTo>
                      <a:pt x="998" y="2243"/>
                    </a:lnTo>
                    <a:lnTo>
                      <a:pt x="984" y="2235"/>
                    </a:lnTo>
                    <a:lnTo>
                      <a:pt x="981" y="2243"/>
                    </a:lnTo>
                    <a:lnTo>
                      <a:pt x="984" y="2261"/>
                    </a:lnTo>
                    <a:lnTo>
                      <a:pt x="992" y="2267"/>
                    </a:lnTo>
                    <a:lnTo>
                      <a:pt x="1004" y="2265"/>
                    </a:lnTo>
                    <a:lnTo>
                      <a:pt x="1008" y="2270"/>
                    </a:lnTo>
                    <a:lnTo>
                      <a:pt x="1004" y="2289"/>
                    </a:lnTo>
                    <a:lnTo>
                      <a:pt x="1010" y="2289"/>
                    </a:lnTo>
                    <a:lnTo>
                      <a:pt x="1013" y="2306"/>
                    </a:lnTo>
                    <a:lnTo>
                      <a:pt x="1007" y="2307"/>
                    </a:lnTo>
                    <a:lnTo>
                      <a:pt x="1007" y="2300"/>
                    </a:lnTo>
                    <a:lnTo>
                      <a:pt x="998" y="2304"/>
                    </a:lnTo>
                    <a:lnTo>
                      <a:pt x="984" y="2306"/>
                    </a:lnTo>
                    <a:lnTo>
                      <a:pt x="978" y="2319"/>
                    </a:lnTo>
                    <a:lnTo>
                      <a:pt x="968" y="2331"/>
                    </a:lnTo>
                    <a:lnTo>
                      <a:pt x="954" y="2339"/>
                    </a:lnTo>
                    <a:lnTo>
                      <a:pt x="938" y="2340"/>
                    </a:lnTo>
                    <a:lnTo>
                      <a:pt x="932" y="2334"/>
                    </a:lnTo>
                    <a:lnTo>
                      <a:pt x="927" y="2330"/>
                    </a:lnTo>
                    <a:lnTo>
                      <a:pt x="918" y="2331"/>
                    </a:lnTo>
                    <a:lnTo>
                      <a:pt x="909" y="2325"/>
                    </a:lnTo>
                    <a:lnTo>
                      <a:pt x="894" y="2327"/>
                    </a:lnTo>
                    <a:lnTo>
                      <a:pt x="881" y="2327"/>
                    </a:lnTo>
                    <a:lnTo>
                      <a:pt x="866" y="2334"/>
                    </a:lnTo>
                    <a:lnTo>
                      <a:pt x="860" y="2342"/>
                    </a:lnTo>
                    <a:lnTo>
                      <a:pt x="849" y="2345"/>
                    </a:lnTo>
                    <a:lnTo>
                      <a:pt x="837" y="2333"/>
                    </a:lnTo>
                    <a:lnTo>
                      <a:pt x="849" y="2327"/>
                    </a:lnTo>
                    <a:lnTo>
                      <a:pt x="867" y="2310"/>
                    </a:lnTo>
                    <a:lnTo>
                      <a:pt x="855" y="2292"/>
                    </a:lnTo>
                    <a:lnTo>
                      <a:pt x="842" y="2301"/>
                    </a:lnTo>
                    <a:lnTo>
                      <a:pt x="837" y="2300"/>
                    </a:lnTo>
                    <a:lnTo>
                      <a:pt x="822" y="2315"/>
                    </a:lnTo>
                    <a:lnTo>
                      <a:pt x="810" y="2310"/>
                    </a:lnTo>
                    <a:lnTo>
                      <a:pt x="803" y="2315"/>
                    </a:lnTo>
                    <a:lnTo>
                      <a:pt x="813" y="2319"/>
                    </a:lnTo>
                    <a:lnTo>
                      <a:pt x="806" y="2324"/>
                    </a:lnTo>
                    <a:lnTo>
                      <a:pt x="794" y="2333"/>
                    </a:lnTo>
                    <a:lnTo>
                      <a:pt x="773" y="2351"/>
                    </a:lnTo>
                    <a:lnTo>
                      <a:pt x="764" y="2352"/>
                    </a:lnTo>
                    <a:lnTo>
                      <a:pt x="762" y="2337"/>
                    </a:lnTo>
                    <a:lnTo>
                      <a:pt x="756" y="2339"/>
                    </a:lnTo>
                    <a:lnTo>
                      <a:pt x="735" y="2346"/>
                    </a:lnTo>
                    <a:lnTo>
                      <a:pt x="732" y="2360"/>
                    </a:lnTo>
                    <a:lnTo>
                      <a:pt x="723" y="2363"/>
                    </a:lnTo>
                    <a:lnTo>
                      <a:pt x="719" y="2357"/>
                    </a:lnTo>
                    <a:lnTo>
                      <a:pt x="713" y="2349"/>
                    </a:lnTo>
                    <a:lnTo>
                      <a:pt x="705" y="2343"/>
                    </a:lnTo>
                    <a:lnTo>
                      <a:pt x="699" y="2342"/>
                    </a:lnTo>
                    <a:lnTo>
                      <a:pt x="686" y="2339"/>
                    </a:lnTo>
                    <a:lnTo>
                      <a:pt x="690" y="2331"/>
                    </a:lnTo>
                    <a:lnTo>
                      <a:pt x="698" y="2322"/>
                    </a:lnTo>
                    <a:lnTo>
                      <a:pt x="693" y="2316"/>
                    </a:lnTo>
                    <a:lnTo>
                      <a:pt x="678" y="2327"/>
                    </a:lnTo>
                    <a:lnTo>
                      <a:pt x="660" y="2337"/>
                    </a:lnTo>
                    <a:lnTo>
                      <a:pt x="645" y="2331"/>
                    </a:lnTo>
                    <a:lnTo>
                      <a:pt x="644" y="2351"/>
                    </a:lnTo>
                    <a:lnTo>
                      <a:pt x="632" y="2349"/>
                    </a:lnTo>
                    <a:lnTo>
                      <a:pt x="624" y="2339"/>
                    </a:lnTo>
                    <a:lnTo>
                      <a:pt x="620" y="2334"/>
                    </a:lnTo>
                    <a:lnTo>
                      <a:pt x="597" y="2313"/>
                    </a:lnTo>
                    <a:lnTo>
                      <a:pt x="585" y="2315"/>
                    </a:lnTo>
                    <a:lnTo>
                      <a:pt x="585" y="2328"/>
                    </a:lnTo>
                    <a:lnTo>
                      <a:pt x="567" y="2337"/>
                    </a:lnTo>
                    <a:lnTo>
                      <a:pt x="549" y="2333"/>
                    </a:lnTo>
                    <a:lnTo>
                      <a:pt x="539" y="2336"/>
                    </a:lnTo>
                    <a:lnTo>
                      <a:pt x="537" y="2351"/>
                    </a:lnTo>
                    <a:lnTo>
                      <a:pt x="534" y="2355"/>
                    </a:lnTo>
                    <a:lnTo>
                      <a:pt x="521" y="2354"/>
                    </a:lnTo>
                    <a:lnTo>
                      <a:pt x="495" y="2345"/>
                    </a:lnTo>
                    <a:lnTo>
                      <a:pt x="483" y="2345"/>
                    </a:lnTo>
                    <a:lnTo>
                      <a:pt x="473" y="2349"/>
                    </a:lnTo>
                    <a:lnTo>
                      <a:pt x="473" y="2363"/>
                    </a:lnTo>
                    <a:lnTo>
                      <a:pt x="467" y="2360"/>
                    </a:lnTo>
                    <a:lnTo>
                      <a:pt x="459" y="2360"/>
                    </a:lnTo>
                    <a:lnTo>
                      <a:pt x="450" y="2369"/>
                    </a:lnTo>
                    <a:lnTo>
                      <a:pt x="437" y="2363"/>
                    </a:lnTo>
                    <a:lnTo>
                      <a:pt x="423" y="2354"/>
                    </a:lnTo>
                    <a:lnTo>
                      <a:pt x="417" y="2360"/>
                    </a:lnTo>
                    <a:lnTo>
                      <a:pt x="422" y="2372"/>
                    </a:lnTo>
                    <a:lnTo>
                      <a:pt x="416" y="2399"/>
                    </a:lnTo>
                    <a:lnTo>
                      <a:pt x="414" y="2402"/>
                    </a:lnTo>
                    <a:lnTo>
                      <a:pt x="392" y="2400"/>
                    </a:lnTo>
                    <a:lnTo>
                      <a:pt x="386" y="2396"/>
                    </a:lnTo>
                    <a:lnTo>
                      <a:pt x="380" y="2391"/>
                    </a:lnTo>
                    <a:lnTo>
                      <a:pt x="366" y="2391"/>
                    </a:lnTo>
                    <a:lnTo>
                      <a:pt x="356" y="2394"/>
                    </a:lnTo>
                    <a:lnTo>
                      <a:pt x="354" y="2384"/>
                    </a:lnTo>
                    <a:lnTo>
                      <a:pt x="350" y="2379"/>
                    </a:lnTo>
                    <a:lnTo>
                      <a:pt x="341" y="2391"/>
                    </a:lnTo>
                    <a:lnTo>
                      <a:pt x="330" y="2387"/>
                    </a:lnTo>
                    <a:lnTo>
                      <a:pt x="327" y="2384"/>
                    </a:lnTo>
                    <a:lnTo>
                      <a:pt x="324" y="2390"/>
                    </a:lnTo>
                    <a:lnTo>
                      <a:pt x="329" y="2399"/>
                    </a:lnTo>
                    <a:lnTo>
                      <a:pt x="309" y="2405"/>
                    </a:lnTo>
                    <a:lnTo>
                      <a:pt x="300" y="2420"/>
                    </a:lnTo>
                    <a:lnTo>
                      <a:pt x="291" y="2409"/>
                    </a:lnTo>
                    <a:lnTo>
                      <a:pt x="284" y="2418"/>
                    </a:lnTo>
                    <a:lnTo>
                      <a:pt x="278" y="2415"/>
                    </a:lnTo>
                    <a:lnTo>
                      <a:pt x="282" y="2406"/>
                    </a:lnTo>
                    <a:lnTo>
                      <a:pt x="281" y="2402"/>
                    </a:lnTo>
                    <a:lnTo>
                      <a:pt x="284" y="2396"/>
                    </a:lnTo>
                    <a:lnTo>
                      <a:pt x="297" y="2394"/>
                    </a:lnTo>
                    <a:lnTo>
                      <a:pt x="309" y="2391"/>
                    </a:lnTo>
                    <a:lnTo>
                      <a:pt x="312" y="2381"/>
                    </a:lnTo>
                    <a:lnTo>
                      <a:pt x="300" y="2372"/>
                    </a:lnTo>
                    <a:lnTo>
                      <a:pt x="288" y="2360"/>
                    </a:lnTo>
                    <a:lnTo>
                      <a:pt x="281" y="2351"/>
                    </a:lnTo>
                    <a:lnTo>
                      <a:pt x="272" y="2349"/>
                    </a:lnTo>
                    <a:lnTo>
                      <a:pt x="263" y="2349"/>
                    </a:lnTo>
                    <a:lnTo>
                      <a:pt x="251" y="2355"/>
                    </a:lnTo>
                    <a:lnTo>
                      <a:pt x="240" y="2369"/>
                    </a:lnTo>
                    <a:lnTo>
                      <a:pt x="203" y="2387"/>
                    </a:lnTo>
                    <a:lnTo>
                      <a:pt x="182" y="2403"/>
                    </a:lnTo>
                    <a:lnTo>
                      <a:pt x="159" y="2399"/>
                    </a:lnTo>
                    <a:lnTo>
                      <a:pt x="147" y="2399"/>
                    </a:lnTo>
                    <a:lnTo>
                      <a:pt x="122" y="2411"/>
                    </a:lnTo>
                    <a:lnTo>
                      <a:pt x="111" y="2412"/>
                    </a:lnTo>
                    <a:lnTo>
                      <a:pt x="102" y="2409"/>
                    </a:lnTo>
                    <a:lnTo>
                      <a:pt x="81" y="2408"/>
                    </a:lnTo>
                    <a:lnTo>
                      <a:pt x="78" y="2400"/>
                    </a:lnTo>
                    <a:lnTo>
                      <a:pt x="75" y="2394"/>
                    </a:lnTo>
                    <a:lnTo>
                      <a:pt x="75" y="2388"/>
                    </a:lnTo>
                    <a:lnTo>
                      <a:pt x="48" y="2384"/>
                    </a:lnTo>
                    <a:lnTo>
                      <a:pt x="50" y="2366"/>
                    </a:lnTo>
                    <a:lnTo>
                      <a:pt x="38" y="2363"/>
                    </a:lnTo>
                    <a:lnTo>
                      <a:pt x="35" y="2357"/>
                    </a:lnTo>
                    <a:lnTo>
                      <a:pt x="30" y="2358"/>
                    </a:lnTo>
                    <a:lnTo>
                      <a:pt x="23" y="2367"/>
                    </a:lnTo>
                    <a:lnTo>
                      <a:pt x="17" y="2370"/>
                    </a:lnTo>
                    <a:lnTo>
                      <a:pt x="0" y="2367"/>
                    </a:lnTo>
                    <a:lnTo>
                      <a:pt x="0" y="2355"/>
                    </a:lnTo>
                    <a:lnTo>
                      <a:pt x="20" y="2319"/>
                    </a:lnTo>
                    <a:lnTo>
                      <a:pt x="27" y="2301"/>
                    </a:lnTo>
                    <a:lnTo>
                      <a:pt x="41" y="2273"/>
                    </a:lnTo>
                    <a:lnTo>
                      <a:pt x="56" y="2217"/>
                    </a:lnTo>
                    <a:lnTo>
                      <a:pt x="62" y="2184"/>
                    </a:lnTo>
                    <a:lnTo>
                      <a:pt x="62" y="2172"/>
                    </a:lnTo>
                    <a:lnTo>
                      <a:pt x="69" y="2121"/>
                    </a:lnTo>
                    <a:lnTo>
                      <a:pt x="75" y="2072"/>
                    </a:lnTo>
                    <a:lnTo>
                      <a:pt x="80" y="2057"/>
                    </a:lnTo>
                    <a:lnTo>
                      <a:pt x="92" y="2013"/>
                    </a:lnTo>
                    <a:lnTo>
                      <a:pt x="95" y="1994"/>
                    </a:lnTo>
                    <a:lnTo>
                      <a:pt x="107" y="1976"/>
                    </a:lnTo>
                    <a:lnTo>
                      <a:pt x="107" y="1961"/>
                    </a:lnTo>
                    <a:lnTo>
                      <a:pt x="98" y="1982"/>
                    </a:lnTo>
                    <a:lnTo>
                      <a:pt x="110" y="1898"/>
                    </a:lnTo>
                    <a:lnTo>
                      <a:pt x="126" y="1824"/>
                    </a:lnTo>
                    <a:lnTo>
                      <a:pt x="146" y="1725"/>
                    </a:lnTo>
                    <a:lnTo>
                      <a:pt x="155" y="1677"/>
                    </a:lnTo>
                    <a:lnTo>
                      <a:pt x="162" y="1608"/>
                    </a:lnTo>
                    <a:lnTo>
                      <a:pt x="179" y="1517"/>
                    </a:lnTo>
                    <a:lnTo>
                      <a:pt x="185" y="1475"/>
                    </a:lnTo>
                    <a:lnTo>
                      <a:pt x="191" y="1434"/>
                    </a:lnTo>
                    <a:lnTo>
                      <a:pt x="204" y="1280"/>
                    </a:lnTo>
                    <a:lnTo>
                      <a:pt x="210" y="1187"/>
                    </a:lnTo>
                    <a:lnTo>
                      <a:pt x="221" y="1173"/>
                    </a:lnTo>
                    <a:lnTo>
                      <a:pt x="242" y="1137"/>
                    </a:lnTo>
                    <a:lnTo>
                      <a:pt x="251" y="1124"/>
                    </a:lnTo>
                    <a:lnTo>
                      <a:pt x="251" y="1086"/>
                    </a:lnTo>
                    <a:lnTo>
                      <a:pt x="258" y="1058"/>
                    </a:lnTo>
                    <a:lnTo>
                      <a:pt x="282" y="1055"/>
                    </a:lnTo>
                    <a:lnTo>
                      <a:pt x="302" y="1065"/>
                    </a:lnTo>
                    <a:lnTo>
                      <a:pt x="305" y="1073"/>
                    </a:lnTo>
                    <a:lnTo>
                      <a:pt x="318" y="1074"/>
                    </a:lnTo>
                    <a:lnTo>
                      <a:pt x="351" y="1077"/>
                    </a:lnTo>
                    <a:lnTo>
                      <a:pt x="360" y="1074"/>
                    </a:lnTo>
                    <a:lnTo>
                      <a:pt x="374" y="1071"/>
                    </a:lnTo>
                    <a:lnTo>
                      <a:pt x="375" y="1071"/>
                    </a:lnTo>
                    <a:lnTo>
                      <a:pt x="381" y="1061"/>
                    </a:lnTo>
                    <a:lnTo>
                      <a:pt x="384" y="1076"/>
                    </a:lnTo>
                    <a:lnTo>
                      <a:pt x="392" y="1076"/>
                    </a:lnTo>
                    <a:lnTo>
                      <a:pt x="393" y="1079"/>
                    </a:lnTo>
                    <a:lnTo>
                      <a:pt x="396" y="1076"/>
                    </a:lnTo>
                    <a:lnTo>
                      <a:pt x="410" y="1086"/>
                    </a:lnTo>
                    <a:lnTo>
                      <a:pt x="411" y="1076"/>
                    </a:lnTo>
                    <a:lnTo>
                      <a:pt x="401" y="1068"/>
                    </a:lnTo>
                    <a:lnTo>
                      <a:pt x="396" y="1052"/>
                    </a:lnTo>
                    <a:lnTo>
                      <a:pt x="386" y="1040"/>
                    </a:lnTo>
                    <a:lnTo>
                      <a:pt x="378" y="1038"/>
                    </a:lnTo>
                    <a:lnTo>
                      <a:pt x="378" y="1034"/>
                    </a:lnTo>
                    <a:lnTo>
                      <a:pt x="390" y="1028"/>
                    </a:lnTo>
                    <a:lnTo>
                      <a:pt x="381" y="1029"/>
                    </a:lnTo>
                    <a:lnTo>
                      <a:pt x="372" y="1035"/>
                    </a:lnTo>
                    <a:lnTo>
                      <a:pt x="363" y="1031"/>
                    </a:lnTo>
                    <a:lnTo>
                      <a:pt x="362" y="1025"/>
                    </a:lnTo>
                    <a:lnTo>
                      <a:pt x="357" y="1017"/>
                    </a:lnTo>
                    <a:lnTo>
                      <a:pt x="366" y="1020"/>
                    </a:lnTo>
                    <a:lnTo>
                      <a:pt x="384" y="1025"/>
                    </a:lnTo>
                    <a:lnTo>
                      <a:pt x="389" y="1020"/>
                    </a:lnTo>
                    <a:lnTo>
                      <a:pt x="375" y="1017"/>
                    </a:lnTo>
                    <a:lnTo>
                      <a:pt x="350" y="989"/>
                    </a:lnTo>
                    <a:lnTo>
                      <a:pt x="311" y="959"/>
                    </a:lnTo>
                    <a:lnTo>
                      <a:pt x="293" y="945"/>
                    </a:lnTo>
                    <a:lnTo>
                      <a:pt x="288" y="936"/>
                    </a:lnTo>
                    <a:lnTo>
                      <a:pt x="281" y="935"/>
                    </a:lnTo>
                    <a:lnTo>
                      <a:pt x="276" y="938"/>
                    </a:lnTo>
                    <a:lnTo>
                      <a:pt x="275" y="945"/>
                    </a:lnTo>
                    <a:lnTo>
                      <a:pt x="270" y="950"/>
                    </a:lnTo>
                    <a:lnTo>
                      <a:pt x="275" y="957"/>
                    </a:lnTo>
                    <a:lnTo>
                      <a:pt x="267" y="974"/>
                    </a:lnTo>
                    <a:lnTo>
                      <a:pt x="242" y="1002"/>
                    </a:lnTo>
                    <a:lnTo>
                      <a:pt x="225" y="1034"/>
                    </a:lnTo>
                    <a:lnTo>
                      <a:pt x="222" y="1065"/>
                    </a:lnTo>
                    <a:lnTo>
                      <a:pt x="219" y="1085"/>
                    </a:lnTo>
                    <a:lnTo>
                      <a:pt x="219" y="1092"/>
                    </a:lnTo>
                    <a:lnTo>
                      <a:pt x="225" y="1097"/>
                    </a:lnTo>
                    <a:lnTo>
                      <a:pt x="219" y="1110"/>
                    </a:lnTo>
                    <a:lnTo>
                      <a:pt x="212" y="1109"/>
                    </a:lnTo>
                    <a:lnTo>
                      <a:pt x="206" y="1092"/>
                    </a:lnTo>
                    <a:lnTo>
                      <a:pt x="209" y="1052"/>
                    </a:lnTo>
                    <a:lnTo>
                      <a:pt x="218" y="968"/>
                    </a:lnTo>
                    <a:lnTo>
                      <a:pt x="227" y="890"/>
                    </a:lnTo>
                    <a:lnTo>
                      <a:pt x="242" y="758"/>
                    </a:lnTo>
                    <a:lnTo>
                      <a:pt x="254" y="605"/>
                    </a:lnTo>
                    <a:lnTo>
                      <a:pt x="264" y="515"/>
                    </a:lnTo>
                    <a:lnTo>
                      <a:pt x="270" y="465"/>
                    </a:lnTo>
                    <a:lnTo>
                      <a:pt x="270" y="444"/>
                    </a:lnTo>
                    <a:lnTo>
                      <a:pt x="275" y="383"/>
                    </a:lnTo>
                    <a:lnTo>
                      <a:pt x="279" y="336"/>
                    </a:lnTo>
                    <a:lnTo>
                      <a:pt x="284" y="263"/>
                    </a:lnTo>
                    <a:lnTo>
                      <a:pt x="281" y="213"/>
                    </a:lnTo>
                    <a:lnTo>
                      <a:pt x="281" y="203"/>
                    </a:lnTo>
                    <a:lnTo>
                      <a:pt x="281" y="176"/>
                    </a:lnTo>
                    <a:lnTo>
                      <a:pt x="288" y="150"/>
                    </a:lnTo>
                    <a:lnTo>
                      <a:pt x="287" y="131"/>
                    </a:lnTo>
                    <a:lnTo>
                      <a:pt x="285" y="113"/>
                    </a:lnTo>
                    <a:lnTo>
                      <a:pt x="296" y="86"/>
                    </a:lnTo>
                    <a:lnTo>
                      <a:pt x="305" y="65"/>
                    </a:lnTo>
                    <a:lnTo>
                      <a:pt x="309" y="60"/>
                    </a:lnTo>
                    <a:lnTo>
                      <a:pt x="324" y="39"/>
                    </a:lnTo>
                    <a:lnTo>
                      <a:pt x="330" y="18"/>
                    </a:lnTo>
                    <a:lnTo>
                      <a:pt x="348" y="6"/>
                    </a:lnTo>
                    <a:lnTo>
                      <a:pt x="357" y="0"/>
                    </a:lnTo>
                    <a:lnTo>
                      <a:pt x="359" y="2"/>
                    </a:lnTo>
                    <a:lnTo>
                      <a:pt x="357" y="15"/>
                    </a:lnTo>
                    <a:lnTo>
                      <a:pt x="371" y="32"/>
                    </a:lnTo>
                    <a:lnTo>
                      <a:pt x="368" y="36"/>
                    </a:lnTo>
                    <a:lnTo>
                      <a:pt x="359" y="36"/>
                    </a:lnTo>
                    <a:lnTo>
                      <a:pt x="354" y="41"/>
                    </a:lnTo>
                    <a:lnTo>
                      <a:pt x="351" y="60"/>
                    </a:lnTo>
                    <a:lnTo>
                      <a:pt x="356" y="69"/>
                    </a:lnTo>
                    <a:lnTo>
                      <a:pt x="369" y="84"/>
                    </a:lnTo>
                    <a:lnTo>
                      <a:pt x="384" y="92"/>
                    </a:lnTo>
                    <a:lnTo>
                      <a:pt x="398" y="101"/>
                    </a:lnTo>
                    <a:lnTo>
                      <a:pt x="410" y="116"/>
                    </a:lnTo>
                    <a:lnTo>
                      <a:pt x="404" y="116"/>
                    </a:lnTo>
                    <a:lnTo>
                      <a:pt x="428" y="134"/>
                    </a:lnTo>
                    <a:lnTo>
                      <a:pt x="461" y="152"/>
                    </a:lnTo>
                    <a:lnTo>
                      <a:pt x="470" y="164"/>
                    </a:lnTo>
                    <a:lnTo>
                      <a:pt x="488" y="188"/>
                    </a:lnTo>
                    <a:lnTo>
                      <a:pt x="515" y="210"/>
                    </a:lnTo>
                    <a:lnTo>
                      <a:pt x="534" y="227"/>
                    </a:lnTo>
                    <a:lnTo>
                      <a:pt x="555" y="251"/>
                    </a:lnTo>
                    <a:lnTo>
                      <a:pt x="561" y="260"/>
                    </a:lnTo>
                    <a:lnTo>
                      <a:pt x="575" y="284"/>
                    </a:lnTo>
                    <a:lnTo>
                      <a:pt x="584" y="306"/>
                    </a:lnTo>
                    <a:lnTo>
                      <a:pt x="596" y="341"/>
                    </a:lnTo>
                    <a:lnTo>
                      <a:pt x="603" y="365"/>
                    </a:lnTo>
                    <a:lnTo>
                      <a:pt x="608" y="387"/>
                    </a:lnTo>
                    <a:lnTo>
                      <a:pt x="609" y="402"/>
                    </a:lnTo>
                    <a:lnTo>
                      <a:pt x="609" y="425"/>
                    </a:lnTo>
                    <a:lnTo>
                      <a:pt x="620" y="462"/>
                    </a:lnTo>
                    <a:lnTo>
                      <a:pt x="629" y="464"/>
                    </a:lnTo>
                    <a:lnTo>
                      <a:pt x="624" y="450"/>
                    </a:lnTo>
                    <a:lnTo>
                      <a:pt x="623" y="398"/>
                    </a:lnTo>
                    <a:lnTo>
                      <a:pt x="651" y="393"/>
                    </a:lnTo>
                    <a:lnTo>
                      <a:pt x="644" y="338"/>
                    </a:lnTo>
                    <a:lnTo>
                      <a:pt x="632" y="288"/>
                    </a:lnTo>
                    <a:lnTo>
                      <a:pt x="647" y="288"/>
                    </a:lnTo>
                    <a:lnTo>
                      <a:pt x="677" y="290"/>
                    </a:lnTo>
                    <a:lnTo>
                      <a:pt x="693" y="297"/>
                    </a:lnTo>
                    <a:lnTo>
                      <a:pt x="702" y="296"/>
                    </a:lnTo>
                    <a:lnTo>
                      <a:pt x="717" y="288"/>
                    </a:lnTo>
                    <a:lnTo>
                      <a:pt x="728" y="293"/>
                    </a:lnTo>
                    <a:lnTo>
                      <a:pt x="729" y="291"/>
                    </a:lnTo>
                    <a:lnTo>
                      <a:pt x="729" y="282"/>
                    </a:lnTo>
                    <a:lnTo>
                      <a:pt x="731" y="275"/>
                    </a:lnTo>
                    <a:lnTo>
                      <a:pt x="735" y="266"/>
                    </a:lnTo>
                    <a:lnTo>
                      <a:pt x="743" y="270"/>
                    </a:lnTo>
                    <a:lnTo>
                      <a:pt x="750" y="279"/>
                    </a:lnTo>
                    <a:lnTo>
                      <a:pt x="752" y="285"/>
                    </a:lnTo>
                    <a:lnTo>
                      <a:pt x="749" y="297"/>
                    </a:lnTo>
                    <a:lnTo>
                      <a:pt x="747" y="315"/>
                    </a:lnTo>
                    <a:lnTo>
                      <a:pt x="750" y="321"/>
                    </a:lnTo>
                    <a:lnTo>
                      <a:pt x="759" y="318"/>
                    </a:lnTo>
                    <a:lnTo>
                      <a:pt x="765" y="321"/>
                    </a:lnTo>
                    <a:lnTo>
                      <a:pt x="768" y="324"/>
                    </a:lnTo>
                    <a:lnTo>
                      <a:pt x="797" y="333"/>
                    </a:lnTo>
                    <a:lnTo>
                      <a:pt x="822" y="324"/>
                    </a:lnTo>
                    <a:lnTo>
                      <a:pt x="837" y="330"/>
                    </a:lnTo>
                    <a:lnTo>
                      <a:pt x="855" y="339"/>
                    </a:lnTo>
                    <a:lnTo>
                      <a:pt x="863" y="344"/>
                    </a:lnTo>
                    <a:lnTo>
                      <a:pt x="873" y="351"/>
                    </a:lnTo>
                    <a:lnTo>
                      <a:pt x="870" y="362"/>
                    </a:lnTo>
                    <a:lnTo>
                      <a:pt x="866" y="372"/>
                    </a:lnTo>
                    <a:lnTo>
                      <a:pt x="867" y="377"/>
                    </a:lnTo>
                    <a:lnTo>
                      <a:pt x="881" y="381"/>
                    </a:lnTo>
                    <a:lnTo>
                      <a:pt x="879" y="392"/>
                    </a:lnTo>
                    <a:lnTo>
                      <a:pt x="873" y="402"/>
                    </a:lnTo>
                    <a:lnTo>
                      <a:pt x="870" y="423"/>
                    </a:lnTo>
                    <a:lnTo>
                      <a:pt x="872" y="432"/>
                    </a:lnTo>
                    <a:lnTo>
                      <a:pt x="879" y="440"/>
                    </a:lnTo>
                    <a:lnTo>
                      <a:pt x="882" y="450"/>
                    </a:lnTo>
                    <a:lnTo>
                      <a:pt x="891" y="486"/>
                    </a:lnTo>
                    <a:lnTo>
                      <a:pt x="894" y="492"/>
                    </a:lnTo>
                    <a:lnTo>
                      <a:pt x="914" y="465"/>
                    </a:lnTo>
                    <a:lnTo>
                      <a:pt x="935" y="471"/>
                    </a:lnTo>
                    <a:lnTo>
                      <a:pt x="944" y="479"/>
                    </a:lnTo>
                    <a:lnTo>
                      <a:pt x="950" y="503"/>
                    </a:lnTo>
                    <a:lnTo>
                      <a:pt x="962" y="491"/>
                    </a:lnTo>
                    <a:lnTo>
                      <a:pt x="980" y="497"/>
                    </a:lnTo>
                    <a:lnTo>
                      <a:pt x="983" y="507"/>
                    </a:lnTo>
                    <a:lnTo>
                      <a:pt x="989" y="509"/>
                    </a:lnTo>
                    <a:lnTo>
                      <a:pt x="989" y="513"/>
                    </a:lnTo>
                    <a:lnTo>
                      <a:pt x="1005" y="539"/>
                    </a:lnTo>
                    <a:lnTo>
                      <a:pt x="1019" y="537"/>
                    </a:lnTo>
                    <a:lnTo>
                      <a:pt x="1023" y="536"/>
                    </a:lnTo>
                    <a:lnTo>
                      <a:pt x="1028" y="537"/>
                    </a:lnTo>
                    <a:lnTo>
                      <a:pt x="1031" y="542"/>
                    </a:lnTo>
                    <a:lnTo>
                      <a:pt x="1037" y="548"/>
                    </a:lnTo>
                    <a:lnTo>
                      <a:pt x="1044" y="551"/>
                    </a:lnTo>
                    <a:lnTo>
                      <a:pt x="1068" y="555"/>
                    </a:lnTo>
                    <a:lnTo>
                      <a:pt x="1076" y="555"/>
                    </a:lnTo>
                    <a:lnTo>
                      <a:pt x="1080" y="561"/>
                    </a:lnTo>
                    <a:lnTo>
                      <a:pt x="1088" y="561"/>
                    </a:lnTo>
                    <a:lnTo>
                      <a:pt x="1098" y="545"/>
                    </a:lnTo>
                    <a:lnTo>
                      <a:pt x="1113" y="530"/>
                    </a:lnTo>
                    <a:lnTo>
                      <a:pt x="1119" y="524"/>
                    </a:lnTo>
                    <a:lnTo>
                      <a:pt x="1131" y="522"/>
                    </a:lnTo>
                    <a:lnTo>
                      <a:pt x="1149" y="546"/>
                    </a:lnTo>
                    <a:lnTo>
                      <a:pt x="1158" y="546"/>
                    </a:lnTo>
                    <a:lnTo>
                      <a:pt x="1170" y="546"/>
                    </a:lnTo>
                    <a:lnTo>
                      <a:pt x="1176" y="540"/>
                    </a:lnTo>
                    <a:lnTo>
                      <a:pt x="1185" y="530"/>
                    </a:lnTo>
                    <a:lnTo>
                      <a:pt x="1200" y="525"/>
                    </a:lnTo>
                    <a:lnTo>
                      <a:pt x="1211" y="524"/>
                    </a:lnTo>
                    <a:lnTo>
                      <a:pt x="1230" y="525"/>
                    </a:lnTo>
                    <a:lnTo>
                      <a:pt x="1247" y="548"/>
                    </a:lnTo>
                    <a:lnTo>
                      <a:pt x="1253" y="554"/>
                    </a:lnTo>
                    <a:lnTo>
                      <a:pt x="1251" y="561"/>
                    </a:lnTo>
                    <a:lnTo>
                      <a:pt x="1260" y="576"/>
                    </a:lnTo>
                    <a:lnTo>
                      <a:pt x="1263" y="581"/>
                    </a:lnTo>
                    <a:lnTo>
                      <a:pt x="1260" y="587"/>
                    </a:lnTo>
                    <a:lnTo>
                      <a:pt x="1253" y="612"/>
                    </a:lnTo>
                    <a:lnTo>
                      <a:pt x="1239" y="626"/>
                    </a:lnTo>
                    <a:lnTo>
                      <a:pt x="1235" y="642"/>
                    </a:lnTo>
                    <a:lnTo>
                      <a:pt x="1233" y="662"/>
                    </a:lnTo>
                    <a:lnTo>
                      <a:pt x="1235" y="671"/>
                    </a:lnTo>
                    <a:lnTo>
                      <a:pt x="1236" y="675"/>
                    </a:lnTo>
                    <a:lnTo>
                      <a:pt x="1230" y="693"/>
                    </a:lnTo>
                    <a:lnTo>
                      <a:pt x="1224" y="689"/>
                    </a:lnTo>
                    <a:lnTo>
                      <a:pt x="1217" y="690"/>
                    </a:lnTo>
                    <a:lnTo>
                      <a:pt x="1214" y="713"/>
                    </a:lnTo>
                    <a:lnTo>
                      <a:pt x="1212" y="726"/>
                    </a:lnTo>
                    <a:lnTo>
                      <a:pt x="1214" y="740"/>
                    </a:lnTo>
                    <a:lnTo>
                      <a:pt x="1220" y="749"/>
                    </a:lnTo>
                    <a:lnTo>
                      <a:pt x="1230" y="758"/>
                    </a:lnTo>
                    <a:lnTo>
                      <a:pt x="1230" y="770"/>
                    </a:lnTo>
                    <a:lnTo>
                      <a:pt x="1223" y="783"/>
                    </a:lnTo>
                    <a:lnTo>
                      <a:pt x="1220" y="788"/>
                    </a:lnTo>
                    <a:lnTo>
                      <a:pt x="1205" y="807"/>
                    </a:lnTo>
                    <a:lnTo>
                      <a:pt x="1203" y="813"/>
                    </a:lnTo>
                    <a:lnTo>
                      <a:pt x="1200" y="822"/>
                    </a:lnTo>
                    <a:lnTo>
                      <a:pt x="1197" y="831"/>
                    </a:lnTo>
                    <a:lnTo>
                      <a:pt x="1187" y="833"/>
                    </a:lnTo>
                    <a:lnTo>
                      <a:pt x="1185" y="837"/>
                    </a:lnTo>
                    <a:lnTo>
                      <a:pt x="1197" y="840"/>
                    </a:lnTo>
                    <a:lnTo>
                      <a:pt x="1206" y="840"/>
                    </a:lnTo>
                    <a:lnTo>
                      <a:pt x="1221" y="839"/>
                    </a:lnTo>
                    <a:lnTo>
                      <a:pt x="1226" y="846"/>
                    </a:lnTo>
                    <a:lnTo>
                      <a:pt x="1233" y="854"/>
                    </a:lnTo>
                    <a:lnTo>
                      <a:pt x="1238" y="866"/>
                    </a:lnTo>
                    <a:lnTo>
                      <a:pt x="1242" y="866"/>
                    </a:lnTo>
                    <a:lnTo>
                      <a:pt x="1253" y="867"/>
                    </a:lnTo>
                    <a:lnTo>
                      <a:pt x="1262" y="872"/>
                    </a:lnTo>
                    <a:lnTo>
                      <a:pt x="1265" y="870"/>
                    </a:lnTo>
                    <a:lnTo>
                      <a:pt x="1269" y="861"/>
                    </a:lnTo>
                    <a:lnTo>
                      <a:pt x="1278" y="858"/>
                    </a:lnTo>
                    <a:lnTo>
                      <a:pt x="1289" y="860"/>
                    </a:lnTo>
                    <a:lnTo>
                      <a:pt x="1289" y="870"/>
                    </a:lnTo>
                    <a:lnTo>
                      <a:pt x="1293" y="873"/>
                    </a:lnTo>
                    <a:lnTo>
                      <a:pt x="1296" y="872"/>
                    </a:lnTo>
                    <a:lnTo>
                      <a:pt x="1301" y="866"/>
                    </a:lnTo>
                    <a:lnTo>
                      <a:pt x="1319" y="863"/>
                    </a:lnTo>
                    <a:lnTo>
                      <a:pt x="1326" y="864"/>
                    </a:lnTo>
                    <a:lnTo>
                      <a:pt x="1344" y="866"/>
                    </a:lnTo>
                    <a:lnTo>
                      <a:pt x="1352" y="869"/>
                    </a:lnTo>
                    <a:lnTo>
                      <a:pt x="1356" y="870"/>
                    </a:lnTo>
                    <a:lnTo>
                      <a:pt x="1361" y="867"/>
                    </a:lnTo>
                    <a:lnTo>
                      <a:pt x="1367" y="854"/>
                    </a:lnTo>
                    <a:lnTo>
                      <a:pt x="1371" y="851"/>
                    </a:lnTo>
                    <a:lnTo>
                      <a:pt x="1376" y="848"/>
                    </a:lnTo>
                    <a:lnTo>
                      <a:pt x="1379" y="845"/>
                    </a:lnTo>
                    <a:lnTo>
                      <a:pt x="1391" y="836"/>
                    </a:lnTo>
                    <a:lnTo>
                      <a:pt x="1397" y="828"/>
                    </a:lnTo>
                    <a:lnTo>
                      <a:pt x="1395" y="816"/>
                    </a:lnTo>
                    <a:lnTo>
                      <a:pt x="1398" y="812"/>
                    </a:lnTo>
                    <a:lnTo>
                      <a:pt x="1413" y="819"/>
                    </a:lnTo>
                    <a:lnTo>
                      <a:pt x="1430" y="822"/>
                    </a:lnTo>
                    <a:lnTo>
                      <a:pt x="1437" y="822"/>
                    </a:lnTo>
                    <a:lnTo>
                      <a:pt x="1445" y="833"/>
                    </a:lnTo>
                    <a:lnTo>
                      <a:pt x="1455" y="846"/>
                    </a:lnTo>
                    <a:lnTo>
                      <a:pt x="1446" y="860"/>
                    </a:lnTo>
                    <a:lnTo>
                      <a:pt x="1446" y="864"/>
                    </a:lnTo>
                    <a:lnTo>
                      <a:pt x="1445" y="866"/>
                    </a:lnTo>
                    <a:lnTo>
                      <a:pt x="1437" y="864"/>
                    </a:lnTo>
                    <a:lnTo>
                      <a:pt x="1431" y="870"/>
                    </a:lnTo>
                    <a:lnTo>
                      <a:pt x="1425" y="867"/>
                    </a:lnTo>
                    <a:lnTo>
                      <a:pt x="1418" y="869"/>
                    </a:lnTo>
                    <a:lnTo>
                      <a:pt x="1418" y="875"/>
                    </a:lnTo>
                    <a:lnTo>
                      <a:pt x="1419" y="882"/>
                    </a:lnTo>
                    <a:lnTo>
                      <a:pt x="1422" y="894"/>
                    </a:lnTo>
                    <a:lnTo>
                      <a:pt x="1424" y="897"/>
                    </a:lnTo>
                    <a:lnTo>
                      <a:pt x="1425" y="902"/>
                    </a:lnTo>
                    <a:lnTo>
                      <a:pt x="1421" y="911"/>
                    </a:lnTo>
                    <a:lnTo>
                      <a:pt x="1422" y="915"/>
                    </a:lnTo>
                    <a:lnTo>
                      <a:pt x="1434" y="930"/>
                    </a:lnTo>
                    <a:lnTo>
                      <a:pt x="1437" y="933"/>
                    </a:lnTo>
                    <a:lnTo>
                      <a:pt x="1436" y="939"/>
                    </a:lnTo>
                    <a:lnTo>
                      <a:pt x="1440" y="942"/>
                    </a:lnTo>
                    <a:lnTo>
                      <a:pt x="1460" y="951"/>
                    </a:lnTo>
                    <a:lnTo>
                      <a:pt x="1463" y="960"/>
                    </a:lnTo>
                    <a:lnTo>
                      <a:pt x="1473" y="968"/>
                    </a:lnTo>
                    <a:lnTo>
                      <a:pt x="1476" y="981"/>
                    </a:lnTo>
                    <a:lnTo>
                      <a:pt x="1481" y="983"/>
                    </a:lnTo>
                    <a:lnTo>
                      <a:pt x="1482" y="989"/>
                    </a:lnTo>
                    <a:lnTo>
                      <a:pt x="1482" y="1002"/>
                    </a:lnTo>
                    <a:lnTo>
                      <a:pt x="1476" y="1007"/>
                    </a:lnTo>
                    <a:lnTo>
                      <a:pt x="1476" y="1010"/>
                    </a:lnTo>
                    <a:lnTo>
                      <a:pt x="1482" y="1014"/>
                    </a:lnTo>
                    <a:lnTo>
                      <a:pt x="1491" y="1016"/>
                    </a:lnTo>
                    <a:lnTo>
                      <a:pt x="1491" y="1022"/>
                    </a:lnTo>
                    <a:lnTo>
                      <a:pt x="1484" y="1037"/>
                    </a:lnTo>
                    <a:lnTo>
                      <a:pt x="1482" y="1052"/>
                    </a:lnTo>
                    <a:lnTo>
                      <a:pt x="1485" y="1058"/>
                    </a:lnTo>
                    <a:lnTo>
                      <a:pt x="1485" y="1065"/>
                    </a:lnTo>
                    <a:lnTo>
                      <a:pt x="1497" y="1059"/>
                    </a:lnTo>
                    <a:lnTo>
                      <a:pt x="1505" y="1070"/>
                    </a:lnTo>
                    <a:lnTo>
                      <a:pt x="1511" y="1065"/>
                    </a:lnTo>
                    <a:lnTo>
                      <a:pt x="1526" y="1070"/>
                    </a:lnTo>
                    <a:lnTo>
                      <a:pt x="1535" y="1074"/>
                    </a:lnTo>
                    <a:lnTo>
                      <a:pt x="1538" y="1074"/>
                    </a:lnTo>
                    <a:lnTo>
                      <a:pt x="1548" y="1067"/>
                    </a:lnTo>
                    <a:lnTo>
                      <a:pt x="1559" y="1068"/>
                    </a:lnTo>
                    <a:lnTo>
                      <a:pt x="1566" y="1061"/>
                    </a:lnTo>
                    <a:lnTo>
                      <a:pt x="1574" y="1053"/>
                    </a:lnTo>
                    <a:lnTo>
                      <a:pt x="1581" y="1052"/>
                    </a:lnTo>
                    <a:lnTo>
                      <a:pt x="1586" y="1049"/>
                    </a:lnTo>
                    <a:lnTo>
                      <a:pt x="1598" y="1050"/>
                    </a:lnTo>
                    <a:lnTo>
                      <a:pt x="1608" y="1041"/>
                    </a:lnTo>
                    <a:lnTo>
                      <a:pt x="1617" y="1037"/>
                    </a:lnTo>
                    <a:lnTo>
                      <a:pt x="1623" y="1038"/>
                    </a:lnTo>
                    <a:lnTo>
                      <a:pt x="1628" y="1043"/>
                    </a:lnTo>
                    <a:lnTo>
                      <a:pt x="1634" y="1044"/>
                    </a:lnTo>
                    <a:lnTo>
                      <a:pt x="1635" y="1052"/>
                    </a:lnTo>
                    <a:lnTo>
                      <a:pt x="1644" y="1052"/>
                    </a:lnTo>
                    <a:lnTo>
                      <a:pt x="1647" y="1044"/>
                    </a:lnTo>
                    <a:lnTo>
                      <a:pt x="1658" y="1043"/>
                    </a:lnTo>
                    <a:lnTo>
                      <a:pt x="1661" y="1020"/>
                    </a:lnTo>
                    <a:lnTo>
                      <a:pt x="1667" y="1016"/>
                    </a:lnTo>
                    <a:lnTo>
                      <a:pt x="1680" y="1014"/>
                    </a:lnTo>
                    <a:lnTo>
                      <a:pt x="1688" y="1017"/>
                    </a:lnTo>
                    <a:lnTo>
                      <a:pt x="1695" y="1020"/>
                    </a:lnTo>
                    <a:lnTo>
                      <a:pt x="1701" y="1008"/>
                    </a:lnTo>
                    <a:lnTo>
                      <a:pt x="1712" y="1004"/>
                    </a:lnTo>
                    <a:lnTo>
                      <a:pt x="1721" y="1008"/>
                    </a:lnTo>
                    <a:lnTo>
                      <a:pt x="1727" y="1022"/>
                    </a:lnTo>
                    <a:lnTo>
                      <a:pt x="1727" y="1037"/>
                    </a:lnTo>
                    <a:lnTo>
                      <a:pt x="1746" y="1038"/>
                    </a:lnTo>
                    <a:lnTo>
                      <a:pt x="1754" y="1038"/>
                    </a:lnTo>
                    <a:lnTo>
                      <a:pt x="1779" y="1040"/>
                    </a:lnTo>
                    <a:lnTo>
                      <a:pt x="1782" y="1038"/>
                    </a:lnTo>
                    <a:lnTo>
                      <a:pt x="1796" y="1032"/>
                    </a:lnTo>
                    <a:lnTo>
                      <a:pt x="1806" y="1038"/>
                    </a:lnTo>
                    <a:lnTo>
                      <a:pt x="1809" y="1038"/>
                    </a:lnTo>
                    <a:lnTo>
                      <a:pt x="1809" y="1028"/>
                    </a:lnTo>
                    <a:lnTo>
                      <a:pt x="1814" y="1026"/>
                    </a:lnTo>
                    <a:lnTo>
                      <a:pt x="1820" y="1032"/>
                    </a:lnTo>
                    <a:lnTo>
                      <a:pt x="1824" y="1029"/>
                    </a:lnTo>
                    <a:lnTo>
                      <a:pt x="1826" y="1025"/>
                    </a:lnTo>
                    <a:lnTo>
                      <a:pt x="1833" y="1013"/>
                    </a:lnTo>
                    <a:lnTo>
                      <a:pt x="1848" y="1016"/>
                    </a:lnTo>
                    <a:lnTo>
                      <a:pt x="1853" y="1014"/>
                    </a:lnTo>
                    <a:lnTo>
                      <a:pt x="1862" y="1023"/>
                    </a:lnTo>
                    <a:lnTo>
                      <a:pt x="1865" y="1028"/>
                    </a:lnTo>
                    <a:lnTo>
                      <a:pt x="1862" y="1040"/>
                    </a:lnTo>
                    <a:lnTo>
                      <a:pt x="1863" y="1046"/>
                    </a:lnTo>
                    <a:lnTo>
                      <a:pt x="1875" y="1046"/>
                    </a:lnTo>
                    <a:lnTo>
                      <a:pt x="1880" y="1046"/>
                    </a:lnTo>
                    <a:lnTo>
                      <a:pt x="1880" y="1052"/>
                    </a:lnTo>
                    <a:lnTo>
                      <a:pt x="1874" y="1055"/>
                    </a:lnTo>
                    <a:lnTo>
                      <a:pt x="1875" y="1062"/>
                    </a:lnTo>
                    <a:lnTo>
                      <a:pt x="1868" y="1067"/>
                    </a:lnTo>
                    <a:lnTo>
                      <a:pt x="1866" y="1077"/>
                    </a:lnTo>
                    <a:lnTo>
                      <a:pt x="1869" y="1088"/>
                    </a:lnTo>
                    <a:lnTo>
                      <a:pt x="1857" y="1094"/>
                    </a:lnTo>
                    <a:lnTo>
                      <a:pt x="1854" y="1100"/>
                    </a:lnTo>
                    <a:lnTo>
                      <a:pt x="1859" y="1106"/>
                    </a:lnTo>
                    <a:lnTo>
                      <a:pt x="1871" y="1110"/>
                    </a:lnTo>
                    <a:lnTo>
                      <a:pt x="1872" y="1121"/>
                    </a:lnTo>
                    <a:lnTo>
                      <a:pt x="1866" y="1127"/>
                    </a:lnTo>
                    <a:lnTo>
                      <a:pt x="1866" y="1131"/>
                    </a:lnTo>
                    <a:lnTo>
                      <a:pt x="1878" y="1127"/>
                    </a:lnTo>
                    <a:lnTo>
                      <a:pt x="1884" y="1131"/>
                    </a:lnTo>
                    <a:lnTo>
                      <a:pt x="1887" y="1128"/>
                    </a:lnTo>
                    <a:lnTo>
                      <a:pt x="1895" y="1131"/>
                    </a:lnTo>
                    <a:lnTo>
                      <a:pt x="1899" y="1125"/>
                    </a:lnTo>
                    <a:lnTo>
                      <a:pt x="1898" y="1116"/>
                    </a:lnTo>
                    <a:lnTo>
                      <a:pt x="1905" y="1112"/>
                    </a:lnTo>
                    <a:lnTo>
                      <a:pt x="1916" y="1107"/>
                    </a:lnTo>
                    <a:lnTo>
                      <a:pt x="1925" y="1100"/>
                    </a:lnTo>
                    <a:lnTo>
                      <a:pt x="1932" y="1094"/>
                    </a:lnTo>
                    <a:lnTo>
                      <a:pt x="1952" y="1079"/>
                    </a:lnTo>
                    <a:lnTo>
                      <a:pt x="1967" y="1083"/>
                    </a:lnTo>
                    <a:lnTo>
                      <a:pt x="1980" y="1077"/>
                    </a:lnTo>
                    <a:lnTo>
                      <a:pt x="1991" y="1091"/>
                    </a:lnTo>
                    <a:lnTo>
                      <a:pt x="2010" y="1115"/>
                    </a:lnTo>
                    <a:lnTo>
                      <a:pt x="2030" y="1119"/>
                    </a:lnTo>
                    <a:lnTo>
                      <a:pt x="2058" y="1137"/>
                    </a:lnTo>
                    <a:lnTo>
                      <a:pt x="2058" y="1158"/>
                    </a:lnTo>
                    <a:lnTo>
                      <a:pt x="2057" y="1169"/>
                    </a:lnTo>
                    <a:lnTo>
                      <a:pt x="2043" y="1172"/>
                    </a:lnTo>
                    <a:lnTo>
                      <a:pt x="2031" y="1176"/>
                    </a:lnTo>
                    <a:lnTo>
                      <a:pt x="2022" y="1184"/>
                    </a:lnTo>
                    <a:lnTo>
                      <a:pt x="2021" y="1191"/>
                    </a:lnTo>
                    <a:lnTo>
                      <a:pt x="2009" y="1208"/>
                    </a:lnTo>
                    <a:lnTo>
                      <a:pt x="2007" y="1191"/>
                    </a:lnTo>
                    <a:lnTo>
                      <a:pt x="2000" y="1188"/>
                    </a:lnTo>
                    <a:lnTo>
                      <a:pt x="1983" y="1191"/>
                    </a:lnTo>
                    <a:lnTo>
                      <a:pt x="1992" y="1205"/>
                    </a:lnTo>
                    <a:lnTo>
                      <a:pt x="1994" y="1214"/>
                    </a:lnTo>
                    <a:lnTo>
                      <a:pt x="2001" y="1220"/>
                    </a:lnTo>
                    <a:lnTo>
                      <a:pt x="2007" y="1230"/>
                    </a:lnTo>
                    <a:lnTo>
                      <a:pt x="2015" y="1235"/>
                    </a:lnTo>
                    <a:lnTo>
                      <a:pt x="2015" y="1257"/>
                    </a:lnTo>
                    <a:lnTo>
                      <a:pt x="2007" y="1266"/>
                    </a:lnTo>
                    <a:lnTo>
                      <a:pt x="2018" y="1274"/>
                    </a:lnTo>
                    <a:lnTo>
                      <a:pt x="2019" y="1275"/>
                    </a:lnTo>
                    <a:lnTo>
                      <a:pt x="2021" y="1290"/>
                    </a:lnTo>
                    <a:lnTo>
                      <a:pt x="2024" y="1298"/>
                    </a:lnTo>
                    <a:lnTo>
                      <a:pt x="2012" y="1301"/>
                    </a:lnTo>
                    <a:lnTo>
                      <a:pt x="2007" y="1305"/>
                    </a:lnTo>
                    <a:lnTo>
                      <a:pt x="2015" y="1313"/>
                    </a:lnTo>
                    <a:lnTo>
                      <a:pt x="2012" y="1320"/>
                    </a:lnTo>
                    <a:lnTo>
                      <a:pt x="2015" y="1323"/>
                    </a:lnTo>
                    <a:lnTo>
                      <a:pt x="2022" y="1319"/>
                    </a:lnTo>
                    <a:lnTo>
                      <a:pt x="2028" y="1322"/>
                    </a:lnTo>
                    <a:lnTo>
                      <a:pt x="2028" y="1326"/>
                    </a:lnTo>
                    <a:lnTo>
                      <a:pt x="2033" y="1326"/>
                    </a:lnTo>
                    <a:lnTo>
                      <a:pt x="2037" y="1331"/>
                    </a:lnTo>
                    <a:lnTo>
                      <a:pt x="2037" y="1340"/>
                    </a:lnTo>
                    <a:lnTo>
                      <a:pt x="2039" y="1355"/>
                    </a:lnTo>
                    <a:lnTo>
                      <a:pt x="2031" y="1365"/>
                    </a:lnTo>
                    <a:lnTo>
                      <a:pt x="2031" y="1370"/>
                    </a:lnTo>
                    <a:lnTo>
                      <a:pt x="2039" y="1376"/>
                    </a:lnTo>
                    <a:lnTo>
                      <a:pt x="2045" y="1383"/>
                    </a:lnTo>
                    <a:lnTo>
                      <a:pt x="2045" y="1392"/>
                    </a:lnTo>
                    <a:lnTo>
                      <a:pt x="2037" y="1401"/>
                    </a:lnTo>
                    <a:lnTo>
                      <a:pt x="2015" y="1401"/>
                    </a:lnTo>
                    <a:lnTo>
                      <a:pt x="2003" y="1404"/>
                    </a:lnTo>
                    <a:lnTo>
                      <a:pt x="1992" y="1398"/>
                    </a:lnTo>
                    <a:lnTo>
                      <a:pt x="1980" y="1409"/>
                    </a:lnTo>
                    <a:lnTo>
                      <a:pt x="1977" y="1406"/>
                    </a:lnTo>
                    <a:lnTo>
                      <a:pt x="1958" y="1401"/>
                    </a:lnTo>
                    <a:lnTo>
                      <a:pt x="1953" y="1407"/>
                    </a:lnTo>
                    <a:lnTo>
                      <a:pt x="1953" y="1416"/>
                    </a:lnTo>
                    <a:lnTo>
                      <a:pt x="1947" y="1422"/>
                    </a:lnTo>
                    <a:lnTo>
                      <a:pt x="1946" y="1415"/>
                    </a:lnTo>
                    <a:lnTo>
                      <a:pt x="1944" y="1394"/>
                    </a:lnTo>
                    <a:lnTo>
                      <a:pt x="1934" y="1380"/>
                    </a:lnTo>
                    <a:lnTo>
                      <a:pt x="1929" y="1376"/>
                    </a:lnTo>
                    <a:lnTo>
                      <a:pt x="1919" y="1379"/>
                    </a:lnTo>
                    <a:lnTo>
                      <a:pt x="1913" y="1380"/>
                    </a:lnTo>
                    <a:lnTo>
                      <a:pt x="1907" y="1395"/>
                    </a:lnTo>
                    <a:lnTo>
                      <a:pt x="1904" y="1400"/>
                    </a:lnTo>
                    <a:lnTo>
                      <a:pt x="1911" y="1412"/>
                    </a:lnTo>
                    <a:lnTo>
                      <a:pt x="1913" y="1421"/>
                    </a:lnTo>
                    <a:lnTo>
                      <a:pt x="1902" y="1443"/>
                    </a:lnTo>
                    <a:lnTo>
                      <a:pt x="1895" y="1446"/>
                    </a:lnTo>
                    <a:lnTo>
                      <a:pt x="1893" y="1463"/>
                    </a:lnTo>
                    <a:lnTo>
                      <a:pt x="1904" y="1464"/>
                    </a:lnTo>
                    <a:lnTo>
                      <a:pt x="1908" y="1476"/>
                    </a:lnTo>
                    <a:lnTo>
                      <a:pt x="1917" y="1473"/>
                    </a:lnTo>
                    <a:lnTo>
                      <a:pt x="1928" y="1472"/>
                    </a:lnTo>
                    <a:lnTo>
                      <a:pt x="1934" y="1482"/>
                    </a:lnTo>
                    <a:lnTo>
                      <a:pt x="1938" y="1490"/>
                    </a:lnTo>
                    <a:lnTo>
                      <a:pt x="1944" y="1493"/>
                    </a:lnTo>
                    <a:lnTo>
                      <a:pt x="1958" y="1505"/>
                    </a:lnTo>
                    <a:lnTo>
                      <a:pt x="1950" y="1514"/>
                    </a:lnTo>
                    <a:lnTo>
                      <a:pt x="1938" y="1512"/>
                    </a:lnTo>
                    <a:lnTo>
                      <a:pt x="1941" y="1529"/>
                    </a:lnTo>
                    <a:lnTo>
                      <a:pt x="1931" y="1539"/>
                    </a:lnTo>
                    <a:lnTo>
                      <a:pt x="1932" y="1547"/>
                    </a:lnTo>
                    <a:lnTo>
                      <a:pt x="1938" y="1554"/>
                    </a:lnTo>
                    <a:lnTo>
                      <a:pt x="1926" y="1586"/>
                    </a:lnTo>
                    <a:lnTo>
                      <a:pt x="1922" y="1599"/>
                    </a:lnTo>
                    <a:lnTo>
                      <a:pt x="1886" y="1598"/>
                    </a:lnTo>
                    <a:lnTo>
                      <a:pt x="1877" y="1614"/>
                    </a:lnTo>
                    <a:lnTo>
                      <a:pt x="1889" y="1626"/>
                    </a:lnTo>
                    <a:lnTo>
                      <a:pt x="1902" y="1617"/>
                    </a:lnTo>
                    <a:lnTo>
                      <a:pt x="1907" y="1626"/>
                    </a:lnTo>
                    <a:lnTo>
                      <a:pt x="1905" y="1637"/>
                    </a:lnTo>
                    <a:lnTo>
                      <a:pt x="1910" y="1650"/>
                    </a:lnTo>
                    <a:lnTo>
                      <a:pt x="1910" y="1659"/>
                    </a:lnTo>
                    <a:lnTo>
                      <a:pt x="1901" y="1659"/>
                    </a:lnTo>
                    <a:lnTo>
                      <a:pt x="1898" y="1670"/>
                    </a:lnTo>
                    <a:lnTo>
                      <a:pt x="1890" y="1674"/>
                    </a:lnTo>
                    <a:lnTo>
                      <a:pt x="1880" y="1671"/>
                    </a:lnTo>
                    <a:lnTo>
                      <a:pt x="1856" y="1655"/>
                    </a:lnTo>
                    <a:lnTo>
                      <a:pt x="1832" y="1653"/>
                    </a:lnTo>
                    <a:lnTo>
                      <a:pt x="1835" y="1670"/>
                    </a:lnTo>
                    <a:lnTo>
                      <a:pt x="1836" y="1691"/>
                    </a:lnTo>
                    <a:lnTo>
                      <a:pt x="1815" y="1688"/>
                    </a:lnTo>
                    <a:lnTo>
                      <a:pt x="1803" y="1701"/>
                    </a:lnTo>
                    <a:lnTo>
                      <a:pt x="1797" y="1710"/>
                    </a:lnTo>
                    <a:lnTo>
                      <a:pt x="1790" y="1736"/>
                    </a:lnTo>
                    <a:lnTo>
                      <a:pt x="1788" y="1742"/>
                    </a:lnTo>
                    <a:lnTo>
                      <a:pt x="1793" y="1742"/>
                    </a:lnTo>
                    <a:lnTo>
                      <a:pt x="1784" y="1749"/>
                    </a:lnTo>
                    <a:lnTo>
                      <a:pt x="1761" y="1757"/>
                    </a:lnTo>
                    <a:lnTo>
                      <a:pt x="1755" y="1767"/>
                    </a:lnTo>
                    <a:lnTo>
                      <a:pt x="1743" y="1767"/>
                    </a:lnTo>
                    <a:lnTo>
                      <a:pt x="1742" y="1781"/>
                    </a:lnTo>
                    <a:lnTo>
                      <a:pt x="1745" y="1788"/>
                    </a:lnTo>
                    <a:lnTo>
                      <a:pt x="1727" y="1790"/>
                    </a:lnTo>
                    <a:lnTo>
                      <a:pt x="1721" y="1770"/>
                    </a:lnTo>
                    <a:lnTo>
                      <a:pt x="1706" y="1761"/>
                    </a:lnTo>
                    <a:lnTo>
                      <a:pt x="1701" y="1752"/>
                    </a:lnTo>
                    <a:lnTo>
                      <a:pt x="1688" y="1746"/>
                    </a:lnTo>
                    <a:lnTo>
                      <a:pt x="1680" y="1733"/>
                    </a:lnTo>
                    <a:lnTo>
                      <a:pt x="1677" y="1730"/>
                    </a:lnTo>
                    <a:lnTo>
                      <a:pt x="1662" y="1734"/>
                    </a:lnTo>
                    <a:lnTo>
                      <a:pt x="1661" y="1740"/>
                    </a:lnTo>
                    <a:lnTo>
                      <a:pt x="1643" y="1758"/>
                    </a:lnTo>
                    <a:lnTo>
                      <a:pt x="1635" y="1755"/>
                    </a:lnTo>
                    <a:lnTo>
                      <a:pt x="1631" y="1761"/>
                    </a:lnTo>
                    <a:lnTo>
                      <a:pt x="1628" y="1757"/>
                    </a:lnTo>
                    <a:lnTo>
                      <a:pt x="1617" y="1754"/>
                    </a:lnTo>
                    <a:lnTo>
                      <a:pt x="1610" y="1746"/>
                    </a:lnTo>
                    <a:lnTo>
                      <a:pt x="1607" y="1761"/>
                    </a:lnTo>
                    <a:lnTo>
                      <a:pt x="1599" y="1752"/>
                    </a:lnTo>
                    <a:lnTo>
                      <a:pt x="1592" y="1755"/>
                    </a:lnTo>
                    <a:lnTo>
                      <a:pt x="1587" y="1760"/>
                    </a:lnTo>
                    <a:lnTo>
                      <a:pt x="1569" y="1757"/>
                    </a:lnTo>
                    <a:lnTo>
                      <a:pt x="1560" y="1769"/>
                    </a:lnTo>
                    <a:lnTo>
                      <a:pt x="1554" y="1788"/>
                    </a:lnTo>
                    <a:lnTo>
                      <a:pt x="1545" y="1790"/>
                    </a:lnTo>
                    <a:lnTo>
                      <a:pt x="1535" y="1788"/>
                    </a:lnTo>
                    <a:lnTo>
                      <a:pt x="1530" y="1797"/>
                    </a:lnTo>
                    <a:lnTo>
                      <a:pt x="1518" y="1797"/>
                    </a:lnTo>
                    <a:lnTo>
                      <a:pt x="1508" y="1814"/>
                    </a:lnTo>
                    <a:lnTo>
                      <a:pt x="1499" y="1812"/>
                    </a:lnTo>
                    <a:lnTo>
                      <a:pt x="1493" y="1805"/>
                    </a:lnTo>
                    <a:lnTo>
                      <a:pt x="1470" y="1809"/>
                    </a:lnTo>
                    <a:lnTo>
                      <a:pt x="1463" y="1812"/>
                    </a:lnTo>
                    <a:lnTo>
                      <a:pt x="1454" y="1812"/>
                    </a:lnTo>
                    <a:lnTo>
                      <a:pt x="1455" y="1821"/>
                    </a:lnTo>
                    <a:lnTo>
                      <a:pt x="1443" y="1832"/>
                    </a:lnTo>
                    <a:lnTo>
                      <a:pt x="1419" y="1821"/>
                    </a:lnTo>
                    <a:lnTo>
                      <a:pt x="1407" y="1809"/>
                    </a:lnTo>
                    <a:lnTo>
                      <a:pt x="1403" y="1818"/>
                    </a:lnTo>
                    <a:lnTo>
                      <a:pt x="1389" y="1809"/>
                    </a:lnTo>
                    <a:lnTo>
                      <a:pt x="1389" y="1799"/>
                    </a:lnTo>
                    <a:lnTo>
                      <a:pt x="1385" y="1799"/>
                    </a:lnTo>
                    <a:lnTo>
                      <a:pt x="1374" y="1797"/>
                    </a:lnTo>
                    <a:lnTo>
                      <a:pt x="1370" y="1800"/>
                    </a:lnTo>
                    <a:lnTo>
                      <a:pt x="1365" y="1805"/>
                    </a:lnTo>
                    <a:lnTo>
                      <a:pt x="1359" y="1805"/>
                    </a:lnTo>
                    <a:lnTo>
                      <a:pt x="1352" y="1812"/>
                    </a:lnTo>
                    <a:lnTo>
                      <a:pt x="1347" y="1820"/>
                    </a:lnTo>
                    <a:lnTo>
                      <a:pt x="1337" y="1826"/>
                    </a:lnTo>
                    <a:lnTo>
                      <a:pt x="1335" y="1848"/>
                    </a:lnTo>
                    <a:lnTo>
                      <a:pt x="1329" y="1853"/>
                    </a:lnTo>
                    <a:lnTo>
                      <a:pt x="1313" y="1850"/>
                    </a:lnTo>
                    <a:lnTo>
                      <a:pt x="1319" y="1835"/>
                    </a:lnTo>
                    <a:lnTo>
                      <a:pt x="1316" y="1823"/>
                    </a:lnTo>
                    <a:lnTo>
                      <a:pt x="1310" y="1820"/>
                    </a:lnTo>
                    <a:lnTo>
                      <a:pt x="1292" y="1838"/>
                    </a:lnTo>
                    <a:lnTo>
                      <a:pt x="1275" y="1839"/>
                    </a:lnTo>
                    <a:lnTo>
                      <a:pt x="1262" y="1844"/>
                    </a:lnTo>
                    <a:close/>
                  </a:path>
                </a:pathLst>
              </a:custGeom>
              <a:solidFill>
                <a:sysClr val="window" lastClr="FFFFFF"/>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68" name="Freeform 288">
                <a:extLst>
                  <a:ext uri="{FF2B5EF4-FFF2-40B4-BE49-F238E27FC236}">
                    <a16:creationId xmlns:a16="http://schemas.microsoft.com/office/drawing/2014/main" id="{DF0D286D-430D-E44D-7229-A4E42FF01F6B}"/>
                  </a:ext>
                </a:extLst>
              </p:cNvPr>
              <p:cNvSpPr>
                <a:spLocks/>
              </p:cNvSpPr>
              <p:nvPr/>
            </p:nvSpPr>
            <p:spPr bwMode="auto">
              <a:xfrm>
                <a:off x="2624" y="1303"/>
                <a:ext cx="601" cy="614"/>
              </a:xfrm>
              <a:custGeom>
                <a:avLst/>
                <a:gdLst>
                  <a:gd name="T0" fmla="*/ 0 w 1804"/>
                  <a:gd name="T1" fmla="*/ 0 h 1841"/>
                  <a:gd name="T2" fmla="*/ 0 w 1804"/>
                  <a:gd name="T3" fmla="*/ 0 h 1841"/>
                  <a:gd name="T4" fmla="*/ 0 w 1804"/>
                  <a:gd name="T5" fmla="*/ 0 h 1841"/>
                  <a:gd name="T6" fmla="*/ 0 w 1804"/>
                  <a:gd name="T7" fmla="*/ 0 h 1841"/>
                  <a:gd name="T8" fmla="*/ 0 w 1804"/>
                  <a:gd name="T9" fmla="*/ 0 h 1841"/>
                  <a:gd name="T10" fmla="*/ 0 w 1804"/>
                  <a:gd name="T11" fmla="*/ 0 h 1841"/>
                  <a:gd name="T12" fmla="*/ 0 w 1804"/>
                  <a:gd name="T13" fmla="*/ 0 h 1841"/>
                  <a:gd name="T14" fmla="*/ 0 w 1804"/>
                  <a:gd name="T15" fmla="*/ 0 h 1841"/>
                  <a:gd name="T16" fmla="*/ 0 w 1804"/>
                  <a:gd name="T17" fmla="*/ 0 h 1841"/>
                  <a:gd name="T18" fmla="*/ 0 w 1804"/>
                  <a:gd name="T19" fmla="*/ 0 h 1841"/>
                  <a:gd name="T20" fmla="*/ 0 w 1804"/>
                  <a:gd name="T21" fmla="*/ 0 h 1841"/>
                  <a:gd name="T22" fmla="*/ 0 w 1804"/>
                  <a:gd name="T23" fmla="*/ 0 h 1841"/>
                  <a:gd name="T24" fmla="*/ 0 w 1804"/>
                  <a:gd name="T25" fmla="*/ 0 h 1841"/>
                  <a:gd name="T26" fmla="*/ 0 w 1804"/>
                  <a:gd name="T27" fmla="*/ 0 h 1841"/>
                  <a:gd name="T28" fmla="*/ 0 w 1804"/>
                  <a:gd name="T29" fmla="*/ 0 h 1841"/>
                  <a:gd name="T30" fmla="*/ 0 w 1804"/>
                  <a:gd name="T31" fmla="*/ 0 h 1841"/>
                  <a:gd name="T32" fmla="*/ 0 w 1804"/>
                  <a:gd name="T33" fmla="*/ 0 h 1841"/>
                  <a:gd name="T34" fmla="*/ 0 w 1804"/>
                  <a:gd name="T35" fmla="*/ 0 h 1841"/>
                  <a:gd name="T36" fmla="*/ 0 w 1804"/>
                  <a:gd name="T37" fmla="*/ 0 h 1841"/>
                  <a:gd name="T38" fmla="*/ 0 w 1804"/>
                  <a:gd name="T39" fmla="*/ 0 h 1841"/>
                  <a:gd name="T40" fmla="*/ 0 w 1804"/>
                  <a:gd name="T41" fmla="*/ 0 h 1841"/>
                  <a:gd name="T42" fmla="*/ 0 w 1804"/>
                  <a:gd name="T43" fmla="*/ 0 h 1841"/>
                  <a:gd name="T44" fmla="*/ 0 w 1804"/>
                  <a:gd name="T45" fmla="*/ 0 h 1841"/>
                  <a:gd name="T46" fmla="*/ 0 w 1804"/>
                  <a:gd name="T47" fmla="*/ 0 h 1841"/>
                  <a:gd name="T48" fmla="*/ 0 w 1804"/>
                  <a:gd name="T49" fmla="*/ 0 h 1841"/>
                  <a:gd name="T50" fmla="*/ 0 w 1804"/>
                  <a:gd name="T51" fmla="*/ 0 h 1841"/>
                  <a:gd name="T52" fmla="*/ 0 w 1804"/>
                  <a:gd name="T53" fmla="*/ 0 h 1841"/>
                  <a:gd name="T54" fmla="*/ 0 w 1804"/>
                  <a:gd name="T55" fmla="*/ 0 h 1841"/>
                  <a:gd name="T56" fmla="*/ 0 w 1804"/>
                  <a:gd name="T57" fmla="*/ 0 h 1841"/>
                  <a:gd name="T58" fmla="*/ 0 w 1804"/>
                  <a:gd name="T59" fmla="*/ 0 h 1841"/>
                  <a:gd name="T60" fmla="*/ 0 w 1804"/>
                  <a:gd name="T61" fmla="*/ 0 h 1841"/>
                  <a:gd name="T62" fmla="*/ 0 w 1804"/>
                  <a:gd name="T63" fmla="*/ 0 h 1841"/>
                  <a:gd name="T64" fmla="*/ 0 w 1804"/>
                  <a:gd name="T65" fmla="*/ 0 h 1841"/>
                  <a:gd name="T66" fmla="*/ 0 w 1804"/>
                  <a:gd name="T67" fmla="*/ 0 h 1841"/>
                  <a:gd name="T68" fmla="*/ 0 w 1804"/>
                  <a:gd name="T69" fmla="*/ 0 h 1841"/>
                  <a:gd name="T70" fmla="*/ 0 w 1804"/>
                  <a:gd name="T71" fmla="*/ 0 h 1841"/>
                  <a:gd name="T72" fmla="*/ 0 w 1804"/>
                  <a:gd name="T73" fmla="*/ 0 h 1841"/>
                  <a:gd name="T74" fmla="*/ 0 w 1804"/>
                  <a:gd name="T75" fmla="*/ 0 h 1841"/>
                  <a:gd name="T76" fmla="*/ 0 w 1804"/>
                  <a:gd name="T77" fmla="*/ 0 h 1841"/>
                  <a:gd name="T78" fmla="*/ 0 w 1804"/>
                  <a:gd name="T79" fmla="*/ 0 h 1841"/>
                  <a:gd name="T80" fmla="*/ 0 w 1804"/>
                  <a:gd name="T81" fmla="*/ 0 h 1841"/>
                  <a:gd name="T82" fmla="*/ 0 w 1804"/>
                  <a:gd name="T83" fmla="*/ 0 h 1841"/>
                  <a:gd name="T84" fmla="*/ 0 w 1804"/>
                  <a:gd name="T85" fmla="*/ 0 h 1841"/>
                  <a:gd name="T86" fmla="*/ 0 w 1804"/>
                  <a:gd name="T87" fmla="*/ 0 h 1841"/>
                  <a:gd name="T88" fmla="*/ 0 w 1804"/>
                  <a:gd name="T89" fmla="*/ 0 h 1841"/>
                  <a:gd name="T90" fmla="*/ 0 w 1804"/>
                  <a:gd name="T91" fmla="*/ 0 h 1841"/>
                  <a:gd name="T92" fmla="*/ 0 w 1804"/>
                  <a:gd name="T93" fmla="*/ 0 h 1841"/>
                  <a:gd name="T94" fmla="*/ 0 w 1804"/>
                  <a:gd name="T95" fmla="*/ 0 h 1841"/>
                  <a:gd name="T96" fmla="*/ 0 w 1804"/>
                  <a:gd name="T97" fmla="*/ 0 h 1841"/>
                  <a:gd name="T98" fmla="*/ 0 w 1804"/>
                  <a:gd name="T99" fmla="*/ 0 h 1841"/>
                  <a:gd name="T100" fmla="*/ 0 w 1804"/>
                  <a:gd name="T101" fmla="*/ 0 h 1841"/>
                  <a:gd name="T102" fmla="*/ 0 w 1804"/>
                  <a:gd name="T103" fmla="*/ 0 h 1841"/>
                  <a:gd name="T104" fmla="*/ 0 w 1804"/>
                  <a:gd name="T105" fmla="*/ 0 h 1841"/>
                  <a:gd name="T106" fmla="*/ 0 w 1804"/>
                  <a:gd name="T107" fmla="*/ 0 h 1841"/>
                  <a:gd name="T108" fmla="*/ 0 w 1804"/>
                  <a:gd name="T109" fmla="*/ 0 h 1841"/>
                  <a:gd name="T110" fmla="*/ 0 w 1804"/>
                  <a:gd name="T111" fmla="*/ 0 h 1841"/>
                  <a:gd name="T112" fmla="*/ 0 w 1804"/>
                  <a:gd name="T113" fmla="*/ 0 h 1841"/>
                  <a:gd name="T114" fmla="*/ 0 w 1804"/>
                  <a:gd name="T115" fmla="*/ 0 h 1841"/>
                  <a:gd name="T116" fmla="*/ 0 w 1804"/>
                  <a:gd name="T117" fmla="*/ 0 h 1841"/>
                  <a:gd name="T118" fmla="*/ 0 w 1804"/>
                  <a:gd name="T119" fmla="*/ 0 h 184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04" h="1841">
                    <a:moveTo>
                      <a:pt x="1257" y="1100"/>
                    </a:moveTo>
                    <a:lnTo>
                      <a:pt x="1258" y="1127"/>
                    </a:lnTo>
                    <a:lnTo>
                      <a:pt x="1248" y="1143"/>
                    </a:lnTo>
                    <a:lnTo>
                      <a:pt x="1236" y="1161"/>
                    </a:lnTo>
                    <a:lnTo>
                      <a:pt x="1237" y="1170"/>
                    </a:lnTo>
                    <a:lnTo>
                      <a:pt x="1231" y="1181"/>
                    </a:lnTo>
                    <a:lnTo>
                      <a:pt x="1239" y="1191"/>
                    </a:lnTo>
                    <a:lnTo>
                      <a:pt x="1239" y="1197"/>
                    </a:lnTo>
                    <a:lnTo>
                      <a:pt x="1245" y="1191"/>
                    </a:lnTo>
                    <a:lnTo>
                      <a:pt x="1251" y="1193"/>
                    </a:lnTo>
                    <a:lnTo>
                      <a:pt x="1251" y="1202"/>
                    </a:lnTo>
                    <a:lnTo>
                      <a:pt x="1245" y="1235"/>
                    </a:lnTo>
                    <a:lnTo>
                      <a:pt x="1237" y="1242"/>
                    </a:lnTo>
                    <a:lnTo>
                      <a:pt x="1228" y="1259"/>
                    </a:lnTo>
                    <a:lnTo>
                      <a:pt x="1228" y="1265"/>
                    </a:lnTo>
                    <a:lnTo>
                      <a:pt x="1222" y="1281"/>
                    </a:lnTo>
                    <a:lnTo>
                      <a:pt x="1216" y="1290"/>
                    </a:lnTo>
                    <a:lnTo>
                      <a:pt x="1219" y="1313"/>
                    </a:lnTo>
                    <a:lnTo>
                      <a:pt x="1215" y="1331"/>
                    </a:lnTo>
                    <a:lnTo>
                      <a:pt x="1198" y="1343"/>
                    </a:lnTo>
                    <a:lnTo>
                      <a:pt x="1209" y="1349"/>
                    </a:lnTo>
                    <a:lnTo>
                      <a:pt x="1209" y="1356"/>
                    </a:lnTo>
                    <a:lnTo>
                      <a:pt x="1218" y="1361"/>
                    </a:lnTo>
                    <a:lnTo>
                      <a:pt x="1218" y="1370"/>
                    </a:lnTo>
                    <a:lnTo>
                      <a:pt x="1195" y="1389"/>
                    </a:lnTo>
                    <a:lnTo>
                      <a:pt x="1191" y="1410"/>
                    </a:lnTo>
                    <a:lnTo>
                      <a:pt x="1179" y="1422"/>
                    </a:lnTo>
                    <a:lnTo>
                      <a:pt x="1170" y="1427"/>
                    </a:lnTo>
                    <a:lnTo>
                      <a:pt x="1144" y="1479"/>
                    </a:lnTo>
                    <a:lnTo>
                      <a:pt x="1147" y="1484"/>
                    </a:lnTo>
                    <a:lnTo>
                      <a:pt x="1147" y="1491"/>
                    </a:lnTo>
                    <a:lnTo>
                      <a:pt x="1137" y="1533"/>
                    </a:lnTo>
                    <a:lnTo>
                      <a:pt x="1137" y="1550"/>
                    </a:lnTo>
                    <a:lnTo>
                      <a:pt x="1141" y="1557"/>
                    </a:lnTo>
                    <a:lnTo>
                      <a:pt x="1140" y="1563"/>
                    </a:lnTo>
                    <a:lnTo>
                      <a:pt x="1132" y="1563"/>
                    </a:lnTo>
                    <a:lnTo>
                      <a:pt x="1126" y="1574"/>
                    </a:lnTo>
                    <a:lnTo>
                      <a:pt x="1128" y="1584"/>
                    </a:lnTo>
                    <a:lnTo>
                      <a:pt x="1128" y="1598"/>
                    </a:lnTo>
                    <a:lnTo>
                      <a:pt x="1125" y="1619"/>
                    </a:lnTo>
                    <a:lnTo>
                      <a:pt x="1117" y="1623"/>
                    </a:lnTo>
                    <a:lnTo>
                      <a:pt x="1111" y="1620"/>
                    </a:lnTo>
                    <a:lnTo>
                      <a:pt x="1099" y="1628"/>
                    </a:lnTo>
                    <a:lnTo>
                      <a:pt x="1089" y="1613"/>
                    </a:lnTo>
                    <a:lnTo>
                      <a:pt x="1081" y="1620"/>
                    </a:lnTo>
                    <a:lnTo>
                      <a:pt x="1066" y="1631"/>
                    </a:lnTo>
                    <a:lnTo>
                      <a:pt x="1059" y="1650"/>
                    </a:lnTo>
                    <a:lnTo>
                      <a:pt x="1048" y="1671"/>
                    </a:lnTo>
                    <a:lnTo>
                      <a:pt x="1054" y="1703"/>
                    </a:lnTo>
                    <a:lnTo>
                      <a:pt x="1050" y="1709"/>
                    </a:lnTo>
                    <a:lnTo>
                      <a:pt x="1047" y="1701"/>
                    </a:lnTo>
                    <a:lnTo>
                      <a:pt x="1023" y="1698"/>
                    </a:lnTo>
                    <a:lnTo>
                      <a:pt x="1014" y="1697"/>
                    </a:lnTo>
                    <a:lnTo>
                      <a:pt x="1000" y="1707"/>
                    </a:lnTo>
                    <a:lnTo>
                      <a:pt x="999" y="1715"/>
                    </a:lnTo>
                    <a:lnTo>
                      <a:pt x="997" y="1724"/>
                    </a:lnTo>
                    <a:lnTo>
                      <a:pt x="996" y="1739"/>
                    </a:lnTo>
                    <a:lnTo>
                      <a:pt x="978" y="1745"/>
                    </a:lnTo>
                    <a:lnTo>
                      <a:pt x="969" y="1748"/>
                    </a:lnTo>
                    <a:lnTo>
                      <a:pt x="964" y="1733"/>
                    </a:lnTo>
                    <a:lnTo>
                      <a:pt x="957" y="1730"/>
                    </a:lnTo>
                    <a:lnTo>
                      <a:pt x="943" y="1737"/>
                    </a:lnTo>
                    <a:lnTo>
                      <a:pt x="937" y="1731"/>
                    </a:lnTo>
                    <a:lnTo>
                      <a:pt x="940" y="1722"/>
                    </a:lnTo>
                    <a:lnTo>
                      <a:pt x="958" y="1706"/>
                    </a:lnTo>
                    <a:lnTo>
                      <a:pt x="961" y="1694"/>
                    </a:lnTo>
                    <a:lnTo>
                      <a:pt x="931" y="1689"/>
                    </a:lnTo>
                    <a:lnTo>
                      <a:pt x="924" y="1698"/>
                    </a:lnTo>
                    <a:lnTo>
                      <a:pt x="912" y="1701"/>
                    </a:lnTo>
                    <a:lnTo>
                      <a:pt x="885" y="1692"/>
                    </a:lnTo>
                    <a:lnTo>
                      <a:pt x="880" y="1692"/>
                    </a:lnTo>
                    <a:lnTo>
                      <a:pt x="871" y="1694"/>
                    </a:lnTo>
                    <a:lnTo>
                      <a:pt x="864" y="1691"/>
                    </a:lnTo>
                    <a:lnTo>
                      <a:pt x="853" y="1691"/>
                    </a:lnTo>
                    <a:lnTo>
                      <a:pt x="834" y="1700"/>
                    </a:lnTo>
                    <a:lnTo>
                      <a:pt x="811" y="1706"/>
                    </a:lnTo>
                    <a:lnTo>
                      <a:pt x="802" y="1704"/>
                    </a:lnTo>
                    <a:lnTo>
                      <a:pt x="798" y="1703"/>
                    </a:lnTo>
                    <a:lnTo>
                      <a:pt x="781" y="1706"/>
                    </a:lnTo>
                    <a:lnTo>
                      <a:pt x="775" y="1707"/>
                    </a:lnTo>
                    <a:lnTo>
                      <a:pt x="766" y="1704"/>
                    </a:lnTo>
                    <a:lnTo>
                      <a:pt x="750" y="1733"/>
                    </a:lnTo>
                    <a:lnTo>
                      <a:pt x="739" y="1728"/>
                    </a:lnTo>
                    <a:lnTo>
                      <a:pt x="715" y="1731"/>
                    </a:lnTo>
                    <a:lnTo>
                      <a:pt x="706" y="1737"/>
                    </a:lnTo>
                    <a:lnTo>
                      <a:pt x="699" y="1745"/>
                    </a:lnTo>
                    <a:lnTo>
                      <a:pt x="691" y="1737"/>
                    </a:lnTo>
                    <a:lnTo>
                      <a:pt x="697" y="1730"/>
                    </a:lnTo>
                    <a:lnTo>
                      <a:pt x="706" y="1721"/>
                    </a:lnTo>
                    <a:lnTo>
                      <a:pt x="702" y="1716"/>
                    </a:lnTo>
                    <a:lnTo>
                      <a:pt x="681" y="1718"/>
                    </a:lnTo>
                    <a:lnTo>
                      <a:pt x="643" y="1734"/>
                    </a:lnTo>
                    <a:lnTo>
                      <a:pt x="640" y="1742"/>
                    </a:lnTo>
                    <a:lnTo>
                      <a:pt x="637" y="1758"/>
                    </a:lnTo>
                    <a:lnTo>
                      <a:pt x="646" y="1761"/>
                    </a:lnTo>
                    <a:lnTo>
                      <a:pt x="652" y="1772"/>
                    </a:lnTo>
                    <a:lnTo>
                      <a:pt x="646" y="1782"/>
                    </a:lnTo>
                    <a:lnTo>
                      <a:pt x="631" y="1787"/>
                    </a:lnTo>
                    <a:lnTo>
                      <a:pt x="621" y="1799"/>
                    </a:lnTo>
                    <a:lnTo>
                      <a:pt x="606" y="1809"/>
                    </a:lnTo>
                    <a:lnTo>
                      <a:pt x="591" y="1815"/>
                    </a:lnTo>
                    <a:lnTo>
                      <a:pt x="558" y="1815"/>
                    </a:lnTo>
                    <a:lnTo>
                      <a:pt x="549" y="1812"/>
                    </a:lnTo>
                    <a:lnTo>
                      <a:pt x="535" y="1818"/>
                    </a:lnTo>
                    <a:lnTo>
                      <a:pt x="529" y="1818"/>
                    </a:lnTo>
                    <a:lnTo>
                      <a:pt x="514" y="1826"/>
                    </a:lnTo>
                    <a:lnTo>
                      <a:pt x="502" y="1826"/>
                    </a:lnTo>
                    <a:lnTo>
                      <a:pt x="493" y="1815"/>
                    </a:lnTo>
                    <a:lnTo>
                      <a:pt x="484" y="1820"/>
                    </a:lnTo>
                    <a:lnTo>
                      <a:pt x="466" y="1817"/>
                    </a:lnTo>
                    <a:lnTo>
                      <a:pt x="457" y="1808"/>
                    </a:lnTo>
                    <a:lnTo>
                      <a:pt x="445" y="1815"/>
                    </a:lnTo>
                    <a:lnTo>
                      <a:pt x="435" y="1826"/>
                    </a:lnTo>
                    <a:lnTo>
                      <a:pt x="427" y="1820"/>
                    </a:lnTo>
                    <a:lnTo>
                      <a:pt x="415" y="1827"/>
                    </a:lnTo>
                    <a:lnTo>
                      <a:pt x="400" y="1826"/>
                    </a:lnTo>
                    <a:lnTo>
                      <a:pt x="394" y="1841"/>
                    </a:lnTo>
                    <a:lnTo>
                      <a:pt x="367" y="1833"/>
                    </a:lnTo>
                    <a:lnTo>
                      <a:pt x="358" y="1820"/>
                    </a:lnTo>
                    <a:lnTo>
                      <a:pt x="339" y="1805"/>
                    </a:lnTo>
                    <a:lnTo>
                      <a:pt x="333" y="1808"/>
                    </a:lnTo>
                    <a:lnTo>
                      <a:pt x="321" y="1808"/>
                    </a:lnTo>
                    <a:lnTo>
                      <a:pt x="310" y="1802"/>
                    </a:lnTo>
                    <a:lnTo>
                      <a:pt x="307" y="1794"/>
                    </a:lnTo>
                    <a:lnTo>
                      <a:pt x="301" y="1797"/>
                    </a:lnTo>
                    <a:lnTo>
                      <a:pt x="292" y="1794"/>
                    </a:lnTo>
                    <a:lnTo>
                      <a:pt x="289" y="1794"/>
                    </a:lnTo>
                    <a:lnTo>
                      <a:pt x="283" y="1797"/>
                    </a:lnTo>
                    <a:lnTo>
                      <a:pt x="283" y="1808"/>
                    </a:lnTo>
                    <a:lnTo>
                      <a:pt x="274" y="1808"/>
                    </a:lnTo>
                    <a:lnTo>
                      <a:pt x="264" y="1809"/>
                    </a:lnTo>
                    <a:lnTo>
                      <a:pt x="240" y="1803"/>
                    </a:lnTo>
                    <a:lnTo>
                      <a:pt x="223" y="1800"/>
                    </a:lnTo>
                    <a:lnTo>
                      <a:pt x="216" y="1805"/>
                    </a:lnTo>
                    <a:lnTo>
                      <a:pt x="178" y="1794"/>
                    </a:lnTo>
                    <a:lnTo>
                      <a:pt x="172" y="1791"/>
                    </a:lnTo>
                    <a:lnTo>
                      <a:pt x="169" y="1787"/>
                    </a:lnTo>
                    <a:lnTo>
                      <a:pt x="171" y="1779"/>
                    </a:lnTo>
                    <a:lnTo>
                      <a:pt x="189" y="1767"/>
                    </a:lnTo>
                    <a:lnTo>
                      <a:pt x="187" y="1740"/>
                    </a:lnTo>
                    <a:lnTo>
                      <a:pt x="168" y="1737"/>
                    </a:lnTo>
                    <a:lnTo>
                      <a:pt x="154" y="1724"/>
                    </a:lnTo>
                    <a:lnTo>
                      <a:pt x="150" y="1713"/>
                    </a:lnTo>
                    <a:lnTo>
                      <a:pt x="147" y="1709"/>
                    </a:lnTo>
                    <a:lnTo>
                      <a:pt x="103" y="1700"/>
                    </a:lnTo>
                    <a:lnTo>
                      <a:pt x="90" y="1706"/>
                    </a:lnTo>
                    <a:lnTo>
                      <a:pt x="87" y="1701"/>
                    </a:lnTo>
                    <a:lnTo>
                      <a:pt x="87" y="1698"/>
                    </a:lnTo>
                    <a:lnTo>
                      <a:pt x="100" y="1688"/>
                    </a:lnTo>
                    <a:lnTo>
                      <a:pt x="99" y="1680"/>
                    </a:lnTo>
                    <a:lnTo>
                      <a:pt x="99" y="1668"/>
                    </a:lnTo>
                    <a:lnTo>
                      <a:pt x="99" y="1662"/>
                    </a:lnTo>
                    <a:lnTo>
                      <a:pt x="117" y="1650"/>
                    </a:lnTo>
                    <a:lnTo>
                      <a:pt x="142" y="1629"/>
                    </a:lnTo>
                    <a:lnTo>
                      <a:pt x="150" y="1623"/>
                    </a:lnTo>
                    <a:lnTo>
                      <a:pt x="162" y="1599"/>
                    </a:lnTo>
                    <a:lnTo>
                      <a:pt x="148" y="1589"/>
                    </a:lnTo>
                    <a:lnTo>
                      <a:pt x="144" y="1577"/>
                    </a:lnTo>
                    <a:lnTo>
                      <a:pt x="147" y="1569"/>
                    </a:lnTo>
                    <a:lnTo>
                      <a:pt x="141" y="1560"/>
                    </a:lnTo>
                    <a:lnTo>
                      <a:pt x="136" y="1557"/>
                    </a:lnTo>
                    <a:lnTo>
                      <a:pt x="141" y="1538"/>
                    </a:lnTo>
                    <a:lnTo>
                      <a:pt x="136" y="1524"/>
                    </a:lnTo>
                    <a:lnTo>
                      <a:pt x="120" y="1521"/>
                    </a:lnTo>
                    <a:lnTo>
                      <a:pt x="111" y="1529"/>
                    </a:lnTo>
                    <a:lnTo>
                      <a:pt x="100" y="1533"/>
                    </a:lnTo>
                    <a:lnTo>
                      <a:pt x="94" y="1533"/>
                    </a:lnTo>
                    <a:lnTo>
                      <a:pt x="85" y="1526"/>
                    </a:lnTo>
                    <a:lnTo>
                      <a:pt x="67" y="1511"/>
                    </a:lnTo>
                    <a:lnTo>
                      <a:pt x="60" y="1493"/>
                    </a:lnTo>
                    <a:lnTo>
                      <a:pt x="63" y="1482"/>
                    </a:lnTo>
                    <a:lnTo>
                      <a:pt x="58" y="1478"/>
                    </a:lnTo>
                    <a:lnTo>
                      <a:pt x="54" y="1466"/>
                    </a:lnTo>
                    <a:lnTo>
                      <a:pt x="45" y="1461"/>
                    </a:lnTo>
                    <a:lnTo>
                      <a:pt x="34" y="1461"/>
                    </a:lnTo>
                    <a:lnTo>
                      <a:pt x="13" y="1463"/>
                    </a:lnTo>
                    <a:lnTo>
                      <a:pt x="0" y="1461"/>
                    </a:lnTo>
                    <a:lnTo>
                      <a:pt x="40" y="1427"/>
                    </a:lnTo>
                    <a:lnTo>
                      <a:pt x="60" y="1422"/>
                    </a:lnTo>
                    <a:lnTo>
                      <a:pt x="66" y="1421"/>
                    </a:lnTo>
                    <a:lnTo>
                      <a:pt x="82" y="1418"/>
                    </a:lnTo>
                    <a:lnTo>
                      <a:pt x="109" y="1413"/>
                    </a:lnTo>
                    <a:lnTo>
                      <a:pt x="117" y="1412"/>
                    </a:lnTo>
                    <a:lnTo>
                      <a:pt x="132" y="1406"/>
                    </a:lnTo>
                    <a:lnTo>
                      <a:pt x="141" y="1403"/>
                    </a:lnTo>
                    <a:lnTo>
                      <a:pt x="159" y="1392"/>
                    </a:lnTo>
                    <a:lnTo>
                      <a:pt x="175" y="1392"/>
                    </a:lnTo>
                    <a:lnTo>
                      <a:pt x="186" y="1392"/>
                    </a:lnTo>
                    <a:lnTo>
                      <a:pt x="196" y="1392"/>
                    </a:lnTo>
                    <a:lnTo>
                      <a:pt x="210" y="1392"/>
                    </a:lnTo>
                    <a:lnTo>
                      <a:pt x="237" y="1389"/>
                    </a:lnTo>
                    <a:lnTo>
                      <a:pt x="256" y="1389"/>
                    </a:lnTo>
                    <a:lnTo>
                      <a:pt x="280" y="1380"/>
                    </a:lnTo>
                    <a:lnTo>
                      <a:pt x="304" y="1377"/>
                    </a:lnTo>
                    <a:lnTo>
                      <a:pt x="328" y="1361"/>
                    </a:lnTo>
                    <a:lnTo>
                      <a:pt x="345" y="1350"/>
                    </a:lnTo>
                    <a:lnTo>
                      <a:pt x="328" y="1346"/>
                    </a:lnTo>
                    <a:lnTo>
                      <a:pt x="328" y="1335"/>
                    </a:lnTo>
                    <a:lnTo>
                      <a:pt x="327" y="1323"/>
                    </a:lnTo>
                    <a:lnTo>
                      <a:pt x="310" y="1271"/>
                    </a:lnTo>
                    <a:lnTo>
                      <a:pt x="310" y="1256"/>
                    </a:lnTo>
                    <a:lnTo>
                      <a:pt x="301" y="1242"/>
                    </a:lnTo>
                    <a:lnTo>
                      <a:pt x="282" y="1248"/>
                    </a:lnTo>
                    <a:lnTo>
                      <a:pt x="255" y="1230"/>
                    </a:lnTo>
                    <a:lnTo>
                      <a:pt x="244" y="1227"/>
                    </a:lnTo>
                    <a:lnTo>
                      <a:pt x="240" y="1227"/>
                    </a:lnTo>
                    <a:lnTo>
                      <a:pt x="219" y="1230"/>
                    </a:lnTo>
                    <a:lnTo>
                      <a:pt x="198" y="1233"/>
                    </a:lnTo>
                    <a:lnTo>
                      <a:pt x="178" y="1229"/>
                    </a:lnTo>
                    <a:lnTo>
                      <a:pt x="166" y="1227"/>
                    </a:lnTo>
                    <a:lnTo>
                      <a:pt x="154" y="1215"/>
                    </a:lnTo>
                    <a:lnTo>
                      <a:pt x="153" y="1200"/>
                    </a:lnTo>
                    <a:lnTo>
                      <a:pt x="166" y="1191"/>
                    </a:lnTo>
                    <a:lnTo>
                      <a:pt x="166" y="1188"/>
                    </a:lnTo>
                    <a:lnTo>
                      <a:pt x="141" y="1178"/>
                    </a:lnTo>
                    <a:lnTo>
                      <a:pt x="142" y="1166"/>
                    </a:lnTo>
                    <a:lnTo>
                      <a:pt x="151" y="1155"/>
                    </a:lnTo>
                    <a:lnTo>
                      <a:pt x="165" y="1152"/>
                    </a:lnTo>
                    <a:lnTo>
                      <a:pt x="207" y="1158"/>
                    </a:lnTo>
                    <a:lnTo>
                      <a:pt x="241" y="1163"/>
                    </a:lnTo>
                    <a:lnTo>
                      <a:pt x="253" y="1160"/>
                    </a:lnTo>
                    <a:lnTo>
                      <a:pt x="276" y="1134"/>
                    </a:lnTo>
                    <a:lnTo>
                      <a:pt x="276" y="1128"/>
                    </a:lnTo>
                    <a:lnTo>
                      <a:pt x="262" y="1121"/>
                    </a:lnTo>
                    <a:lnTo>
                      <a:pt x="229" y="1118"/>
                    </a:lnTo>
                    <a:lnTo>
                      <a:pt x="214" y="1109"/>
                    </a:lnTo>
                    <a:lnTo>
                      <a:pt x="207" y="1097"/>
                    </a:lnTo>
                    <a:lnTo>
                      <a:pt x="186" y="1097"/>
                    </a:lnTo>
                    <a:lnTo>
                      <a:pt x="172" y="1095"/>
                    </a:lnTo>
                    <a:lnTo>
                      <a:pt x="162" y="1085"/>
                    </a:lnTo>
                    <a:lnTo>
                      <a:pt x="160" y="1082"/>
                    </a:lnTo>
                    <a:lnTo>
                      <a:pt x="156" y="1074"/>
                    </a:lnTo>
                    <a:lnTo>
                      <a:pt x="154" y="1055"/>
                    </a:lnTo>
                    <a:lnTo>
                      <a:pt x="144" y="1055"/>
                    </a:lnTo>
                    <a:lnTo>
                      <a:pt x="139" y="1049"/>
                    </a:lnTo>
                    <a:lnTo>
                      <a:pt x="139" y="1029"/>
                    </a:lnTo>
                    <a:lnTo>
                      <a:pt x="138" y="1019"/>
                    </a:lnTo>
                    <a:lnTo>
                      <a:pt x="138" y="1008"/>
                    </a:lnTo>
                    <a:lnTo>
                      <a:pt x="138" y="1005"/>
                    </a:lnTo>
                    <a:lnTo>
                      <a:pt x="129" y="999"/>
                    </a:lnTo>
                    <a:lnTo>
                      <a:pt x="123" y="981"/>
                    </a:lnTo>
                    <a:lnTo>
                      <a:pt x="111" y="980"/>
                    </a:lnTo>
                    <a:lnTo>
                      <a:pt x="87" y="974"/>
                    </a:lnTo>
                    <a:lnTo>
                      <a:pt x="82" y="965"/>
                    </a:lnTo>
                    <a:lnTo>
                      <a:pt x="82" y="959"/>
                    </a:lnTo>
                    <a:lnTo>
                      <a:pt x="91" y="938"/>
                    </a:lnTo>
                    <a:lnTo>
                      <a:pt x="90" y="926"/>
                    </a:lnTo>
                    <a:lnTo>
                      <a:pt x="82" y="914"/>
                    </a:lnTo>
                    <a:lnTo>
                      <a:pt x="91" y="881"/>
                    </a:lnTo>
                    <a:lnTo>
                      <a:pt x="88" y="878"/>
                    </a:lnTo>
                    <a:lnTo>
                      <a:pt x="93" y="866"/>
                    </a:lnTo>
                    <a:lnTo>
                      <a:pt x="103" y="863"/>
                    </a:lnTo>
                    <a:lnTo>
                      <a:pt x="111" y="845"/>
                    </a:lnTo>
                    <a:lnTo>
                      <a:pt x="112" y="836"/>
                    </a:lnTo>
                    <a:lnTo>
                      <a:pt x="111" y="827"/>
                    </a:lnTo>
                    <a:lnTo>
                      <a:pt x="109" y="821"/>
                    </a:lnTo>
                    <a:lnTo>
                      <a:pt x="118" y="821"/>
                    </a:lnTo>
                    <a:lnTo>
                      <a:pt x="133" y="806"/>
                    </a:lnTo>
                    <a:lnTo>
                      <a:pt x="126" y="795"/>
                    </a:lnTo>
                    <a:lnTo>
                      <a:pt x="129" y="783"/>
                    </a:lnTo>
                    <a:lnTo>
                      <a:pt x="136" y="783"/>
                    </a:lnTo>
                    <a:lnTo>
                      <a:pt x="141" y="773"/>
                    </a:lnTo>
                    <a:lnTo>
                      <a:pt x="151" y="743"/>
                    </a:lnTo>
                    <a:lnTo>
                      <a:pt x="150" y="734"/>
                    </a:lnTo>
                    <a:lnTo>
                      <a:pt x="153" y="723"/>
                    </a:lnTo>
                    <a:lnTo>
                      <a:pt x="154" y="713"/>
                    </a:lnTo>
                    <a:lnTo>
                      <a:pt x="157" y="698"/>
                    </a:lnTo>
                    <a:lnTo>
                      <a:pt x="162" y="695"/>
                    </a:lnTo>
                    <a:lnTo>
                      <a:pt x="180" y="689"/>
                    </a:lnTo>
                    <a:lnTo>
                      <a:pt x="181" y="672"/>
                    </a:lnTo>
                    <a:lnTo>
                      <a:pt x="195" y="668"/>
                    </a:lnTo>
                    <a:lnTo>
                      <a:pt x="207" y="671"/>
                    </a:lnTo>
                    <a:lnTo>
                      <a:pt x="220" y="672"/>
                    </a:lnTo>
                    <a:lnTo>
                      <a:pt x="229" y="674"/>
                    </a:lnTo>
                    <a:lnTo>
                      <a:pt x="241" y="672"/>
                    </a:lnTo>
                    <a:lnTo>
                      <a:pt x="250" y="665"/>
                    </a:lnTo>
                    <a:lnTo>
                      <a:pt x="259" y="665"/>
                    </a:lnTo>
                    <a:lnTo>
                      <a:pt x="264" y="644"/>
                    </a:lnTo>
                    <a:lnTo>
                      <a:pt x="255" y="618"/>
                    </a:lnTo>
                    <a:lnTo>
                      <a:pt x="258" y="611"/>
                    </a:lnTo>
                    <a:lnTo>
                      <a:pt x="255" y="594"/>
                    </a:lnTo>
                    <a:lnTo>
                      <a:pt x="255" y="579"/>
                    </a:lnTo>
                    <a:lnTo>
                      <a:pt x="243" y="555"/>
                    </a:lnTo>
                    <a:lnTo>
                      <a:pt x="234" y="527"/>
                    </a:lnTo>
                    <a:lnTo>
                      <a:pt x="232" y="516"/>
                    </a:lnTo>
                    <a:lnTo>
                      <a:pt x="228" y="485"/>
                    </a:lnTo>
                    <a:lnTo>
                      <a:pt x="222" y="468"/>
                    </a:lnTo>
                    <a:lnTo>
                      <a:pt x="216" y="446"/>
                    </a:lnTo>
                    <a:lnTo>
                      <a:pt x="222" y="422"/>
                    </a:lnTo>
                    <a:lnTo>
                      <a:pt x="214" y="417"/>
                    </a:lnTo>
                    <a:lnTo>
                      <a:pt x="211" y="411"/>
                    </a:lnTo>
                    <a:lnTo>
                      <a:pt x="214" y="402"/>
                    </a:lnTo>
                    <a:lnTo>
                      <a:pt x="211" y="389"/>
                    </a:lnTo>
                    <a:lnTo>
                      <a:pt x="205" y="372"/>
                    </a:lnTo>
                    <a:lnTo>
                      <a:pt x="199" y="344"/>
                    </a:lnTo>
                    <a:lnTo>
                      <a:pt x="208" y="336"/>
                    </a:lnTo>
                    <a:lnTo>
                      <a:pt x="207" y="326"/>
                    </a:lnTo>
                    <a:lnTo>
                      <a:pt x="225" y="299"/>
                    </a:lnTo>
                    <a:lnTo>
                      <a:pt x="232" y="290"/>
                    </a:lnTo>
                    <a:lnTo>
                      <a:pt x="235" y="281"/>
                    </a:lnTo>
                    <a:lnTo>
                      <a:pt x="241" y="273"/>
                    </a:lnTo>
                    <a:lnTo>
                      <a:pt x="229" y="246"/>
                    </a:lnTo>
                    <a:lnTo>
                      <a:pt x="232" y="230"/>
                    </a:lnTo>
                    <a:lnTo>
                      <a:pt x="228" y="228"/>
                    </a:lnTo>
                    <a:lnTo>
                      <a:pt x="232" y="216"/>
                    </a:lnTo>
                    <a:lnTo>
                      <a:pt x="237" y="213"/>
                    </a:lnTo>
                    <a:lnTo>
                      <a:pt x="220" y="180"/>
                    </a:lnTo>
                    <a:lnTo>
                      <a:pt x="213" y="170"/>
                    </a:lnTo>
                    <a:lnTo>
                      <a:pt x="214" y="162"/>
                    </a:lnTo>
                    <a:lnTo>
                      <a:pt x="213" y="156"/>
                    </a:lnTo>
                    <a:lnTo>
                      <a:pt x="214" y="143"/>
                    </a:lnTo>
                    <a:lnTo>
                      <a:pt x="226" y="134"/>
                    </a:lnTo>
                    <a:lnTo>
                      <a:pt x="226" y="122"/>
                    </a:lnTo>
                    <a:lnTo>
                      <a:pt x="229" y="113"/>
                    </a:lnTo>
                    <a:lnTo>
                      <a:pt x="220" y="111"/>
                    </a:lnTo>
                    <a:lnTo>
                      <a:pt x="220" y="99"/>
                    </a:lnTo>
                    <a:lnTo>
                      <a:pt x="216" y="95"/>
                    </a:lnTo>
                    <a:lnTo>
                      <a:pt x="223" y="92"/>
                    </a:lnTo>
                    <a:lnTo>
                      <a:pt x="217" y="87"/>
                    </a:lnTo>
                    <a:lnTo>
                      <a:pt x="217" y="75"/>
                    </a:lnTo>
                    <a:lnTo>
                      <a:pt x="225" y="71"/>
                    </a:lnTo>
                    <a:lnTo>
                      <a:pt x="232" y="60"/>
                    </a:lnTo>
                    <a:lnTo>
                      <a:pt x="243" y="69"/>
                    </a:lnTo>
                    <a:lnTo>
                      <a:pt x="252" y="72"/>
                    </a:lnTo>
                    <a:lnTo>
                      <a:pt x="252" y="77"/>
                    </a:lnTo>
                    <a:lnTo>
                      <a:pt x="262" y="81"/>
                    </a:lnTo>
                    <a:lnTo>
                      <a:pt x="270" y="87"/>
                    </a:lnTo>
                    <a:lnTo>
                      <a:pt x="276" y="87"/>
                    </a:lnTo>
                    <a:lnTo>
                      <a:pt x="280" y="92"/>
                    </a:lnTo>
                    <a:lnTo>
                      <a:pt x="289" y="87"/>
                    </a:lnTo>
                    <a:lnTo>
                      <a:pt x="303" y="87"/>
                    </a:lnTo>
                    <a:lnTo>
                      <a:pt x="304" y="86"/>
                    </a:lnTo>
                    <a:lnTo>
                      <a:pt x="306" y="80"/>
                    </a:lnTo>
                    <a:lnTo>
                      <a:pt x="310" y="80"/>
                    </a:lnTo>
                    <a:lnTo>
                      <a:pt x="312" y="77"/>
                    </a:lnTo>
                    <a:lnTo>
                      <a:pt x="312" y="68"/>
                    </a:lnTo>
                    <a:lnTo>
                      <a:pt x="316" y="62"/>
                    </a:lnTo>
                    <a:lnTo>
                      <a:pt x="322" y="62"/>
                    </a:lnTo>
                    <a:lnTo>
                      <a:pt x="325" y="63"/>
                    </a:lnTo>
                    <a:lnTo>
                      <a:pt x="346" y="65"/>
                    </a:lnTo>
                    <a:lnTo>
                      <a:pt x="345" y="77"/>
                    </a:lnTo>
                    <a:lnTo>
                      <a:pt x="357" y="86"/>
                    </a:lnTo>
                    <a:lnTo>
                      <a:pt x="364" y="84"/>
                    </a:lnTo>
                    <a:lnTo>
                      <a:pt x="367" y="87"/>
                    </a:lnTo>
                    <a:lnTo>
                      <a:pt x="376" y="83"/>
                    </a:lnTo>
                    <a:lnTo>
                      <a:pt x="387" y="84"/>
                    </a:lnTo>
                    <a:lnTo>
                      <a:pt x="394" y="78"/>
                    </a:lnTo>
                    <a:lnTo>
                      <a:pt x="402" y="80"/>
                    </a:lnTo>
                    <a:lnTo>
                      <a:pt x="409" y="95"/>
                    </a:lnTo>
                    <a:lnTo>
                      <a:pt x="415" y="96"/>
                    </a:lnTo>
                    <a:lnTo>
                      <a:pt x="415" y="101"/>
                    </a:lnTo>
                    <a:lnTo>
                      <a:pt x="420" y="102"/>
                    </a:lnTo>
                    <a:lnTo>
                      <a:pt x="420" y="105"/>
                    </a:lnTo>
                    <a:lnTo>
                      <a:pt x="421" y="105"/>
                    </a:lnTo>
                    <a:lnTo>
                      <a:pt x="426" y="108"/>
                    </a:lnTo>
                    <a:lnTo>
                      <a:pt x="429" y="120"/>
                    </a:lnTo>
                    <a:lnTo>
                      <a:pt x="429" y="128"/>
                    </a:lnTo>
                    <a:lnTo>
                      <a:pt x="438" y="125"/>
                    </a:lnTo>
                    <a:lnTo>
                      <a:pt x="441" y="119"/>
                    </a:lnTo>
                    <a:lnTo>
                      <a:pt x="456" y="117"/>
                    </a:lnTo>
                    <a:lnTo>
                      <a:pt x="456" y="138"/>
                    </a:lnTo>
                    <a:lnTo>
                      <a:pt x="469" y="149"/>
                    </a:lnTo>
                    <a:lnTo>
                      <a:pt x="480" y="149"/>
                    </a:lnTo>
                    <a:lnTo>
                      <a:pt x="483" y="143"/>
                    </a:lnTo>
                    <a:lnTo>
                      <a:pt x="496" y="141"/>
                    </a:lnTo>
                    <a:lnTo>
                      <a:pt x="507" y="135"/>
                    </a:lnTo>
                    <a:lnTo>
                      <a:pt x="507" y="131"/>
                    </a:lnTo>
                    <a:lnTo>
                      <a:pt x="492" y="123"/>
                    </a:lnTo>
                    <a:lnTo>
                      <a:pt x="492" y="116"/>
                    </a:lnTo>
                    <a:lnTo>
                      <a:pt x="499" y="108"/>
                    </a:lnTo>
                    <a:lnTo>
                      <a:pt x="505" y="113"/>
                    </a:lnTo>
                    <a:lnTo>
                      <a:pt x="513" y="107"/>
                    </a:lnTo>
                    <a:lnTo>
                      <a:pt x="519" y="107"/>
                    </a:lnTo>
                    <a:lnTo>
                      <a:pt x="517" y="114"/>
                    </a:lnTo>
                    <a:lnTo>
                      <a:pt x="517" y="116"/>
                    </a:lnTo>
                    <a:lnTo>
                      <a:pt x="531" y="111"/>
                    </a:lnTo>
                    <a:lnTo>
                      <a:pt x="529" y="102"/>
                    </a:lnTo>
                    <a:lnTo>
                      <a:pt x="537" y="102"/>
                    </a:lnTo>
                    <a:lnTo>
                      <a:pt x="538" y="96"/>
                    </a:lnTo>
                    <a:lnTo>
                      <a:pt x="544" y="96"/>
                    </a:lnTo>
                    <a:lnTo>
                      <a:pt x="544" y="93"/>
                    </a:lnTo>
                    <a:lnTo>
                      <a:pt x="550" y="99"/>
                    </a:lnTo>
                    <a:lnTo>
                      <a:pt x="552" y="104"/>
                    </a:lnTo>
                    <a:lnTo>
                      <a:pt x="555" y="105"/>
                    </a:lnTo>
                    <a:lnTo>
                      <a:pt x="552" y="114"/>
                    </a:lnTo>
                    <a:lnTo>
                      <a:pt x="556" y="126"/>
                    </a:lnTo>
                    <a:lnTo>
                      <a:pt x="561" y="140"/>
                    </a:lnTo>
                    <a:lnTo>
                      <a:pt x="585" y="125"/>
                    </a:lnTo>
                    <a:lnTo>
                      <a:pt x="600" y="110"/>
                    </a:lnTo>
                    <a:lnTo>
                      <a:pt x="609" y="111"/>
                    </a:lnTo>
                    <a:lnTo>
                      <a:pt x="619" y="114"/>
                    </a:lnTo>
                    <a:lnTo>
                      <a:pt x="624" y="105"/>
                    </a:lnTo>
                    <a:lnTo>
                      <a:pt x="628" y="110"/>
                    </a:lnTo>
                    <a:lnTo>
                      <a:pt x="637" y="107"/>
                    </a:lnTo>
                    <a:lnTo>
                      <a:pt x="637" y="99"/>
                    </a:lnTo>
                    <a:lnTo>
                      <a:pt x="645" y="96"/>
                    </a:lnTo>
                    <a:lnTo>
                      <a:pt x="654" y="81"/>
                    </a:lnTo>
                    <a:lnTo>
                      <a:pt x="661" y="81"/>
                    </a:lnTo>
                    <a:lnTo>
                      <a:pt x="667" y="72"/>
                    </a:lnTo>
                    <a:lnTo>
                      <a:pt x="673" y="69"/>
                    </a:lnTo>
                    <a:lnTo>
                      <a:pt x="682" y="74"/>
                    </a:lnTo>
                    <a:lnTo>
                      <a:pt x="688" y="74"/>
                    </a:lnTo>
                    <a:lnTo>
                      <a:pt x="697" y="74"/>
                    </a:lnTo>
                    <a:lnTo>
                      <a:pt x="702" y="66"/>
                    </a:lnTo>
                    <a:lnTo>
                      <a:pt x="700" y="63"/>
                    </a:lnTo>
                    <a:lnTo>
                      <a:pt x="717" y="60"/>
                    </a:lnTo>
                    <a:lnTo>
                      <a:pt x="739" y="68"/>
                    </a:lnTo>
                    <a:lnTo>
                      <a:pt x="748" y="71"/>
                    </a:lnTo>
                    <a:lnTo>
                      <a:pt x="759" y="66"/>
                    </a:lnTo>
                    <a:lnTo>
                      <a:pt x="759" y="65"/>
                    </a:lnTo>
                    <a:lnTo>
                      <a:pt x="763" y="69"/>
                    </a:lnTo>
                    <a:lnTo>
                      <a:pt x="763" y="77"/>
                    </a:lnTo>
                    <a:lnTo>
                      <a:pt x="772" y="81"/>
                    </a:lnTo>
                    <a:lnTo>
                      <a:pt x="783" y="86"/>
                    </a:lnTo>
                    <a:lnTo>
                      <a:pt x="783" y="90"/>
                    </a:lnTo>
                    <a:lnTo>
                      <a:pt x="787" y="95"/>
                    </a:lnTo>
                    <a:lnTo>
                      <a:pt x="795" y="92"/>
                    </a:lnTo>
                    <a:lnTo>
                      <a:pt x="790" y="84"/>
                    </a:lnTo>
                    <a:lnTo>
                      <a:pt x="795" y="77"/>
                    </a:lnTo>
                    <a:lnTo>
                      <a:pt x="805" y="77"/>
                    </a:lnTo>
                    <a:lnTo>
                      <a:pt x="807" y="66"/>
                    </a:lnTo>
                    <a:lnTo>
                      <a:pt x="819" y="53"/>
                    </a:lnTo>
                    <a:lnTo>
                      <a:pt x="834" y="57"/>
                    </a:lnTo>
                    <a:lnTo>
                      <a:pt x="841" y="59"/>
                    </a:lnTo>
                    <a:lnTo>
                      <a:pt x="847" y="56"/>
                    </a:lnTo>
                    <a:lnTo>
                      <a:pt x="849" y="69"/>
                    </a:lnTo>
                    <a:lnTo>
                      <a:pt x="856" y="68"/>
                    </a:lnTo>
                    <a:lnTo>
                      <a:pt x="862" y="60"/>
                    </a:lnTo>
                    <a:lnTo>
                      <a:pt x="855" y="57"/>
                    </a:lnTo>
                    <a:lnTo>
                      <a:pt x="867" y="47"/>
                    </a:lnTo>
                    <a:lnTo>
                      <a:pt x="874" y="47"/>
                    </a:lnTo>
                    <a:lnTo>
                      <a:pt x="882" y="35"/>
                    </a:lnTo>
                    <a:lnTo>
                      <a:pt x="879" y="29"/>
                    </a:lnTo>
                    <a:lnTo>
                      <a:pt x="867" y="21"/>
                    </a:lnTo>
                    <a:lnTo>
                      <a:pt x="871" y="17"/>
                    </a:lnTo>
                    <a:lnTo>
                      <a:pt x="879" y="12"/>
                    </a:lnTo>
                    <a:lnTo>
                      <a:pt x="879" y="3"/>
                    </a:lnTo>
                    <a:lnTo>
                      <a:pt x="883" y="0"/>
                    </a:lnTo>
                    <a:lnTo>
                      <a:pt x="891" y="6"/>
                    </a:lnTo>
                    <a:lnTo>
                      <a:pt x="903" y="11"/>
                    </a:lnTo>
                    <a:lnTo>
                      <a:pt x="909" y="5"/>
                    </a:lnTo>
                    <a:lnTo>
                      <a:pt x="912" y="11"/>
                    </a:lnTo>
                    <a:lnTo>
                      <a:pt x="919" y="12"/>
                    </a:lnTo>
                    <a:lnTo>
                      <a:pt x="931" y="30"/>
                    </a:lnTo>
                    <a:lnTo>
                      <a:pt x="958" y="45"/>
                    </a:lnTo>
                    <a:lnTo>
                      <a:pt x="957" y="54"/>
                    </a:lnTo>
                    <a:lnTo>
                      <a:pt x="949" y="54"/>
                    </a:lnTo>
                    <a:lnTo>
                      <a:pt x="937" y="66"/>
                    </a:lnTo>
                    <a:lnTo>
                      <a:pt x="937" y="74"/>
                    </a:lnTo>
                    <a:lnTo>
                      <a:pt x="948" y="83"/>
                    </a:lnTo>
                    <a:lnTo>
                      <a:pt x="951" y="90"/>
                    </a:lnTo>
                    <a:lnTo>
                      <a:pt x="954" y="101"/>
                    </a:lnTo>
                    <a:lnTo>
                      <a:pt x="952" y="104"/>
                    </a:lnTo>
                    <a:lnTo>
                      <a:pt x="955" y="110"/>
                    </a:lnTo>
                    <a:lnTo>
                      <a:pt x="954" y="119"/>
                    </a:lnTo>
                    <a:lnTo>
                      <a:pt x="957" y="128"/>
                    </a:lnTo>
                    <a:lnTo>
                      <a:pt x="969" y="134"/>
                    </a:lnTo>
                    <a:lnTo>
                      <a:pt x="972" y="134"/>
                    </a:lnTo>
                    <a:lnTo>
                      <a:pt x="984" y="137"/>
                    </a:lnTo>
                    <a:lnTo>
                      <a:pt x="1008" y="137"/>
                    </a:lnTo>
                    <a:lnTo>
                      <a:pt x="1014" y="137"/>
                    </a:lnTo>
                    <a:lnTo>
                      <a:pt x="1017" y="128"/>
                    </a:lnTo>
                    <a:lnTo>
                      <a:pt x="1020" y="128"/>
                    </a:lnTo>
                    <a:lnTo>
                      <a:pt x="1024" y="131"/>
                    </a:lnTo>
                    <a:lnTo>
                      <a:pt x="1032" y="129"/>
                    </a:lnTo>
                    <a:lnTo>
                      <a:pt x="1032" y="146"/>
                    </a:lnTo>
                    <a:lnTo>
                      <a:pt x="1026" y="159"/>
                    </a:lnTo>
                    <a:lnTo>
                      <a:pt x="1026" y="162"/>
                    </a:lnTo>
                    <a:lnTo>
                      <a:pt x="1030" y="165"/>
                    </a:lnTo>
                    <a:lnTo>
                      <a:pt x="1029" y="168"/>
                    </a:lnTo>
                    <a:lnTo>
                      <a:pt x="1029" y="179"/>
                    </a:lnTo>
                    <a:lnTo>
                      <a:pt x="1027" y="185"/>
                    </a:lnTo>
                    <a:lnTo>
                      <a:pt x="1026" y="194"/>
                    </a:lnTo>
                    <a:lnTo>
                      <a:pt x="1027" y="200"/>
                    </a:lnTo>
                    <a:lnTo>
                      <a:pt x="1029" y="204"/>
                    </a:lnTo>
                    <a:lnTo>
                      <a:pt x="1026" y="209"/>
                    </a:lnTo>
                    <a:lnTo>
                      <a:pt x="1027" y="216"/>
                    </a:lnTo>
                    <a:lnTo>
                      <a:pt x="1030" y="224"/>
                    </a:lnTo>
                    <a:lnTo>
                      <a:pt x="1035" y="219"/>
                    </a:lnTo>
                    <a:lnTo>
                      <a:pt x="1045" y="216"/>
                    </a:lnTo>
                    <a:lnTo>
                      <a:pt x="1045" y="212"/>
                    </a:lnTo>
                    <a:lnTo>
                      <a:pt x="1056" y="212"/>
                    </a:lnTo>
                    <a:lnTo>
                      <a:pt x="1056" y="201"/>
                    </a:lnTo>
                    <a:lnTo>
                      <a:pt x="1062" y="201"/>
                    </a:lnTo>
                    <a:lnTo>
                      <a:pt x="1071" y="198"/>
                    </a:lnTo>
                    <a:lnTo>
                      <a:pt x="1072" y="200"/>
                    </a:lnTo>
                    <a:lnTo>
                      <a:pt x="1081" y="216"/>
                    </a:lnTo>
                    <a:lnTo>
                      <a:pt x="1098" y="215"/>
                    </a:lnTo>
                    <a:lnTo>
                      <a:pt x="1107" y="216"/>
                    </a:lnTo>
                    <a:lnTo>
                      <a:pt x="1117" y="216"/>
                    </a:lnTo>
                    <a:lnTo>
                      <a:pt x="1120" y="213"/>
                    </a:lnTo>
                    <a:lnTo>
                      <a:pt x="1122" y="209"/>
                    </a:lnTo>
                    <a:lnTo>
                      <a:pt x="1117" y="201"/>
                    </a:lnTo>
                    <a:lnTo>
                      <a:pt x="1116" y="195"/>
                    </a:lnTo>
                    <a:lnTo>
                      <a:pt x="1119" y="192"/>
                    </a:lnTo>
                    <a:lnTo>
                      <a:pt x="1125" y="189"/>
                    </a:lnTo>
                    <a:lnTo>
                      <a:pt x="1138" y="183"/>
                    </a:lnTo>
                    <a:lnTo>
                      <a:pt x="1144" y="182"/>
                    </a:lnTo>
                    <a:lnTo>
                      <a:pt x="1155" y="176"/>
                    </a:lnTo>
                    <a:lnTo>
                      <a:pt x="1159" y="167"/>
                    </a:lnTo>
                    <a:lnTo>
                      <a:pt x="1171" y="159"/>
                    </a:lnTo>
                    <a:lnTo>
                      <a:pt x="1179" y="155"/>
                    </a:lnTo>
                    <a:lnTo>
                      <a:pt x="1191" y="150"/>
                    </a:lnTo>
                    <a:lnTo>
                      <a:pt x="1197" y="149"/>
                    </a:lnTo>
                    <a:lnTo>
                      <a:pt x="1197" y="144"/>
                    </a:lnTo>
                    <a:lnTo>
                      <a:pt x="1191" y="135"/>
                    </a:lnTo>
                    <a:lnTo>
                      <a:pt x="1188" y="129"/>
                    </a:lnTo>
                    <a:lnTo>
                      <a:pt x="1191" y="128"/>
                    </a:lnTo>
                    <a:lnTo>
                      <a:pt x="1201" y="137"/>
                    </a:lnTo>
                    <a:lnTo>
                      <a:pt x="1212" y="135"/>
                    </a:lnTo>
                    <a:lnTo>
                      <a:pt x="1209" y="125"/>
                    </a:lnTo>
                    <a:lnTo>
                      <a:pt x="1216" y="119"/>
                    </a:lnTo>
                    <a:lnTo>
                      <a:pt x="1227" y="119"/>
                    </a:lnTo>
                    <a:lnTo>
                      <a:pt x="1237" y="108"/>
                    </a:lnTo>
                    <a:lnTo>
                      <a:pt x="1245" y="107"/>
                    </a:lnTo>
                    <a:lnTo>
                      <a:pt x="1258" y="107"/>
                    </a:lnTo>
                    <a:lnTo>
                      <a:pt x="1266" y="104"/>
                    </a:lnTo>
                    <a:lnTo>
                      <a:pt x="1270" y="101"/>
                    </a:lnTo>
                    <a:lnTo>
                      <a:pt x="1282" y="96"/>
                    </a:lnTo>
                    <a:lnTo>
                      <a:pt x="1297" y="99"/>
                    </a:lnTo>
                    <a:lnTo>
                      <a:pt x="1311" y="98"/>
                    </a:lnTo>
                    <a:lnTo>
                      <a:pt x="1312" y="108"/>
                    </a:lnTo>
                    <a:lnTo>
                      <a:pt x="1321" y="110"/>
                    </a:lnTo>
                    <a:lnTo>
                      <a:pt x="1326" y="111"/>
                    </a:lnTo>
                    <a:lnTo>
                      <a:pt x="1350" y="123"/>
                    </a:lnTo>
                    <a:lnTo>
                      <a:pt x="1362" y="135"/>
                    </a:lnTo>
                    <a:lnTo>
                      <a:pt x="1368" y="150"/>
                    </a:lnTo>
                    <a:lnTo>
                      <a:pt x="1368" y="158"/>
                    </a:lnTo>
                    <a:lnTo>
                      <a:pt x="1369" y="162"/>
                    </a:lnTo>
                    <a:lnTo>
                      <a:pt x="1372" y="168"/>
                    </a:lnTo>
                    <a:lnTo>
                      <a:pt x="1371" y="176"/>
                    </a:lnTo>
                    <a:lnTo>
                      <a:pt x="1365" y="180"/>
                    </a:lnTo>
                    <a:lnTo>
                      <a:pt x="1372" y="207"/>
                    </a:lnTo>
                    <a:lnTo>
                      <a:pt x="1375" y="224"/>
                    </a:lnTo>
                    <a:lnTo>
                      <a:pt x="1378" y="233"/>
                    </a:lnTo>
                    <a:lnTo>
                      <a:pt x="1377" y="243"/>
                    </a:lnTo>
                    <a:lnTo>
                      <a:pt x="1380" y="255"/>
                    </a:lnTo>
                    <a:lnTo>
                      <a:pt x="1378" y="261"/>
                    </a:lnTo>
                    <a:lnTo>
                      <a:pt x="1384" y="279"/>
                    </a:lnTo>
                    <a:lnTo>
                      <a:pt x="1392" y="285"/>
                    </a:lnTo>
                    <a:lnTo>
                      <a:pt x="1396" y="290"/>
                    </a:lnTo>
                    <a:lnTo>
                      <a:pt x="1405" y="291"/>
                    </a:lnTo>
                    <a:lnTo>
                      <a:pt x="1414" y="294"/>
                    </a:lnTo>
                    <a:lnTo>
                      <a:pt x="1417" y="302"/>
                    </a:lnTo>
                    <a:lnTo>
                      <a:pt x="1423" y="305"/>
                    </a:lnTo>
                    <a:lnTo>
                      <a:pt x="1438" y="308"/>
                    </a:lnTo>
                    <a:lnTo>
                      <a:pt x="1453" y="311"/>
                    </a:lnTo>
                    <a:lnTo>
                      <a:pt x="1461" y="302"/>
                    </a:lnTo>
                    <a:lnTo>
                      <a:pt x="1471" y="318"/>
                    </a:lnTo>
                    <a:lnTo>
                      <a:pt x="1464" y="330"/>
                    </a:lnTo>
                    <a:lnTo>
                      <a:pt x="1473" y="344"/>
                    </a:lnTo>
                    <a:lnTo>
                      <a:pt x="1483" y="348"/>
                    </a:lnTo>
                    <a:lnTo>
                      <a:pt x="1489" y="351"/>
                    </a:lnTo>
                    <a:lnTo>
                      <a:pt x="1497" y="356"/>
                    </a:lnTo>
                    <a:lnTo>
                      <a:pt x="1507" y="372"/>
                    </a:lnTo>
                    <a:lnTo>
                      <a:pt x="1528" y="374"/>
                    </a:lnTo>
                    <a:lnTo>
                      <a:pt x="1546" y="374"/>
                    </a:lnTo>
                    <a:lnTo>
                      <a:pt x="1572" y="377"/>
                    </a:lnTo>
                    <a:lnTo>
                      <a:pt x="1567" y="384"/>
                    </a:lnTo>
                    <a:lnTo>
                      <a:pt x="1572" y="386"/>
                    </a:lnTo>
                    <a:lnTo>
                      <a:pt x="1576" y="381"/>
                    </a:lnTo>
                    <a:lnTo>
                      <a:pt x="1570" y="362"/>
                    </a:lnTo>
                    <a:lnTo>
                      <a:pt x="1578" y="354"/>
                    </a:lnTo>
                    <a:lnTo>
                      <a:pt x="1590" y="353"/>
                    </a:lnTo>
                    <a:lnTo>
                      <a:pt x="1608" y="363"/>
                    </a:lnTo>
                    <a:lnTo>
                      <a:pt x="1615" y="369"/>
                    </a:lnTo>
                    <a:lnTo>
                      <a:pt x="1615" y="378"/>
                    </a:lnTo>
                    <a:lnTo>
                      <a:pt x="1623" y="386"/>
                    </a:lnTo>
                    <a:lnTo>
                      <a:pt x="1626" y="395"/>
                    </a:lnTo>
                    <a:lnTo>
                      <a:pt x="1635" y="410"/>
                    </a:lnTo>
                    <a:lnTo>
                      <a:pt x="1641" y="414"/>
                    </a:lnTo>
                    <a:lnTo>
                      <a:pt x="1644" y="423"/>
                    </a:lnTo>
                    <a:lnTo>
                      <a:pt x="1653" y="431"/>
                    </a:lnTo>
                    <a:lnTo>
                      <a:pt x="1662" y="441"/>
                    </a:lnTo>
                    <a:lnTo>
                      <a:pt x="1678" y="441"/>
                    </a:lnTo>
                    <a:lnTo>
                      <a:pt x="1687" y="437"/>
                    </a:lnTo>
                    <a:lnTo>
                      <a:pt x="1704" y="432"/>
                    </a:lnTo>
                    <a:lnTo>
                      <a:pt x="1707" y="443"/>
                    </a:lnTo>
                    <a:lnTo>
                      <a:pt x="1732" y="464"/>
                    </a:lnTo>
                    <a:lnTo>
                      <a:pt x="1749" y="468"/>
                    </a:lnTo>
                    <a:lnTo>
                      <a:pt x="1779" y="473"/>
                    </a:lnTo>
                    <a:lnTo>
                      <a:pt x="1797" y="488"/>
                    </a:lnTo>
                    <a:lnTo>
                      <a:pt x="1804" y="498"/>
                    </a:lnTo>
                    <a:lnTo>
                      <a:pt x="1798" y="503"/>
                    </a:lnTo>
                    <a:lnTo>
                      <a:pt x="1779" y="507"/>
                    </a:lnTo>
                    <a:lnTo>
                      <a:pt x="1752" y="512"/>
                    </a:lnTo>
                    <a:lnTo>
                      <a:pt x="1747" y="525"/>
                    </a:lnTo>
                    <a:lnTo>
                      <a:pt x="1735" y="537"/>
                    </a:lnTo>
                    <a:lnTo>
                      <a:pt x="1722" y="540"/>
                    </a:lnTo>
                    <a:lnTo>
                      <a:pt x="1717" y="548"/>
                    </a:lnTo>
                    <a:lnTo>
                      <a:pt x="1731" y="551"/>
                    </a:lnTo>
                    <a:lnTo>
                      <a:pt x="1740" y="557"/>
                    </a:lnTo>
                    <a:lnTo>
                      <a:pt x="1708" y="570"/>
                    </a:lnTo>
                    <a:lnTo>
                      <a:pt x="1707" y="582"/>
                    </a:lnTo>
                    <a:lnTo>
                      <a:pt x="1701" y="587"/>
                    </a:lnTo>
                    <a:lnTo>
                      <a:pt x="1701" y="606"/>
                    </a:lnTo>
                    <a:lnTo>
                      <a:pt x="1701" y="614"/>
                    </a:lnTo>
                    <a:lnTo>
                      <a:pt x="1716" y="621"/>
                    </a:lnTo>
                    <a:lnTo>
                      <a:pt x="1729" y="626"/>
                    </a:lnTo>
                    <a:lnTo>
                      <a:pt x="1740" y="627"/>
                    </a:lnTo>
                    <a:lnTo>
                      <a:pt x="1738" y="639"/>
                    </a:lnTo>
                    <a:lnTo>
                      <a:pt x="1737" y="651"/>
                    </a:lnTo>
                    <a:lnTo>
                      <a:pt x="1735" y="665"/>
                    </a:lnTo>
                    <a:lnTo>
                      <a:pt x="1728" y="683"/>
                    </a:lnTo>
                    <a:lnTo>
                      <a:pt x="1737" y="692"/>
                    </a:lnTo>
                    <a:lnTo>
                      <a:pt x="1743" y="707"/>
                    </a:lnTo>
                    <a:lnTo>
                      <a:pt x="1747" y="717"/>
                    </a:lnTo>
                    <a:lnTo>
                      <a:pt x="1749" y="729"/>
                    </a:lnTo>
                    <a:lnTo>
                      <a:pt x="1746" y="734"/>
                    </a:lnTo>
                    <a:lnTo>
                      <a:pt x="1729" y="735"/>
                    </a:lnTo>
                    <a:lnTo>
                      <a:pt x="1722" y="738"/>
                    </a:lnTo>
                    <a:lnTo>
                      <a:pt x="1722" y="755"/>
                    </a:lnTo>
                    <a:lnTo>
                      <a:pt x="1722" y="780"/>
                    </a:lnTo>
                    <a:lnTo>
                      <a:pt x="1711" y="782"/>
                    </a:lnTo>
                    <a:lnTo>
                      <a:pt x="1705" y="774"/>
                    </a:lnTo>
                    <a:lnTo>
                      <a:pt x="1698" y="762"/>
                    </a:lnTo>
                    <a:lnTo>
                      <a:pt x="1684" y="771"/>
                    </a:lnTo>
                    <a:lnTo>
                      <a:pt x="1678" y="779"/>
                    </a:lnTo>
                    <a:lnTo>
                      <a:pt x="1678" y="818"/>
                    </a:lnTo>
                    <a:lnTo>
                      <a:pt x="1690" y="839"/>
                    </a:lnTo>
                    <a:lnTo>
                      <a:pt x="1683" y="849"/>
                    </a:lnTo>
                    <a:lnTo>
                      <a:pt x="1677" y="855"/>
                    </a:lnTo>
                    <a:lnTo>
                      <a:pt x="1665" y="866"/>
                    </a:lnTo>
                    <a:lnTo>
                      <a:pt x="1663" y="876"/>
                    </a:lnTo>
                    <a:lnTo>
                      <a:pt x="1659" y="882"/>
                    </a:lnTo>
                    <a:lnTo>
                      <a:pt x="1650" y="893"/>
                    </a:lnTo>
                    <a:lnTo>
                      <a:pt x="1642" y="894"/>
                    </a:lnTo>
                    <a:lnTo>
                      <a:pt x="1639" y="899"/>
                    </a:lnTo>
                    <a:lnTo>
                      <a:pt x="1623" y="905"/>
                    </a:lnTo>
                    <a:lnTo>
                      <a:pt x="1635" y="915"/>
                    </a:lnTo>
                    <a:lnTo>
                      <a:pt x="1627" y="929"/>
                    </a:lnTo>
                    <a:lnTo>
                      <a:pt x="1614" y="929"/>
                    </a:lnTo>
                    <a:lnTo>
                      <a:pt x="1590" y="942"/>
                    </a:lnTo>
                    <a:lnTo>
                      <a:pt x="1573" y="950"/>
                    </a:lnTo>
                    <a:lnTo>
                      <a:pt x="1564" y="968"/>
                    </a:lnTo>
                    <a:lnTo>
                      <a:pt x="1558" y="975"/>
                    </a:lnTo>
                    <a:lnTo>
                      <a:pt x="1546" y="977"/>
                    </a:lnTo>
                    <a:lnTo>
                      <a:pt x="1539" y="984"/>
                    </a:lnTo>
                    <a:lnTo>
                      <a:pt x="1537" y="987"/>
                    </a:lnTo>
                    <a:lnTo>
                      <a:pt x="1543" y="992"/>
                    </a:lnTo>
                    <a:lnTo>
                      <a:pt x="1546" y="1010"/>
                    </a:lnTo>
                    <a:lnTo>
                      <a:pt x="1561" y="1008"/>
                    </a:lnTo>
                    <a:lnTo>
                      <a:pt x="1545" y="1035"/>
                    </a:lnTo>
                    <a:lnTo>
                      <a:pt x="1531" y="1040"/>
                    </a:lnTo>
                    <a:lnTo>
                      <a:pt x="1525" y="1035"/>
                    </a:lnTo>
                    <a:lnTo>
                      <a:pt x="1516" y="1049"/>
                    </a:lnTo>
                    <a:lnTo>
                      <a:pt x="1488" y="1056"/>
                    </a:lnTo>
                    <a:lnTo>
                      <a:pt x="1464" y="1065"/>
                    </a:lnTo>
                    <a:lnTo>
                      <a:pt x="1450" y="1067"/>
                    </a:lnTo>
                    <a:lnTo>
                      <a:pt x="1443" y="1076"/>
                    </a:lnTo>
                    <a:lnTo>
                      <a:pt x="1438" y="1086"/>
                    </a:lnTo>
                    <a:lnTo>
                      <a:pt x="1437" y="1092"/>
                    </a:lnTo>
                    <a:lnTo>
                      <a:pt x="1422" y="1098"/>
                    </a:lnTo>
                    <a:lnTo>
                      <a:pt x="1411" y="1097"/>
                    </a:lnTo>
                    <a:lnTo>
                      <a:pt x="1399" y="1077"/>
                    </a:lnTo>
                    <a:lnTo>
                      <a:pt x="1390" y="1071"/>
                    </a:lnTo>
                    <a:lnTo>
                      <a:pt x="1383" y="1071"/>
                    </a:lnTo>
                    <a:lnTo>
                      <a:pt x="1371" y="1092"/>
                    </a:lnTo>
                    <a:lnTo>
                      <a:pt x="1384" y="1103"/>
                    </a:lnTo>
                    <a:lnTo>
                      <a:pt x="1390" y="1124"/>
                    </a:lnTo>
                    <a:lnTo>
                      <a:pt x="1395" y="1139"/>
                    </a:lnTo>
                    <a:lnTo>
                      <a:pt x="1381" y="1151"/>
                    </a:lnTo>
                    <a:lnTo>
                      <a:pt x="1347" y="1143"/>
                    </a:lnTo>
                    <a:lnTo>
                      <a:pt x="1341" y="1128"/>
                    </a:lnTo>
                    <a:lnTo>
                      <a:pt x="1332" y="1125"/>
                    </a:lnTo>
                    <a:lnTo>
                      <a:pt x="1288" y="1115"/>
                    </a:lnTo>
                    <a:lnTo>
                      <a:pt x="1287" y="1106"/>
                    </a:lnTo>
                    <a:lnTo>
                      <a:pt x="1281" y="1104"/>
                    </a:lnTo>
                    <a:lnTo>
                      <a:pt x="1257" y="1100"/>
                    </a:lnTo>
                    <a:close/>
                  </a:path>
                </a:pathLst>
              </a:custGeom>
              <a:no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69" name="Freeform 346">
                <a:extLst>
                  <a:ext uri="{FF2B5EF4-FFF2-40B4-BE49-F238E27FC236}">
                    <a16:creationId xmlns:a16="http://schemas.microsoft.com/office/drawing/2014/main" id="{17F908B3-E796-32CC-A304-BD2EBB0A17BC}"/>
                  </a:ext>
                </a:extLst>
              </p:cNvPr>
              <p:cNvSpPr>
                <a:spLocks/>
              </p:cNvSpPr>
              <p:nvPr/>
            </p:nvSpPr>
            <p:spPr bwMode="auto">
              <a:xfrm>
                <a:off x="3736" y="1244"/>
                <a:ext cx="801" cy="701"/>
              </a:xfrm>
              <a:custGeom>
                <a:avLst/>
                <a:gdLst>
                  <a:gd name="T0" fmla="*/ 0 w 2404"/>
                  <a:gd name="T1" fmla="*/ 0 h 2103"/>
                  <a:gd name="T2" fmla="*/ 0 w 2404"/>
                  <a:gd name="T3" fmla="*/ 0 h 2103"/>
                  <a:gd name="T4" fmla="*/ 0 w 2404"/>
                  <a:gd name="T5" fmla="*/ 0 h 2103"/>
                  <a:gd name="T6" fmla="*/ 0 w 2404"/>
                  <a:gd name="T7" fmla="*/ 0 h 2103"/>
                  <a:gd name="T8" fmla="*/ 0 w 2404"/>
                  <a:gd name="T9" fmla="*/ 0 h 2103"/>
                  <a:gd name="T10" fmla="*/ 0 w 2404"/>
                  <a:gd name="T11" fmla="*/ 0 h 2103"/>
                  <a:gd name="T12" fmla="*/ 0 w 2404"/>
                  <a:gd name="T13" fmla="*/ 0 h 2103"/>
                  <a:gd name="T14" fmla="*/ 0 w 2404"/>
                  <a:gd name="T15" fmla="*/ 0 h 2103"/>
                  <a:gd name="T16" fmla="*/ 0 w 2404"/>
                  <a:gd name="T17" fmla="*/ 0 h 2103"/>
                  <a:gd name="T18" fmla="*/ 0 w 2404"/>
                  <a:gd name="T19" fmla="*/ 0 h 2103"/>
                  <a:gd name="T20" fmla="*/ 0 w 2404"/>
                  <a:gd name="T21" fmla="*/ 0 h 2103"/>
                  <a:gd name="T22" fmla="*/ 0 w 2404"/>
                  <a:gd name="T23" fmla="*/ 0 h 2103"/>
                  <a:gd name="T24" fmla="*/ 0 w 2404"/>
                  <a:gd name="T25" fmla="*/ 0 h 2103"/>
                  <a:gd name="T26" fmla="*/ 0 w 2404"/>
                  <a:gd name="T27" fmla="*/ 0 h 2103"/>
                  <a:gd name="T28" fmla="*/ 0 w 2404"/>
                  <a:gd name="T29" fmla="*/ 0 h 2103"/>
                  <a:gd name="T30" fmla="*/ 0 w 2404"/>
                  <a:gd name="T31" fmla="*/ 0 h 2103"/>
                  <a:gd name="T32" fmla="*/ 0 w 2404"/>
                  <a:gd name="T33" fmla="*/ 0 h 2103"/>
                  <a:gd name="T34" fmla="*/ 0 w 2404"/>
                  <a:gd name="T35" fmla="*/ 0 h 2103"/>
                  <a:gd name="T36" fmla="*/ 0 w 2404"/>
                  <a:gd name="T37" fmla="*/ 0 h 2103"/>
                  <a:gd name="T38" fmla="*/ 0 w 2404"/>
                  <a:gd name="T39" fmla="*/ 0 h 2103"/>
                  <a:gd name="T40" fmla="*/ 0 w 2404"/>
                  <a:gd name="T41" fmla="*/ 0 h 2103"/>
                  <a:gd name="T42" fmla="*/ 0 w 2404"/>
                  <a:gd name="T43" fmla="*/ 0 h 2103"/>
                  <a:gd name="T44" fmla="*/ 0 w 2404"/>
                  <a:gd name="T45" fmla="*/ 0 h 2103"/>
                  <a:gd name="T46" fmla="*/ 0 w 2404"/>
                  <a:gd name="T47" fmla="*/ 0 h 2103"/>
                  <a:gd name="T48" fmla="*/ 0 w 2404"/>
                  <a:gd name="T49" fmla="*/ 0 h 2103"/>
                  <a:gd name="T50" fmla="*/ 0 w 2404"/>
                  <a:gd name="T51" fmla="*/ 0 h 2103"/>
                  <a:gd name="T52" fmla="*/ 0 w 2404"/>
                  <a:gd name="T53" fmla="*/ 0 h 2103"/>
                  <a:gd name="T54" fmla="*/ 0 w 2404"/>
                  <a:gd name="T55" fmla="*/ 0 h 2103"/>
                  <a:gd name="T56" fmla="*/ 0 w 2404"/>
                  <a:gd name="T57" fmla="*/ 0 h 2103"/>
                  <a:gd name="T58" fmla="*/ 0 w 2404"/>
                  <a:gd name="T59" fmla="*/ 0 h 2103"/>
                  <a:gd name="T60" fmla="*/ 0 w 2404"/>
                  <a:gd name="T61" fmla="*/ 0 h 2103"/>
                  <a:gd name="T62" fmla="*/ 0 w 2404"/>
                  <a:gd name="T63" fmla="*/ 0 h 2103"/>
                  <a:gd name="T64" fmla="*/ 0 w 2404"/>
                  <a:gd name="T65" fmla="*/ 0 h 2103"/>
                  <a:gd name="T66" fmla="*/ 0 w 2404"/>
                  <a:gd name="T67" fmla="*/ 0 h 2103"/>
                  <a:gd name="T68" fmla="*/ 0 w 2404"/>
                  <a:gd name="T69" fmla="*/ 0 h 2103"/>
                  <a:gd name="T70" fmla="*/ 0 w 2404"/>
                  <a:gd name="T71" fmla="*/ 0 h 2103"/>
                  <a:gd name="T72" fmla="*/ 0 w 2404"/>
                  <a:gd name="T73" fmla="*/ 0 h 2103"/>
                  <a:gd name="T74" fmla="*/ 0 w 2404"/>
                  <a:gd name="T75" fmla="*/ 0 h 2103"/>
                  <a:gd name="T76" fmla="*/ 0 w 2404"/>
                  <a:gd name="T77" fmla="*/ 0 h 2103"/>
                  <a:gd name="T78" fmla="*/ 0 w 2404"/>
                  <a:gd name="T79" fmla="*/ 0 h 2103"/>
                  <a:gd name="T80" fmla="*/ 0 w 2404"/>
                  <a:gd name="T81" fmla="*/ 0 h 2103"/>
                  <a:gd name="T82" fmla="*/ 0 w 2404"/>
                  <a:gd name="T83" fmla="*/ 0 h 2103"/>
                  <a:gd name="T84" fmla="*/ 0 w 2404"/>
                  <a:gd name="T85" fmla="*/ 0 h 2103"/>
                  <a:gd name="T86" fmla="*/ 0 w 2404"/>
                  <a:gd name="T87" fmla="*/ 0 h 2103"/>
                  <a:gd name="T88" fmla="*/ 0 w 2404"/>
                  <a:gd name="T89" fmla="*/ 0 h 2103"/>
                  <a:gd name="T90" fmla="*/ 0 w 2404"/>
                  <a:gd name="T91" fmla="*/ 0 h 2103"/>
                  <a:gd name="T92" fmla="*/ 0 w 2404"/>
                  <a:gd name="T93" fmla="*/ 0 h 2103"/>
                  <a:gd name="T94" fmla="*/ 0 w 2404"/>
                  <a:gd name="T95" fmla="*/ 0 h 2103"/>
                  <a:gd name="T96" fmla="*/ 0 w 2404"/>
                  <a:gd name="T97" fmla="*/ 0 h 2103"/>
                  <a:gd name="T98" fmla="*/ 0 w 2404"/>
                  <a:gd name="T99" fmla="*/ 0 h 2103"/>
                  <a:gd name="T100" fmla="*/ 0 w 2404"/>
                  <a:gd name="T101" fmla="*/ 0 h 2103"/>
                  <a:gd name="T102" fmla="*/ 0 w 2404"/>
                  <a:gd name="T103" fmla="*/ 0 h 2103"/>
                  <a:gd name="T104" fmla="*/ 0 w 2404"/>
                  <a:gd name="T105" fmla="*/ 0 h 2103"/>
                  <a:gd name="T106" fmla="*/ 0 w 2404"/>
                  <a:gd name="T107" fmla="*/ 0 h 2103"/>
                  <a:gd name="T108" fmla="*/ 0 w 2404"/>
                  <a:gd name="T109" fmla="*/ 0 h 2103"/>
                  <a:gd name="T110" fmla="*/ 0 w 2404"/>
                  <a:gd name="T111" fmla="*/ 0 h 2103"/>
                  <a:gd name="T112" fmla="*/ 0 w 2404"/>
                  <a:gd name="T113" fmla="*/ 0 h 2103"/>
                  <a:gd name="T114" fmla="*/ 0 w 2404"/>
                  <a:gd name="T115" fmla="*/ 0 h 2103"/>
                  <a:gd name="T116" fmla="*/ 0 w 2404"/>
                  <a:gd name="T117" fmla="*/ 0 h 2103"/>
                  <a:gd name="T118" fmla="*/ 0 w 2404"/>
                  <a:gd name="T119" fmla="*/ 0 h 2103"/>
                  <a:gd name="T120" fmla="*/ 0 w 2404"/>
                  <a:gd name="T121" fmla="*/ 0 h 2103"/>
                  <a:gd name="T122" fmla="*/ 0 w 2404"/>
                  <a:gd name="T123" fmla="*/ 0 h 210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04" h="2103">
                    <a:moveTo>
                      <a:pt x="1995" y="1289"/>
                    </a:moveTo>
                    <a:lnTo>
                      <a:pt x="2011" y="1292"/>
                    </a:lnTo>
                    <a:lnTo>
                      <a:pt x="2014" y="1295"/>
                    </a:lnTo>
                    <a:lnTo>
                      <a:pt x="2020" y="1290"/>
                    </a:lnTo>
                    <a:lnTo>
                      <a:pt x="2028" y="1269"/>
                    </a:lnTo>
                    <a:lnTo>
                      <a:pt x="2035" y="1259"/>
                    </a:lnTo>
                    <a:lnTo>
                      <a:pt x="2044" y="1257"/>
                    </a:lnTo>
                    <a:lnTo>
                      <a:pt x="2056" y="1271"/>
                    </a:lnTo>
                    <a:lnTo>
                      <a:pt x="2070" y="1283"/>
                    </a:lnTo>
                    <a:lnTo>
                      <a:pt x="2079" y="1290"/>
                    </a:lnTo>
                    <a:lnTo>
                      <a:pt x="2085" y="1319"/>
                    </a:lnTo>
                    <a:lnTo>
                      <a:pt x="2079" y="1335"/>
                    </a:lnTo>
                    <a:lnTo>
                      <a:pt x="2091" y="1340"/>
                    </a:lnTo>
                    <a:lnTo>
                      <a:pt x="2092" y="1350"/>
                    </a:lnTo>
                    <a:lnTo>
                      <a:pt x="2092" y="1359"/>
                    </a:lnTo>
                    <a:lnTo>
                      <a:pt x="2089" y="1370"/>
                    </a:lnTo>
                    <a:lnTo>
                      <a:pt x="2086" y="1380"/>
                    </a:lnTo>
                    <a:lnTo>
                      <a:pt x="2079" y="1380"/>
                    </a:lnTo>
                    <a:lnTo>
                      <a:pt x="2073" y="1385"/>
                    </a:lnTo>
                    <a:lnTo>
                      <a:pt x="2064" y="1404"/>
                    </a:lnTo>
                    <a:lnTo>
                      <a:pt x="2056" y="1416"/>
                    </a:lnTo>
                    <a:lnTo>
                      <a:pt x="2047" y="1418"/>
                    </a:lnTo>
                    <a:lnTo>
                      <a:pt x="2049" y="1410"/>
                    </a:lnTo>
                    <a:lnTo>
                      <a:pt x="2037" y="1409"/>
                    </a:lnTo>
                    <a:lnTo>
                      <a:pt x="2026" y="1415"/>
                    </a:lnTo>
                    <a:lnTo>
                      <a:pt x="2020" y="1422"/>
                    </a:lnTo>
                    <a:lnTo>
                      <a:pt x="2019" y="1430"/>
                    </a:lnTo>
                    <a:lnTo>
                      <a:pt x="2020" y="1434"/>
                    </a:lnTo>
                    <a:lnTo>
                      <a:pt x="2026" y="1436"/>
                    </a:lnTo>
                    <a:lnTo>
                      <a:pt x="2028" y="1437"/>
                    </a:lnTo>
                    <a:lnTo>
                      <a:pt x="2016" y="1446"/>
                    </a:lnTo>
                    <a:lnTo>
                      <a:pt x="1998" y="1445"/>
                    </a:lnTo>
                    <a:lnTo>
                      <a:pt x="1998" y="1451"/>
                    </a:lnTo>
                    <a:lnTo>
                      <a:pt x="2007" y="1460"/>
                    </a:lnTo>
                    <a:lnTo>
                      <a:pt x="2017" y="1466"/>
                    </a:lnTo>
                    <a:lnTo>
                      <a:pt x="2034" y="1457"/>
                    </a:lnTo>
                    <a:lnTo>
                      <a:pt x="2037" y="1458"/>
                    </a:lnTo>
                    <a:lnTo>
                      <a:pt x="2040" y="1467"/>
                    </a:lnTo>
                    <a:lnTo>
                      <a:pt x="2052" y="1472"/>
                    </a:lnTo>
                    <a:lnTo>
                      <a:pt x="2046" y="1488"/>
                    </a:lnTo>
                    <a:lnTo>
                      <a:pt x="2046" y="1494"/>
                    </a:lnTo>
                    <a:lnTo>
                      <a:pt x="2049" y="1505"/>
                    </a:lnTo>
                    <a:lnTo>
                      <a:pt x="2056" y="1520"/>
                    </a:lnTo>
                    <a:lnTo>
                      <a:pt x="2053" y="1524"/>
                    </a:lnTo>
                    <a:lnTo>
                      <a:pt x="2047" y="1529"/>
                    </a:lnTo>
                    <a:lnTo>
                      <a:pt x="2056" y="1539"/>
                    </a:lnTo>
                    <a:lnTo>
                      <a:pt x="2067" y="1544"/>
                    </a:lnTo>
                    <a:lnTo>
                      <a:pt x="2073" y="1544"/>
                    </a:lnTo>
                    <a:lnTo>
                      <a:pt x="2080" y="1536"/>
                    </a:lnTo>
                    <a:lnTo>
                      <a:pt x="2092" y="1545"/>
                    </a:lnTo>
                    <a:lnTo>
                      <a:pt x="2091" y="1556"/>
                    </a:lnTo>
                    <a:lnTo>
                      <a:pt x="2086" y="1563"/>
                    </a:lnTo>
                    <a:lnTo>
                      <a:pt x="2088" y="1572"/>
                    </a:lnTo>
                    <a:lnTo>
                      <a:pt x="2089" y="1578"/>
                    </a:lnTo>
                    <a:lnTo>
                      <a:pt x="2091" y="1590"/>
                    </a:lnTo>
                    <a:lnTo>
                      <a:pt x="2088" y="1604"/>
                    </a:lnTo>
                    <a:lnTo>
                      <a:pt x="2077" y="1605"/>
                    </a:lnTo>
                    <a:lnTo>
                      <a:pt x="2073" y="1625"/>
                    </a:lnTo>
                    <a:lnTo>
                      <a:pt x="2079" y="1629"/>
                    </a:lnTo>
                    <a:lnTo>
                      <a:pt x="2091" y="1629"/>
                    </a:lnTo>
                    <a:lnTo>
                      <a:pt x="2097" y="1631"/>
                    </a:lnTo>
                    <a:lnTo>
                      <a:pt x="2110" y="1640"/>
                    </a:lnTo>
                    <a:lnTo>
                      <a:pt x="2106" y="1650"/>
                    </a:lnTo>
                    <a:lnTo>
                      <a:pt x="2104" y="1661"/>
                    </a:lnTo>
                    <a:lnTo>
                      <a:pt x="2089" y="1656"/>
                    </a:lnTo>
                    <a:lnTo>
                      <a:pt x="2091" y="1680"/>
                    </a:lnTo>
                    <a:lnTo>
                      <a:pt x="2083" y="1694"/>
                    </a:lnTo>
                    <a:lnTo>
                      <a:pt x="2089" y="1701"/>
                    </a:lnTo>
                    <a:lnTo>
                      <a:pt x="2086" y="1715"/>
                    </a:lnTo>
                    <a:lnTo>
                      <a:pt x="2077" y="1724"/>
                    </a:lnTo>
                    <a:lnTo>
                      <a:pt x="2083" y="1739"/>
                    </a:lnTo>
                    <a:lnTo>
                      <a:pt x="2077" y="1740"/>
                    </a:lnTo>
                    <a:lnTo>
                      <a:pt x="2079" y="1745"/>
                    </a:lnTo>
                    <a:lnTo>
                      <a:pt x="2074" y="1751"/>
                    </a:lnTo>
                    <a:lnTo>
                      <a:pt x="2061" y="1754"/>
                    </a:lnTo>
                    <a:lnTo>
                      <a:pt x="2056" y="1760"/>
                    </a:lnTo>
                    <a:lnTo>
                      <a:pt x="2065" y="1767"/>
                    </a:lnTo>
                    <a:lnTo>
                      <a:pt x="2068" y="1773"/>
                    </a:lnTo>
                    <a:lnTo>
                      <a:pt x="2062" y="1797"/>
                    </a:lnTo>
                    <a:lnTo>
                      <a:pt x="2062" y="1805"/>
                    </a:lnTo>
                    <a:lnTo>
                      <a:pt x="2055" y="1808"/>
                    </a:lnTo>
                    <a:lnTo>
                      <a:pt x="2050" y="1812"/>
                    </a:lnTo>
                    <a:lnTo>
                      <a:pt x="2052" y="1826"/>
                    </a:lnTo>
                    <a:lnTo>
                      <a:pt x="2046" y="1827"/>
                    </a:lnTo>
                    <a:lnTo>
                      <a:pt x="2043" y="1833"/>
                    </a:lnTo>
                    <a:lnTo>
                      <a:pt x="2035" y="1835"/>
                    </a:lnTo>
                    <a:lnTo>
                      <a:pt x="2032" y="1841"/>
                    </a:lnTo>
                    <a:lnTo>
                      <a:pt x="2028" y="1844"/>
                    </a:lnTo>
                    <a:lnTo>
                      <a:pt x="2029" y="1851"/>
                    </a:lnTo>
                    <a:lnTo>
                      <a:pt x="2028" y="1862"/>
                    </a:lnTo>
                    <a:lnTo>
                      <a:pt x="2022" y="1866"/>
                    </a:lnTo>
                    <a:lnTo>
                      <a:pt x="2019" y="1869"/>
                    </a:lnTo>
                    <a:lnTo>
                      <a:pt x="2020" y="1880"/>
                    </a:lnTo>
                    <a:lnTo>
                      <a:pt x="2016" y="1883"/>
                    </a:lnTo>
                    <a:lnTo>
                      <a:pt x="2013" y="1886"/>
                    </a:lnTo>
                    <a:lnTo>
                      <a:pt x="2013" y="1892"/>
                    </a:lnTo>
                    <a:lnTo>
                      <a:pt x="2005" y="1899"/>
                    </a:lnTo>
                    <a:lnTo>
                      <a:pt x="1992" y="1899"/>
                    </a:lnTo>
                    <a:lnTo>
                      <a:pt x="1989" y="1898"/>
                    </a:lnTo>
                    <a:lnTo>
                      <a:pt x="1984" y="1901"/>
                    </a:lnTo>
                    <a:lnTo>
                      <a:pt x="1975" y="1904"/>
                    </a:lnTo>
                    <a:lnTo>
                      <a:pt x="1971" y="1901"/>
                    </a:lnTo>
                    <a:lnTo>
                      <a:pt x="1960" y="1905"/>
                    </a:lnTo>
                    <a:lnTo>
                      <a:pt x="1953" y="1916"/>
                    </a:lnTo>
                    <a:lnTo>
                      <a:pt x="1951" y="1925"/>
                    </a:lnTo>
                    <a:lnTo>
                      <a:pt x="1947" y="1919"/>
                    </a:lnTo>
                    <a:lnTo>
                      <a:pt x="1939" y="1923"/>
                    </a:lnTo>
                    <a:lnTo>
                      <a:pt x="1939" y="1929"/>
                    </a:lnTo>
                    <a:lnTo>
                      <a:pt x="1930" y="1934"/>
                    </a:lnTo>
                    <a:lnTo>
                      <a:pt x="1927" y="1944"/>
                    </a:lnTo>
                    <a:lnTo>
                      <a:pt x="1924" y="1949"/>
                    </a:lnTo>
                    <a:lnTo>
                      <a:pt x="1923" y="1955"/>
                    </a:lnTo>
                    <a:lnTo>
                      <a:pt x="1921" y="1959"/>
                    </a:lnTo>
                    <a:lnTo>
                      <a:pt x="1932" y="1965"/>
                    </a:lnTo>
                    <a:lnTo>
                      <a:pt x="1935" y="1965"/>
                    </a:lnTo>
                    <a:lnTo>
                      <a:pt x="1956" y="1973"/>
                    </a:lnTo>
                    <a:lnTo>
                      <a:pt x="1956" y="1977"/>
                    </a:lnTo>
                    <a:lnTo>
                      <a:pt x="1945" y="1977"/>
                    </a:lnTo>
                    <a:lnTo>
                      <a:pt x="1945" y="1982"/>
                    </a:lnTo>
                    <a:lnTo>
                      <a:pt x="1942" y="1988"/>
                    </a:lnTo>
                    <a:lnTo>
                      <a:pt x="1935" y="1988"/>
                    </a:lnTo>
                    <a:lnTo>
                      <a:pt x="1924" y="1992"/>
                    </a:lnTo>
                    <a:lnTo>
                      <a:pt x="1915" y="2004"/>
                    </a:lnTo>
                    <a:lnTo>
                      <a:pt x="1911" y="2009"/>
                    </a:lnTo>
                    <a:lnTo>
                      <a:pt x="1908" y="2010"/>
                    </a:lnTo>
                    <a:lnTo>
                      <a:pt x="1902" y="2013"/>
                    </a:lnTo>
                    <a:lnTo>
                      <a:pt x="1884" y="2003"/>
                    </a:lnTo>
                    <a:lnTo>
                      <a:pt x="1875" y="2009"/>
                    </a:lnTo>
                    <a:lnTo>
                      <a:pt x="1867" y="2007"/>
                    </a:lnTo>
                    <a:lnTo>
                      <a:pt x="1861" y="2010"/>
                    </a:lnTo>
                    <a:lnTo>
                      <a:pt x="1861" y="2021"/>
                    </a:lnTo>
                    <a:lnTo>
                      <a:pt x="1858" y="2025"/>
                    </a:lnTo>
                    <a:lnTo>
                      <a:pt x="1852" y="2025"/>
                    </a:lnTo>
                    <a:lnTo>
                      <a:pt x="1845" y="2024"/>
                    </a:lnTo>
                    <a:lnTo>
                      <a:pt x="1839" y="2028"/>
                    </a:lnTo>
                    <a:lnTo>
                      <a:pt x="1822" y="2031"/>
                    </a:lnTo>
                    <a:lnTo>
                      <a:pt x="1804" y="2031"/>
                    </a:lnTo>
                    <a:lnTo>
                      <a:pt x="1800" y="2034"/>
                    </a:lnTo>
                    <a:lnTo>
                      <a:pt x="1795" y="2037"/>
                    </a:lnTo>
                    <a:lnTo>
                      <a:pt x="1791" y="2048"/>
                    </a:lnTo>
                    <a:lnTo>
                      <a:pt x="1792" y="2049"/>
                    </a:lnTo>
                    <a:lnTo>
                      <a:pt x="1783" y="2051"/>
                    </a:lnTo>
                    <a:lnTo>
                      <a:pt x="1782" y="2046"/>
                    </a:lnTo>
                    <a:lnTo>
                      <a:pt x="1779" y="2037"/>
                    </a:lnTo>
                    <a:lnTo>
                      <a:pt x="1774" y="2033"/>
                    </a:lnTo>
                    <a:lnTo>
                      <a:pt x="1764" y="2033"/>
                    </a:lnTo>
                    <a:lnTo>
                      <a:pt x="1762" y="2027"/>
                    </a:lnTo>
                    <a:lnTo>
                      <a:pt x="1758" y="2022"/>
                    </a:lnTo>
                    <a:lnTo>
                      <a:pt x="1752" y="2015"/>
                    </a:lnTo>
                    <a:lnTo>
                      <a:pt x="1747" y="2009"/>
                    </a:lnTo>
                    <a:lnTo>
                      <a:pt x="1737" y="2006"/>
                    </a:lnTo>
                    <a:lnTo>
                      <a:pt x="1725" y="2009"/>
                    </a:lnTo>
                    <a:lnTo>
                      <a:pt x="1719" y="2018"/>
                    </a:lnTo>
                    <a:lnTo>
                      <a:pt x="1707" y="2021"/>
                    </a:lnTo>
                    <a:lnTo>
                      <a:pt x="1699" y="2031"/>
                    </a:lnTo>
                    <a:lnTo>
                      <a:pt x="1692" y="2031"/>
                    </a:lnTo>
                    <a:lnTo>
                      <a:pt x="1681" y="2030"/>
                    </a:lnTo>
                    <a:lnTo>
                      <a:pt x="1672" y="2025"/>
                    </a:lnTo>
                    <a:lnTo>
                      <a:pt x="1648" y="2021"/>
                    </a:lnTo>
                    <a:lnTo>
                      <a:pt x="1639" y="2021"/>
                    </a:lnTo>
                    <a:lnTo>
                      <a:pt x="1630" y="2019"/>
                    </a:lnTo>
                    <a:lnTo>
                      <a:pt x="1621" y="2022"/>
                    </a:lnTo>
                    <a:lnTo>
                      <a:pt x="1620" y="2042"/>
                    </a:lnTo>
                    <a:lnTo>
                      <a:pt x="1615" y="2042"/>
                    </a:lnTo>
                    <a:lnTo>
                      <a:pt x="1608" y="2045"/>
                    </a:lnTo>
                    <a:lnTo>
                      <a:pt x="1602" y="2051"/>
                    </a:lnTo>
                    <a:lnTo>
                      <a:pt x="1567" y="2055"/>
                    </a:lnTo>
                    <a:lnTo>
                      <a:pt x="1554" y="2063"/>
                    </a:lnTo>
                    <a:lnTo>
                      <a:pt x="1542" y="2073"/>
                    </a:lnTo>
                    <a:lnTo>
                      <a:pt x="1527" y="2082"/>
                    </a:lnTo>
                    <a:lnTo>
                      <a:pt x="1524" y="2084"/>
                    </a:lnTo>
                    <a:lnTo>
                      <a:pt x="1507" y="2076"/>
                    </a:lnTo>
                    <a:lnTo>
                      <a:pt x="1497" y="2078"/>
                    </a:lnTo>
                    <a:lnTo>
                      <a:pt x="1491" y="2079"/>
                    </a:lnTo>
                    <a:lnTo>
                      <a:pt x="1486" y="2076"/>
                    </a:lnTo>
                    <a:lnTo>
                      <a:pt x="1480" y="2082"/>
                    </a:lnTo>
                    <a:lnTo>
                      <a:pt x="1480" y="2090"/>
                    </a:lnTo>
                    <a:lnTo>
                      <a:pt x="1479" y="2097"/>
                    </a:lnTo>
                    <a:lnTo>
                      <a:pt x="1470" y="2099"/>
                    </a:lnTo>
                    <a:lnTo>
                      <a:pt x="1462" y="2099"/>
                    </a:lnTo>
                    <a:lnTo>
                      <a:pt x="1453" y="2103"/>
                    </a:lnTo>
                    <a:lnTo>
                      <a:pt x="1446" y="2096"/>
                    </a:lnTo>
                    <a:lnTo>
                      <a:pt x="1446" y="2091"/>
                    </a:lnTo>
                    <a:lnTo>
                      <a:pt x="1443" y="2091"/>
                    </a:lnTo>
                    <a:lnTo>
                      <a:pt x="1440" y="2079"/>
                    </a:lnTo>
                    <a:lnTo>
                      <a:pt x="1446" y="2075"/>
                    </a:lnTo>
                    <a:lnTo>
                      <a:pt x="1452" y="2067"/>
                    </a:lnTo>
                    <a:lnTo>
                      <a:pt x="1447" y="2063"/>
                    </a:lnTo>
                    <a:lnTo>
                      <a:pt x="1431" y="2055"/>
                    </a:lnTo>
                    <a:lnTo>
                      <a:pt x="1407" y="2057"/>
                    </a:lnTo>
                    <a:lnTo>
                      <a:pt x="1402" y="2054"/>
                    </a:lnTo>
                    <a:lnTo>
                      <a:pt x="1395" y="2049"/>
                    </a:lnTo>
                    <a:lnTo>
                      <a:pt x="1384" y="2049"/>
                    </a:lnTo>
                    <a:lnTo>
                      <a:pt x="1378" y="2045"/>
                    </a:lnTo>
                    <a:lnTo>
                      <a:pt x="1381" y="2025"/>
                    </a:lnTo>
                    <a:lnTo>
                      <a:pt x="1377" y="2019"/>
                    </a:lnTo>
                    <a:lnTo>
                      <a:pt x="1362" y="2010"/>
                    </a:lnTo>
                    <a:lnTo>
                      <a:pt x="1363" y="2000"/>
                    </a:lnTo>
                    <a:lnTo>
                      <a:pt x="1360" y="1997"/>
                    </a:lnTo>
                    <a:lnTo>
                      <a:pt x="1350" y="1997"/>
                    </a:lnTo>
                    <a:lnTo>
                      <a:pt x="1348" y="1992"/>
                    </a:lnTo>
                    <a:lnTo>
                      <a:pt x="1351" y="1980"/>
                    </a:lnTo>
                    <a:lnTo>
                      <a:pt x="1351" y="1970"/>
                    </a:lnTo>
                    <a:lnTo>
                      <a:pt x="1348" y="1967"/>
                    </a:lnTo>
                    <a:lnTo>
                      <a:pt x="1332" y="1973"/>
                    </a:lnTo>
                    <a:lnTo>
                      <a:pt x="1315" y="1977"/>
                    </a:lnTo>
                    <a:lnTo>
                      <a:pt x="1309" y="1970"/>
                    </a:lnTo>
                    <a:lnTo>
                      <a:pt x="1305" y="1959"/>
                    </a:lnTo>
                    <a:lnTo>
                      <a:pt x="1302" y="1952"/>
                    </a:lnTo>
                    <a:lnTo>
                      <a:pt x="1294" y="1949"/>
                    </a:lnTo>
                    <a:lnTo>
                      <a:pt x="1281" y="1953"/>
                    </a:lnTo>
                    <a:lnTo>
                      <a:pt x="1273" y="1946"/>
                    </a:lnTo>
                    <a:lnTo>
                      <a:pt x="1269" y="1941"/>
                    </a:lnTo>
                    <a:lnTo>
                      <a:pt x="1255" y="1943"/>
                    </a:lnTo>
                    <a:lnTo>
                      <a:pt x="1245" y="1937"/>
                    </a:lnTo>
                    <a:lnTo>
                      <a:pt x="1233" y="1932"/>
                    </a:lnTo>
                    <a:lnTo>
                      <a:pt x="1233" y="1917"/>
                    </a:lnTo>
                    <a:lnTo>
                      <a:pt x="1236" y="1901"/>
                    </a:lnTo>
                    <a:lnTo>
                      <a:pt x="1230" y="1896"/>
                    </a:lnTo>
                    <a:lnTo>
                      <a:pt x="1207" y="1898"/>
                    </a:lnTo>
                    <a:lnTo>
                      <a:pt x="1195" y="1916"/>
                    </a:lnTo>
                    <a:lnTo>
                      <a:pt x="1186" y="1913"/>
                    </a:lnTo>
                    <a:lnTo>
                      <a:pt x="1183" y="1905"/>
                    </a:lnTo>
                    <a:lnTo>
                      <a:pt x="1188" y="1887"/>
                    </a:lnTo>
                    <a:lnTo>
                      <a:pt x="1188" y="1874"/>
                    </a:lnTo>
                    <a:lnTo>
                      <a:pt x="1180" y="1874"/>
                    </a:lnTo>
                    <a:lnTo>
                      <a:pt x="1156" y="1871"/>
                    </a:lnTo>
                    <a:lnTo>
                      <a:pt x="1149" y="1866"/>
                    </a:lnTo>
                    <a:lnTo>
                      <a:pt x="1146" y="1860"/>
                    </a:lnTo>
                    <a:lnTo>
                      <a:pt x="1131" y="1866"/>
                    </a:lnTo>
                    <a:lnTo>
                      <a:pt x="1122" y="1865"/>
                    </a:lnTo>
                    <a:lnTo>
                      <a:pt x="1113" y="1857"/>
                    </a:lnTo>
                    <a:lnTo>
                      <a:pt x="1105" y="1844"/>
                    </a:lnTo>
                    <a:lnTo>
                      <a:pt x="1104" y="1823"/>
                    </a:lnTo>
                    <a:lnTo>
                      <a:pt x="1101" y="1821"/>
                    </a:lnTo>
                    <a:lnTo>
                      <a:pt x="1096" y="1824"/>
                    </a:lnTo>
                    <a:lnTo>
                      <a:pt x="1092" y="1824"/>
                    </a:lnTo>
                    <a:lnTo>
                      <a:pt x="1086" y="1824"/>
                    </a:lnTo>
                    <a:lnTo>
                      <a:pt x="1081" y="1815"/>
                    </a:lnTo>
                    <a:lnTo>
                      <a:pt x="1077" y="1812"/>
                    </a:lnTo>
                    <a:lnTo>
                      <a:pt x="1078" y="1799"/>
                    </a:lnTo>
                    <a:lnTo>
                      <a:pt x="1078" y="1790"/>
                    </a:lnTo>
                    <a:lnTo>
                      <a:pt x="1096" y="1773"/>
                    </a:lnTo>
                    <a:lnTo>
                      <a:pt x="1093" y="1761"/>
                    </a:lnTo>
                    <a:lnTo>
                      <a:pt x="1084" y="1740"/>
                    </a:lnTo>
                    <a:lnTo>
                      <a:pt x="1063" y="1724"/>
                    </a:lnTo>
                    <a:lnTo>
                      <a:pt x="1063" y="1707"/>
                    </a:lnTo>
                    <a:lnTo>
                      <a:pt x="1051" y="1700"/>
                    </a:lnTo>
                    <a:lnTo>
                      <a:pt x="1038" y="1713"/>
                    </a:lnTo>
                    <a:lnTo>
                      <a:pt x="1030" y="1721"/>
                    </a:lnTo>
                    <a:lnTo>
                      <a:pt x="1017" y="1715"/>
                    </a:lnTo>
                    <a:lnTo>
                      <a:pt x="1012" y="1698"/>
                    </a:lnTo>
                    <a:lnTo>
                      <a:pt x="1009" y="1677"/>
                    </a:lnTo>
                    <a:lnTo>
                      <a:pt x="1008" y="1658"/>
                    </a:lnTo>
                    <a:lnTo>
                      <a:pt x="1020" y="1644"/>
                    </a:lnTo>
                    <a:lnTo>
                      <a:pt x="1015" y="1643"/>
                    </a:lnTo>
                    <a:lnTo>
                      <a:pt x="1011" y="1640"/>
                    </a:lnTo>
                    <a:lnTo>
                      <a:pt x="1020" y="1625"/>
                    </a:lnTo>
                    <a:lnTo>
                      <a:pt x="1017" y="1616"/>
                    </a:lnTo>
                    <a:lnTo>
                      <a:pt x="1015" y="1601"/>
                    </a:lnTo>
                    <a:lnTo>
                      <a:pt x="1026" y="1577"/>
                    </a:lnTo>
                    <a:lnTo>
                      <a:pt x="1015" y="1575"/>
                    </a:lnTo>
                    <a:lnTo>
                      <a:pt x="1000" y="1607"/>
                    </a:lnTo>
                    <a:lnTo>
                      <a:pt x="987" y="1605"/>
                    </a:lnTo>
                    <a:lnTo>
                      <a:pt x="963" y="1599"/>
                    </a:lnTo>
                    <a:lnTo>
                      <a:pt x="945" y="1598"/>
                    </a:lnTo>
                    <a:lnTo>
                      <a:pt x="942" y="1608"/>
                    </a:lnTo>
                    <a:lnTo>
                      <a:pt x="936" y="1613"/>
                    </a:lnTo>
                    <a:lnTo>
                      <a:pt x="933" y="1623"/>
                    </a:lnTo>
                    <a:lnTo>
                      <a:pt x="930" y="1628"/>
                    </a:lnTo>
                    <a:lnTo>
                      <a:pt x="912" y="1623"/>
                    </a:lnTo>
                    <a:lnTo>
                      <a:pt x="898" y="1611"/>
                    </a:lnTo>
                    <a:lnTo>
                      <a:pt x="888" y="1590"/>
                    </a:lnTo>
                    <a:lnTo>
                      <a:pt x="885" y="1565"/>
                    </a:lnTo>
                    <a:lnTo>
                      <a:pt x="892" y="1557"/>
                    </a:lnTo>
                    <a:lnTo>
                      <a:pt x="876" y="1539"/>
                    </a:lnTo>
                    <a:lnTo>
                      <a:pt x="867" y="1538"/>
                    </a:lnTo>
                    <a:lnTo>
                      <a:pt x="865" y="1548"/>
                    </a:lnTo>
                    <a:lnTo>
                      <a:pt x="859" y="1548"/>
                    </a:lnTo>
                    <a:lnTo>
                      <a:pt x="840" y="1547"/>
                    </a:lnTo>
                    <a:lnTo>
                      <a:pt x="820" y="1563"/>
                    </a:lnTo>
                    <a:lnTo>
                      <a:pt x="813" y="1566"/>
                    </a:lnTo>
                    <a:lnTo>
                      <a:pt x="805" y="1557"/>
                    </a:lnTo>
                    <a:lnTo>
                      <a:pt x="802" y="1539"/>
                    </a:lnTo>
                    <a:lnTo>
                      <a:pt x="828" y="1520"/>
                    </a:lnTo>
                    <a:lnTo>
                      <a:pt x="834" y="1502"/>
                    </a:lnTo>
                    <a:lnTo>
                      <a:pt x="826" y="1500"/>
                    </a:lnTo>
                    <a:lnTo>
                      <a:pt x="816" y="1494"/>
                    </a:lnTo>
                    <a:lnTo>
                      <a:pt x="799" y="1485"/>
                    </a:lnTo>
                    <a:lnTo>
                      <a:pt x="795" y="1490"/>
                    </a:lnTo>
                    <a:lnTo>
                      <a:pt x="795" y="1497"/>
                    </a:lnTo>
                    <a:lnTo>
                      <a:pt x="790" y="1503"/>
                    </a:lnTo>
                    <a:lnTo>
                      <a:pt x="795" y="1514"/>
                    </a:lnTo>
                    <a:lnTo>
                      <a:pt x="786" y="1521"/>
                    </a:lnTo>
                    <a:lnTo>
                      <a:pt x="777" y="1520"/>
                    </a:lnTo>
                    <a:lnTo>
                      <a:pt x="769" y="1526"/>
                    </a:lnTo>
                    <a:lnTo>
                      <a:pt x="774" y="1538"/>
                    </a:lnTo>
                    <a:lnTo>
                      <a:pt x="769" y="1547"/>
                    </a:lnTo>
                    <a:lnTo>
                      <a:pt x="762" y="1548"/>
                    </a:lnTo>
                    <a:lnTo>
                      <a:pt x="751" y="1538"/>
                    </a:lnTo>
                    <a:lnTo>
                      <a:pt x="739" y="1536"/>
                    </a:lnTo>
                    <a:lnTo>
                      <a:pt x="732" y="1521"/>
                    </a:lnTo>
                    <a:lnTo>
                      <a:pt x="720" y="1526"/>
                    </a:lnTo>
                    <a:lnTo>
                      <a:pt x="706" y="1530"/>
                    </a:lnTo>
                    <a:lnTo>
                      <a:pt x="697" y="1530"/>
                    </a:lnTo>
                    <a:lnTo>
                      <a:pt x="685" y="1520"/>
                    </a:lnTo>
                    <a:lnTo>
                      <a:pt x="685" y="1517"/>
                    </a:lnTo>
                    <a:lnTo>
                      <a:pt x="684" y="1506"/>
                    </a:lnTo>
                    <a:lnTo>
                      <a:pt x="673" y="1494"/>
                    </a:lnTo>
                    <a:lnTo>
                      <a:pt x="663" y="1488"/>
                    </a:lnTo>
                    <a:lnTo>
                      <a:pt x="655" y="1484"/>
                    </a:lnTo>
                    <a:lnTo>
                      <a:pt x="657" y="1478"/>
                    </a:lnTo>
                    <a:lnTo>
                      <a:pt x="655" y="1472"/>
                    </a:lnTo>
                    <a:lnTo>
                      <a:pt x="649" y="1467"/>
                    </a:lnTo>
                    <a:lnTo>
                      <a:pt x="643" y="1470"/>
                    </a:lnTo>
                    <a:lnTo>
                      <a:pt x="636" y="1469"/>
                    </a:lnTo>
                    <a:lnTo>
                      <a:pt x="619" y="1458"/>
                    </a:lnTo>
                    <a:lnTo>
                      <a:pt x="615" y="1458"/>
                    </a:lnTo>
                    <a:lnTo>
                      <a:pt x="609" y="1457"/>
                    </a:lnTo>
                    <a:lnTo>
                      <a:pt x="606" y="1448"/>
                    </a:lnTo>
                    <a:lnTo>
                      <a:pt x="600" y="1448"/>
                    </a:lnTo>
                    <a:lnTo>
                      <a:pt x="592" y="1457"/>
                    </a:lnTo>
                    <a:lnTo>
                      <a:pt x="586" y="1458"/>
                    </a:lnTo>
                    <a:lnTo>
                      <a:pt x="582" y="1449"/>
                    </a:lnTo>
                    <a:lnTo>
                      <a:pt x="580" y="1443"/>
                    </a:lnTo>
                    <a:lnTo>
                      <a:pt x="580" y="1439"/>
                    </a:lnTo>
                    <a:lnTo>
                      <a:pt x="573" y="1415"/>
                    </a:lnTo>
                    <a:lnTo>
                      <a:pt x="558" y="1412"/>
                    </a:lnTo>
                    <a:lnTo>
                      <a:pt x="543" y="1400"/>
                    </a:lnTo>
                    <a:lnTo>
                      <a:pt x="532" y="1386"/>
                    </a:lnTo>
                    <a:lnTo>
                      <a:pt x="529" y="1383"/>
                    </a:lnTo>
                    <a:lnTo>
                      <a:pt x="522" y="1364"/>
                    </a:lnTo>
                    <a:lnTo>
                      <a:pt x="520" y="1346"/>
                    </a:lnTo>
                    <a:lnTo>
                      <a:pt x="514" y="1338"/>
                    </a:lnTo>
                    <a:lnTo>
                      <a:pt x="508" y="1340"/>
                    </a:lnTo>
                    <a:lnTo>
                      <a:pt x="505" y="1343"/>
                    </a:lnTo>
                    <a:lnTo>
                      <a:pt x="508" y="1385"/>
                    </a:lnTo>
                    <a:lnTo>
                      <a:pt x="505" y="1418"/>
                    </a:lnTo>
                    <a:lnTo>
                      <a:pt x="504" y="1421"/>
                    </a:lnTo>
                    <a:lnTo>
                      <a:pt x="496" y="1421"/>
                    </a:lnTo>
                    <a:lnTo>
                      <a:pt x="484" y="1413"/>
                    </a:lnTo>
                    <a:lnTo>
                      <a:pt x="474" y="1412"/>
                    </a:lnTo>
                    <a:lnTo>
                      <a:pt x="471" y="1410"/>
                    </a:lnTo>
                    <a:lnTo>
                      <a:pt x="466" y="1403"/>
                    </a:lnTo>
                    <a:lnTo>
                      <a:pt x="445" y="1403"/>
                    </a:lnTo>
                    <a:lnTo>
                      <a:pt x="435" y="1403"/>
                    </a:lnTo>
                    <a:lnTo>
                      <a:pt x="429" y="1403"/>
                    </a:lnTo>
                    <a:lnTo>
                      <a:pt x="427" y="1410"/>
                    </a:lnTo>
                    <a:lnTo>
                      <a:pt x="423" y="1421"/>
                    </a:lnTo>
                    <a:lnTo>
                      <a:pt x="418" y="1424"/>
                    </a:lnTo>
                    <a:lnTo>
                      <a:pt x="405" y="1424"/>
                    </a:lnTo>
                    <a:lnTo>
                      <a:pt x="397" y="1433"/>
                    </a:lnTo>
                    <a:lnTo>
                      <a:pt x="387" y="1436"/>
                    </a:lnTo>
                    <a:lnTo>
                      <a:pt x="381" y="1433"/>
                    </a:lnTo>
                    <a:lnTo>
                      <a:pt x="364" y="1419"/>
                    </a:lnTo>
                    <a:lnTo>
                      <a:pt x="352" y="1418"/>
                    </a:lnTo>
                    <a:lnTo>
                      <a:pt x="346" y="1406"/>
                    </a:lnTo>
                    <a:lnTo>
                      <a:pt x="336" y="1421"/>
                    </a:lnTo>
                    <a:lnTo>
                      <a:pt x="324" y="1416"/>
                    </a:lnTo>
                    <a:lnTo>
                      <a:pt x="315" y="1422"/>
                    </a:lnTo>
                    <a:lnTo>
                      <a:pt x="303" y="1421"/>
                    </a:lnTo>
                    <a:lnTo>
                      <a:pt x="297" y="1415"/>
                    </a:lnTo>
                    <a:lnTo>
                      <a:pt x="295" y="1409"/>
                    </a:lnTo>
                    <a:lnTo>
                      <a:pt x="283" y="1397"/>
                    </a:lnTo>
                    <a:lnTo>
                      <a:pt x="282" y="1386"/>
                    </a:lnTo>
                    <a:lnTo>
                      <a:pt x="273" y="1379"/>
                    </a:lnTo>
                    <a:lnTo>
                      <a:pt x="265" y="1379"/>
                    </a:lnTo>
                    <a:lnTo>
                      <a:pt x="258" y="1385"/>
                    </a:lnTo>
                    <a:lnTo>
                      <a:pt x="249" y="1382"/>
                    </a:lnTo>
                    <a:lnTo>
                      <a:pt x="246" y="1376"/>
                    </a:lnTo>
                    <a:lnTo>
                      <a:pt x="228" y="1365"/>
                    </a:lnTo>
                    <a:lnTo>
                      <a:pt x="228" y="1359"/>
                    </a:lnTo>
                    <a:lnTo>
                      <a:pt x="223" y="1356"/>
                    </a:lnTo>
                    <a:lnTo>
                      <a:pt x="213" y="1364"/>
                    </a:lnTo>
                    <a:lnTo>
                      <a:pt x="211" y="1359"/>
                    </a:lnTo>
                    <a:lnTo>
                      <a:pt x="207" y="1329"/>
                    </a:lnTo>
                    <a:lnTo>
                      <a:pt x="214" y="1319"/>
                    </a:lnTo>
                    <a:lnTo>
                      <a:pt x="216" y="1308"/>
                    </a:lnTo>
                    <a:lnTo>
                      <a:pt x="205" y="1304"/>
                    </a:lnTo>
                    <a:lnTo>
                      <a:pt x="189" y="1298"/>
                    </a:lnTo>
                    <a:lnTo>
                      <a:pt x="177" y="1302"/>
                    </a:lnTo>
                    <a:lnTo>
                      <a:pt x="169" y="1314"/>
                    </a:lnTo>
                    <a:lnTo>
                      <a:pt x="150" y="1322"/>
                    </a:lnTo>
                    <a:lnTo>
                      <a:pt x="138" y="1332"/>
                    </a:lnTo>
                    <a:lnTo>
                      <a:pt x="127" y="1334"/>
                    </a:lnTo>
                    <a:lnTo>
                      <a:pt x="108" y="1323"/>
                    </a:lnTo>
                    <a:lnTo>
                      <a:pt x="97" y="1325"/>
                    </a:lnTo>
                    <a:lnTo>
                      <a:pt x="85" y="1310"/>
                    </a:lnTo>
                    <a:lnTo>
                      <a:pt x="78" y="1310"/>
                    </a:lnTo>
                    <a:lnTo>
                      <a:pt x="75" y="1296"/>
                    </a:lnTo>
                    <a:lnTo>
                      <a:pt x="78" y="1286"/>
                    </a:lnTo>
                    <a:lnTo>
                      <a:pt x="69" y="1268"/>
                    </a:lnTo>
                    <a:lnTo>
                      <a:pt x="70" y="1262"/>
                    </a:lnTo>
                    <a:lnTo>
                      <a:pt x="85" y="1244"/>
                    </a:lnTo>
                    <a:lnTo>
                      <a:pt x="76" y="1230"/>
                    </a:lnTo>
                    <a:lnTo>
                      <a:pt x="66" y="1227"/>
                    </a:lnTo>
                    <a:lnTo>
                      <a:pt x="60" y="1215"/>
                    </a:lnTo>
                    <a:lnTo>
                      <a:pt x="63" y="1202"/>
                    </a:lnTo>
                    <a:lnTo>
                      <a:pt x="45" y="1188"/>
                    </a:lnTo>
                    <a:lnTo>
                      <a:pt x="30" y="1182"/>
                    </a:lnTo>
                    <a:lnTo>
                      <a:pt x="25" y="1181"/>
                    </a:lnTo>
                    <a:lnTo>
                      <a:pt x="28" y="1166"/>
                    </a:lnTo>
                    <a:lnTo>
                      <a:pt x="18" y="1158"/>
                    </a:lnTo>
                    <a:lnTo>
                      <a:pt x="7" y="1170"/>
                    </a:lnTo>
                    <a:lnTo>
                      <a:pt x="0" y="1157"/>
                    </a:lnTo>
                    <a:lnTo>
                      <a:pt x="7" y="1131"/>
                    </a:lnTo>
                    <a:lnTo>
                      <a:pt x="1" y="1112"/>
                    </a:lnTo>
                    <a:lnTo>
                      <a:pt x="45" y="1098"/>
                    </a:lnTo>
                    <a:lnTo>
                      <a:pt x="64" y="1106"/>
                    </a:lnTo>
                    <a:lnTo>
                      <a:pt x="88" y="1092"/>
                    </a:lnTo>
                    <a:lnTo>
                      <a:pt x="97" y="1086"/>
                    </a:lnTo>
                    <a:lnTo>
                      <a:pt x="112" y="1079"/>
                    </a:lnTo>
                    <a:lnTo>
                      <a:pt x="133" y="1080"/>
                    </a:lnTo>
                    <a:lnTo>
                      <a:pt x="139" y="1080"/>
                    </a:lnTo>
                    <a:lnTo>
                      <a:pt x="141" y="1047"/>
                    </a:lnTo>
                    <a:lnTo>
                      <a:pt x="133" y="1043"/>
                    </a:lnTo>
                    <a:lnTo>
                      <a:pt x="129" y="1035"/>
                    </a:lnTo>
                    <a:lnTo>
                      <a:pt x="130" y="1025"/>
                    </a:lnTo>
                    <a:lnTo>
                      <a:pt x="142" y="1019"/>
                    </a:lnTo>
                    <a:lnTo>
                      <a:pt x="142" y="1010"/>
                    </a:lnTo>
                    <a:lnTo>
                      <a:pt x="142" y="1002"/>
                    </a:lnTo>
                    <a:lnTo>
                      <a:pt x="129" y="993"/>
                    </a:lnTo>
                    <a:lnTo>
                      <a:pt x="118" y="984"/>
                    </a:lnTo>
                    <a:lnTo>
                      <a:pt x="124" y="972"/>
                    </a:lnTo>
                    <a:lnTo>
                      <a:pt x="126" y="956"/>
                    </a:lnTo>
                    <a:lnTo>
                      <a:pt x="127" y="941"/>
                    </a:lnTo>
                    <a:lnTo>
                      <a:pt x="139" y="938"/>
                    </a:lnTo>
                    <a:lnTo>
                      <a:pt x="145" y="938"/>
                    </a:lnTo>
                    <a:lnTo>
                      <a:pt x="157" y="936"/>
                    </a:lnTo>
                    <a:lnTo>
                      <a:pt x="159" y="921"/>
                    </a:lnTo>
                    <a:lnTo>
                      <a:pt x="174" y="915"/>
                    </a:lnTo>
                    <a:lnTo>
                      <a:pt x="180" y="912"/>
                    </a:lnTo>
                    <a:lnTo>
                      <a:pt x="187" y="897"/>
                    </a:lnTo>
                    <a:lnTo>
                      <a:pt x="202" y="890"/>
                    </a:lnTo>
                    <a:lnTo>
                      <a:pt x="213" y="873"/>
                    </a:lnTo>
                    <a:lnTo>
                      <a:pt x="222" y="851"/>
                    </a:lnTo>
                    <a:lnTo>
                      <a:pt x="213" y="842"/>
                    </a:lnTo>
                    <a:lnTo>
                      <a:pt x="210" y="830"/>
                    </a:lnTo>
                    <a:lnTo>
                      <a:pt x="210" y="821"/>
                    </a:lnTo>
                    <a:lnTo>
                      <a:pt x="201" y="819"/>
                    </a:lnTo>
                    <a:lnTo>
                      <a:pt x="201" y="807"/>
                    </a:lnTo>
                    <a:lnTo>
                      <a:pt x="210" y="800"/>
                    </a:lnTo>
                    <a:lnTo>
                      <a:pt x="190" y="786"/>
                    </a:lnTo>
                    <a:lnTo>
                      <a:pt x="192" y="771"/>
                    </a:lnTo>
                    <a:lnTo>
                      <a:pt x="156" y="752"/>
                    </a:lnTo>
                    <a:lnTo>
                      <a:pt x="154" y="735"/>
                    </a:lnTo>
                    <a:lnTo>
                      <a:pt x="153" y="720"/>
                    </a:lnTo>
                    <a:lnTo>
                      <a:pt x="145" y="716"/>
                    </a:lnTo>
                    <a:lnTo>
                      <a:pt x="145" y="701"/>
                    </a:lnTo>
                    <a:lnTo>
                      <a:pt x="129" y="699"/>
                    </a:lnTo>
                    <a:lnTo>
                      <a:pt x="136" y="683"/>
                    </a:lnTo>
                    <a:lnTo>
                      <a:pt x="130" y="677"/>
                    </a:lnTo>
                    <a:lnTo>
                      <a:pt x="120" y="665"/>
                    </a:lnTo>
                    <a:lnTo>
                      <a:pt x="111" y="666"/>
                    </a:lnTo>
                    <a:lnTo>
                      <a:pt x="103" y="656"/>
                    </a:lnTo>
                    <a:lnTo>
                      <a:pt x="96" y="659"/>
                    </a:lnTo>
                    <a:lnTo>
                      <a:pt x="88" y="656"/>
                    </a:lnTo>
                    <a:lnTo>
                      <a:pt x="75" y="645"/>
                    </a:lnTo>
                    <a:lnTo>
                      <a:pt x="64" y="644"/>
                    </a:lnTo>
                    <a:lnTo>
                      <a:pt x="64" y="624"/>
                    </a:lnTo>
                    <a:lnTo>
                      <a:pt x="84" y="609"/>
                    </a:lnTo>
                    <a:lnTo>
                      <a:pt x="94" y="606"/>
                    </a:lnTo>
                    <a:lnTo>
                      <a:pt x="94" y="594"/>
                    </a:lnTo>
                    <a:lnTo>
                      <a:pt x="106" y="591"/>
                    </a:lnTo>
                    <a:lnTo>
                      <a:pt x="112" y="594"/>
                    </a:lnTo>
                    <a:lnTo>
                      <a:pt x="117" y="591"/>
                    </a:lnTo>
                    <a:lnTo>
                      <a:pt x="129" y="569"/>
                    </a:lnTo>
                    <a:lnTo>
                      <a:pt x="141" y="545"/>
                    </a:lnTo>
                    <a:lnTo>
                      <a:pt x="150" y="543"/>
                    </a:lnTo>
                    <a:lnTo>
                      <a:pt x="156" y="534"/>
                    </a:lnTo>
                    <a:lnTo>
                      <a:pt x="156" y="518"/>
                    </a:lnTo>
                    <a:lnTo>
                      <a:pt x="148" y="515"/>
                    </a:lnTo>
                    <a:lnTo>
                      <a:pt x="135" y="515"/>
                    </a:lnTo>
                    <a:lnTo>
                      <a:pt x="135" y="513"/>
                    </a:lnTo>
                    <a:lnTo>
                      <a:pt x="138" y="501"/>
                    </a:lnTo>
                    <a:lnTo>
                      <a:pt x="129" y="489"/>
                    </a:lnTo>
                    <a:lnTo>
                      <a:pt x="136" y="485"/>
                    </a:lnTo>
                    <a:lnTo>
                      <a:pt x="135" y="482"/>
                    </a:lnTo>
                    <a:lnTo>
                      <a:pt x="129" y="480"/>
                    </a:lnTo>
                    <a:lnTo>
                      <a:pt x="126" y="477"/>
                    </a:lnTo>
                    <a:lnTo>
                      <a:pt x="150" y="450"/>
                    </a:lnTo>
                    <a:lnTo>
                      <a:pt x="145" y="444"/>
                    </a:lnTo>
                    <a:lnTo>
                      <a:pt x="145" y="434"/>
                    </a:lnTo>
                    <a:lnTo>
                      <a:pt x="153" y="419"/>
                    </a:lnTo>
                    <a:lnTo>
                      <a:pt x="165" y="419"/>
                    </a:lnTo>
                    <a:lnTo>
                      <a:pt x="181" y="414"/>
                    </a:lnTo>
                    <a:lnTo>
                      <a:pt x="184" y="420"/>
                    </a:lnTo>
                    <a:lnTo>
                      <a:pt x="189" y="420"/>
                    </a:lnTo>
                    <a:lnTo>
                      <a:pt x="195" y="422"/>
                    </a:lnTo>
                    <a:lnTo>
                      <a:pt x="196" y="428"/>
                    </a:lnTo>
                    <a:lnTo>
                      <a:pt x="198" y="423"/>
                    </a:lnTo>
                    <a:lnTo>
                      <a:pt x="207" y="408"/>
                    </a:lnTo>
                    <a:lnTo>
                      <a:pt x="223" y="401"/>
                    </a:lnTo>
                    <a:lnTo>
                      <a:pt x="229" y="407"/>
                    </a:lnTo>
                    <a:lnTo>
                      <a:pt x="237" y="404"/>
                    </a:lnTo>
                    <a:lnTo>
                      <a:pt x="244" y="405"/>
                    </a:lnTo>
                    <a:lnTo>
                      <a:pt x="249" y="398"/>
                    </a:lnTo>
                    <a:lnTo>
                      <a:pt x="259" y="401"/>
                    </a:lnTo>
                    <a:lnTo>
                      <a:pt x="261" y="405"/>
                    </a:lnTo>
                    <a:lnTo>
                      <a:pt x="268" y="404"/>
                    </a:lnTo>
                    <a:lnTo>
                      <a:pt x="273" y="413"/>
                    </a:lnTo>
                    <a:lnTo>
                      <a:pt x="285" y="408"/>
                    </a:lnTo>
                    <a:lnTo>
                      <a:pt x="291" y="407"/>
                    </a:lnTo>
                    <a:lnTo>
                      <a:pt x="301" y="410"/>
                    </a:lnTo>
                    <a:lnTo>
                      <a:pt x="315" y="413"/>
                    </a:lnTo>
                    <a:lnTo>
                      <a:pt x="322" y="402"/>
                    </a:lnTo>
                    <a:lnTo>
                      <a:pt x="330" y="395"/>
                    </a:lnTo>
                    <a:lnTo>
                      <a:pt x="340" y="393"/>
                    </a:lnTo>
                    <a:lnTo>
                      <a:pt x="343" y="399"/>
                    </a:lnTo>
                    <a:lnTo>
                      <a:pt x="352" y="398"/>
                    </a:lnTo>
                    <a:lnTo>
                      <a:pt x="352" y="401"/>
                    </a:lnTo>
                    <a:lnTo>
                      <a:pt x="358" y="402"/>
                    </a:lnTo>
                    <a:lnTo>
                      <a:pt x="361" y="398"/>
                    </a:lnTo>
                    <a:lnTo>
                      <a:pt x="370" y="402"/>
                    </a:lnTo>
                    <a:lnTo>
                      <a:pt x="382" y="402"/>
                    </a:lnTo>
                    <a:lnTo>
                      <a:pt x="390" y="402"/>
                    </a:lnTo>
                    <a:lnTo>
                      <a:pt x="396" y="396"/>
                    </a:lnTo>
                    <a:lnTo>
                      <a:pt x="397" y="402"/>
                    </a:lnTo>
                    <a:lnTo>
                      <a:pt x="402" y="404"/>
                    </a:lnTo>
                    <a:lnTo>
                      <a:pt x="406" y="399"/>
                    </a:lnTo>
                    <a:lnTo>
                      <a:pt x="402" y="396"/>
                    </a:lnTo>
                    <a:lnTo>
                      <a:pt x="403" y="380"/>
                    </a:lnTo>
                    <a:lnTo>
                      <a:pt x="414" y="371"/>
                    </a:lnTo>
                    <a:lnTo>
                      <a:pt x="424" y="380"/>
                    </a:lnTo>
                    <a:lnTo>
                      <a:pt x="436" y="381"/>
                    </a:lnTo>
                    <a:lnTo>
                      <a:pt x="438" y="384"/>
                    </a:lnTo>
                    <a:lnTo>
                      <a:pt x="444" y="383"/>
                    </a:lnTo>
                    <a:lnTo>
                      <a:pt x="444" y="368"/>
                    </a:lnTo>
                    <a:lnTo>
                      <a:pt x="450" y="354"/>
                    </a:lnTo>
                    <a:lnTo>
                      <a:pt x="433" y="353"/>
                    </a:lnTo>
                    <a:lnTo>
                      <a:pt x="442" y="345"/>
                    </a:lnTo>
                    <a:lnTo>
                      <a:pt x="426" y="341"/>
                    </a:lnTo>
                    <a:lnTo>
                      <a:pt x="429" y="335"/>
                    </a:lnTo>
                    <a:lnTo>
                      <a:pt x="427" y="330"/>
                    </a:lnTo>
                    <a:lnTo>
                      <a:pt x="433" y="329"/>
                    </a:lnTo>
                    <a:lnTo>
                      <a:pt x="438" y="315"/>
                    </a:lnTo>
                    <a:lnTo>
                      <a:pt x="438" y="309"/>
                    </a:lnTo>
                    <a:lnTo>
                      <a:pt x="429" y="296"/>
                    </a:lnTo>
                    <a:lnTo>
                      <a:pt x="430" y="294"/>
                    </a:lnTo>
                    <a:lnTo>
                      <a:pt x="430" y="291"/>
                    </a:lnTo>
                    <a:lnTo>
                      <a:pt x="424" y="288"/>
                    </a:lnTo>
                    <a:lnTo>
                      <a:pt x="424" y="282"/>
                    </a:lnTo>
                    <a:lnTo>
                      <a:pt x="421" y="281"/>
                    </a:lnTo>
                    <a:lnTo>
                      <a:pt x="432" y="272"/>
                    </a:lnTo>
                    <a:lnTo>
                      <a:pt x="436" y="270"/>
                    </a:lnTo>
                    <a:lnTo>
                      <a:pt x="451" y="264"/>
                    </a:lnTo>
                    <a:lnTo>
                      <a:pt x="462" y="267"/>
                    </a:lnTo>
                    <a:lnTo>
                      <a:pt x="463" y="266"/>
                    </a:lnTo>
                    <a:lnTo>
                      <a:pt x="460" y="261"/>
                    </a:lnTo>
                    <a:lnTo>
                      <a:pt x="462" y="257"/>
                    </a:lnTo>
                    <a:lnTo>
                      <a:pt x="451" y="237"/>
                    </a:lnTo>
                    <a:lnTo>
                      <a:pt x="447" y="234"/>
                    </a:lnTo>
                    <a:lnTo>
                      <a:pt x="438" y="222"/>
                    </a:lnTo>
                    <a:lnTo>
                      <a:pt x="444" y="215"/>
                    </a:lnTo>
                    <a:lnTo>
                      <a:pt x="448" y="215"/>
                    </a:lnTo>
                    <a:lnTo>
                      <a:pt x="460" y="224"/>
                    </a:lnTo>
                    <a:lnTo>
                      <a:pt x="474" y="221"/>
                    </a:lnTo>
                    <a:lnTo>
                      <a:pt x="486" y="215"/>
                    </a:lnTo>
                    <a:lnTo>
                      <a:pt x="489" y="209"/>
                    </a:lnTo>
                    <a:lnTo>
                      <a:pt x="495" y="207"/>
                    </a:lnTo>
                    <a:lnTo>
                      <a:pt x="496" y="201"/>
                    </a:lnTo>
                    <a:lnTo>
                      <a:pt x="501" y="200"/>
                    </a:lnTo>
                    <a:lnTo>
                      <a:pt x="501" y="197"/>
                    </a:lnTo>
                    <a:lnTo>
                      <a:pt x="493" y="192"/>
                    </a:lnTo>
                    <a:lnTo>
                      <a:pt x="493" y="188"/>
                    </a:lnTo>
                    <a:lnTo>
                      <a:pt x="492" y="185"/>
                    </a:lnTo>
                    <a:lnTo>
                      <a:pt x="493" y="180"/>
                    </a:lnTo>
                    <a:lnTo>
                      <a:pt x="484" y="173"/>
                    </a:lnTo>
                    <a:lnTo>
                      <a:pt x="504" y="159"/>
                    </a:lnTo>
                    <a:lnTo>
                      <a:pt x="507" y="152"/>
                    </a:lnTo>
                    <a:lnTo>
                      <a:pt x="523" y="149"/>
                    </a:lnTo>
                    <a:lnTo>
                      <a:pt x="517" y="132"/>
                    </a:lnTo>
                    <a:lnTo>
                      <a:pt x="537" y="129"/>
                    </a:lnTo>
                    <a:lnTo>
                      <a:pt x="547" y="119"/>
                    </a:lnTo>
                    <a:lnTo>
                      <a:pt x="558" y="119"/>
                    </a:lnTo>
                    <a:lnTo>
                      <a:pt x="562" y="126"/>
                    </a:lnTo>
                    <a:lnTo>
                      <a:pt x="559" y="134"/>
                    </a:lnTo>
                    <a:lnTo>
                      <a:pt x="568" y="134"/>
                    </a:lnTo>
                    <a:lnTo>
                      <a:pt x="574" y="132"/>
                    </a:lnTo>
                    <a:lnTo>
                      <a:pt x="579" y="153"/>
                    </a:lnTo>
                    <a:lnTo>
                      <a:pt x="583" y="150"/>
                    </a:lnTo>
                    <a:lnTo>
                      <a:pt x="591" y="156"/>
                    </a:lnTo>
                    <a:lnTo>
                      <a:pt x="591" y="165"/>
                    </a:lnTo>
                    <a:lnTo>
                      <a:pt x="595" y="168"/>
                    </a:lnTo>
                    <a:lnTo>
                      <a:pt x="601" y="164"/>
                    </a:lnTo>
                    <a:lnTo>
                      <a:pt x="607" y="162"/>
                    </a:lnTo>
                    <a:lnTo>
                      <a:pt x="613" y="168"/>
                    </a:lnTo>
                    <a:lnTo>
                      <a:pt x="616" y="174"/>
                    </a:lnTo>
                    <a:lnTo>
                      <a:pt x="612" y="180"/>
                    </a:lnTo>
                    <a:lnTo>
                      <a:pt x="619" y="195"/>
                    </a:lnTo>
                    <a:lnTo>
                      <a:pt x="616" y="198"/>
                    </a:lnTo>
                    <a:lnTo>
                      <a:pt x="616" y="207"/>
                    </a:lnTo>
                    <a:lnTo>
                      <a:pt x="628" y="210"/>
                    </a:lnTo>
                    <a:lnTo>
                      <a:pt x="631" y="212"/>
                    </a:lnTo>
                    <a:lnTo>
                      <a:pt x="636" y="212"/>
                    </a:lnTo>
                    <a:lnTo>
                      <a:pt x="639" y="216"/>
                    </a:lnTo>
                    <a:lnTo>
                      <a:pt x="646" y="212"/>
                    </a:lnTo>
                    <a:lnTo>
                      <a:pt x="649" y="213"/>
                    </a:lnTo>
                    <a:lnTo>
                      <a:pt x="654" y="212"/>
                    </a:lnTo>
                    <a:lnTo>
                      <a:pt x="655" y="213"/>
                    </a:lnTo>
                    <a:lnTo>
                      <a:pt x="658" y="212"/>
                    </a:lnTo>
                    <a:lnTo>
                      <a:pt x="660" y="209"/>
                    </a:lnTo>
                    <a:lnTo>
                      <a:pt x="666" y="210"/>
                    </a:lnTo>
                    <a:lnTo>
                      <a:pt x="666" y="213"/>
                    </a:lnTo>
                    <a:lnTo>
                      <a:pt x="673" y="213"/>
                    </a:lnTo>
                    <a:lnTo>
                      <a:pt x="676" y="212"/>
                    </a:lnTo>
                    <a:lnTo>
                      <a:pt x="684" y="212"/>
                    </a:lnTo>
                    <a:lnTo>
                      <a:pt x="687" y="210"/>
                    </a:lnTo>
                    <a:lnTo>
                      <a:pt x="694" y="210"/>
                    </a:lnTo>
                    <a:lnTo>
                      <a:pt x="699" y="213"/>
                    </a:lnTo>
                    <a:lnTo>
                      <a:pt x="703" y="215"/>
                    </a:lnTo>
                    <a:lnTo>
                      <a:pt x="708" y="213"/>
                    </a:lnTo>
                    <a:lnTo>
                      <a:pt x="723" y="221"/>
                    </a:lnTo>
                    <a:lnTo>
                      <a:pt x="732" y="219"/>
                    </a:lnTo>
                    <a:lnTo>
                      <a:pt x="733" y="224"/>
                    </a:lnTo>
                    <a:lnTo>
                      <a:pt x="736" y="221"/>
                    </a:lnTo>
                    <a:lnTo>
                      <a:pt x="739" y="219"/>
                    </a:lnTo>
                    <a:lnTo>
                      <a:pt x="742" y="219"/>
                    </a:lnTo>
                    <a:lnTo>
                      <a:pt x="748" y="227"/>
                    </a:lnTo>
                    <a:lnTo>
                      <a:pt x="753" y="227"/>
                    </a:lnTo>
                    <a:lnTo>
                      <a:pt x="766" y="237"/>
                    </a:lnTo>
                    <a:lnTo>
                      <a:pt x="777" y="231"/>
                    </a:lnTo>
                    <a:lnTo>
                      <a:pt x="787" y="227"/>
                    </a:lnTo>
                    <a:lnTo>
                      <a:pt x="795" y="212"/>
                    </a:lnTo>
                    <a:lnTo>
                      <a:pt x="799" y="207"/>
                    </a:lnTo>
                    <a:lnTo>
                      <a:pt x="799" y="203"/>
                    </a:lnTo>
                    <a:lnTo>
                      <a:pt x="793" y="200"/>
                    </a:lnTo>
                    <a:lnTo>
                      <a:pt x="796" y="192"/>
                    </a:lnTo>
                    <a:lnTo>
                      <a:pt x="793" y="183"/>
                    </a:lnTo>
                    <a:lnTo>
                      <a:pt x="798" y="180"/>
                    </a:lnTo>
                    <a:lnTo>
                      <a:pt x="798" y="174"/>
                    </a:lnTo>
                    <a:lnTo>
                      <a:pt x="801" y="171"/>
                    </a:lnTo>
                    <a:lnTo>
                      <a:pt x="796" y="168"/>
                    </a:lnTo>
                    <a:lnTo>
                      <a:pt x="790" y="168"/>
                    </a:lnTo>
                    <a:lnTo>
                      <a:pt x="790" y="158"/>
                    </a:lnTo>
                    <a:lnTo>
                      <a:pt x="795" y="162"/>
                    </a:lnTo>
                    <a:lnTo>
                      <a:pt x="799" y="162"/>
                    </a:lnTo>
                    <a:lnTo>
                      <a:pt x="802" y="158"/>
                    </a:lnTo>
                    <a:lnTo>
                      <a:pt x="808" y="161"/>
                    </a:lnTo>
                    <a:lnTo>
                      <a:pt x="813" y="165"/>
                    </a:lnTo>
                    <a:lnTo>
                      <a:pt x="816" y="161"/>
                    </a:lnTo>
                    <a:lnTo>
                      <a:pt x="826" y="167"/>
                    </a:lnTo>
                    <a:lnTo>
                      <a:pt x="828" y="164"/>
                    </a:lnTo>
                    <a:lnTo>
                      <a:pt x="823" y="161"/>
                    </a:lnTo>
                    <a:lnTo>
                      <a:pt x="823" y="158"/>
                    </a:lnTo>
                    <a:lnTo>
                      <a:pt x="831" y="155"/>
                    </a:lnTo>
                    <a:lnTo>
                      <a:pt x="832" y="135"/>
                    </a:lnTo>
                    <a:lnTo>
                      <a:pt x="840" y="134"/>
                    </a:lnTo>
                    <a:lnTo>
                      <a:pt x="840" y="128"/>
                    </a:lnTo>
                    <a:lnTo>
                      <a:pt x="864" y="132"/>
                    </a:lnTo>
                    <a:lnTo>
                      <a:pt x="870" y="116"/>
                    </a:lnTo>
                    <a:lnTo>
                      <a:pt x="880" y="102"/>
                    </a:lnTo>
                    <a:lnTo>
                      <a:pt x="883" y="108"/>
                    </a:lnTo>
                    <a:lnTo>
                      <a:pt x="889" y="107"/>
                    </a:lnTo>
                    <a:lnTo>
                      <a:pt x="889" y="104"/>
                    </a:lnTo>
                    <a:lnTo>
                      <a:pt x="886" y="102"/>
                    </a:lnTo>
                    <a:lnTo>
                      <a:pt x="895" y="72"/>
                    </a:lnTo>
                    <a:lnTo>
                      <a:pt x="904" y="68"/>
                    </a:lnTo>
                    <a:lnTo>
                      <a:pt x="906" y="62"/>
                    </a:lnTo>
                    <a:lnTo>
                      <a:pt x="922" y="63"/>
                    </a:lnTo>
                    <a:lnTo>
                      <a:pt x="928" y="69"/>
                    </a:lnTo>
                    <a:lnTo>
                      <a:pt x="933" y="65"/>
                    </a:lnTo>
                    <a:lnTo>
                      <a:pt x="946" y="63"/>
                    </a:lnTo>
                    <a:lnTo>
                      <a:pt x="945" y="59"/>
                    </a:lnTo>
                    <a:lnTo>
                      <a:pt x="952" y="57"/>
                    </a:lnTo>
                    <a:lnTo>
                      <a:pt x="957" y="47"/>
                    </a:lnTo>
                    <a:lnTo>
                      <a:pt x="954" y="39"/>
                    </a:lnTo>
                    <a:lnTo>
                      <a:pt x="966" y="18"/>
                    </a:lnTo>
                    <a:lnTo>
                      <a:pt x="978" y="23"/>
                    </a:lnTo>
                    <a:lnTo>
                      <a:pt x="999" y="32"/>
                    </a:lnTo>
                    <a:lnTo>
                      <a:pt x="1008" y="35"/>
                    </a:lnTo>
                    <a:lnTo>
                      <a:pt x="1015" y="27"/>
                    </a:lnTo>
                    <a:lnTo>
                      <a:pt x="1018" y="20"/>
                    </a:lnTo>
                    <a:lnTo>
                      <a:pt x="1030" y="15"/>
                    </a:lnTo>
                    <a:lnTo>
                      <a:pt x="1032" y="12"/>
                    </a:lnTo>
                    <a:lnTo>
                      <a:pt x="1044" y="11"/>
                    </a:lnTo>
                    <a:lnTo>
                      <a:pt x="1050" y="15"/>
                    </a:lnTo>
                    <a:lnTo>
                      <a:pt x="1054" y="14"/>
                    </a:lnTo>
                    <a:lnTo>
                      <a:pt x="1060" y="18"/>
                    </a:lnTo>
                    <a:lnTo>
                      <a:pt x="1066" y="17"/>
                    </a:lnTo>
                    <a:lnTo>
                      <a:pt x="1074" y="17"/>
                    </a:lnTo>
                    <a:lnTo>
                      <a:pt x="1078" y="15"/>
                    </a:lnTo>
                    <a:lnTo>
                      <a:pt x="1086" y="18"/>
                    </a:lnTo>
                    <a:lnTo>
                      <a:pt x="1089" y="12"/>
                    </a:lnTo>
                    <a:lnTo>
                      <a:pt x="1096" y="0"/>
                    </a:lnTo>
                    <a:lnTo>
                      <a:pt x="1099" y="2"/>
                    </a:lnTo>
                    <a:lnTo>
                      <a:pt x="1098" y="8"/>
                    </a:lnTo>
                    <a:lnTo>
                      <a:pt x="1104" y="12"/>
                    </a:lnTo>
                    <a:lnTo>
                      <a:pt x="1114" y="14"/>
                    </a:lnTo>
                    <a:lnTo>
                      <a:pt x="1120" y="8"/>
                    </a:lnTo>
                    <a:lnTo>
                      <a:pt x="1123" y="11"/>
                    </a:lnTo>
                    <a:lnTo>
                      <a:pt x="1137" y="8"/>
                    </a:lnTo>
                    <a:lnTo>
                      <a:pt x="1141" y="3"/>
                    </a:lnTo>
                    <a:lnTo>
                      <a:pt x="1146" y="9"/>
                    </a:lnTo>
                    <a:lnTo>
                      <a:pt x="1150" y="8"/>
                    </a:lnTo>
                    <a:lnTo>
                      <a:pt x="1162" y="21"/>
                    </a:lnTo>
                    <a:lnTo>
                      <a:pt x="1162" y="27"/>
                    </a:lnTo>
                    <a:lnTo>
                      <a:pt x="1158" y="35"/>
                    </a:lnTo>
                    <a:lnTo>
                      <a:pt x="1159" y="44"/>
                    </a:lnTo>
                    <a:lnTo>
                      <a:pt x="1165" y="42"/>
                    </a:lnTo>
                    <a:lnTo>
                      <a:pt x="1168" y="47"/>
                    </a:lnTo>
                    <a:lnTo>
                      <a:pt x="1162" y="62"/>
                    </a:lnTo>
                    <a:lnTo>
                      <a:pt x="1161" y="68"/>
                    </a:lnTo>
                    <a:lnTo>
                      <a:pt x="1162" y="72"/>
                    </a:lnTo>
                    <a:lnTo>
                      <a:pt x="1155" y="77"/>
                    </a:lnTo>
                    <a:lnTo>
                      <a:pt x="1156" y="86"/>
                    </a:lnTo>
                    <a:lnTo>
                      <a:pt x="1161" y="90"/>
                    </a:lnTo>
                    <a:lnTo>
                      <a:pt x="1168" y="101"/>
                    </a:lnTo>
                    <a:lnTo>
                      <a:pt x="1161" y="111"/>
                    </a:lnTo>
                    <a:lnTo>
                      <a:pt x="1156" y="119"/>
                    </a:lnTo>
                    <a:lnTo>
                      <a:pt x="1164" y="132"/>
                    </a:lnTo>
                    <a:lnTo>
                      <a:pt x="1168" y="137"/>
                    </a:lnTo>
                    <a:lnTo>
                      <a:pt x="1173" y="140"/>
                    </a:lnTo>
                    <a:lnTo>
                      <a:pt x="1179" y="140"/>
                    </a:lnTo>
                    <a:lnTo>
                      <a:pt x="1225" y="183"/>
                    </a:lnTo>
                    <a:lnTo>
                      <a:pt x="1240" y="189"/>
                    </a:lnTo>
                    <a:lnTo>
                      <a:pt x="1246" y="191"/>
                    </a:lnTo>
                    <a:lnTo>
                      <a:pt x="1272" y="197"/>
                    </a:lnTo>
                    <a:lnTo>
                      <a:pt x="1276" y="198"/>
                    </a:lnTo>
                    <a:lnTo>
                      <a:pt x="1279" y="201"/>
                    </a:lnTo>
                    <a:lnTo>
                      <a:pt x="1284" y="200"/>
                    </a:lnTo>
                    <a:lnTo>
                      <a:pt x="1291" y="206"/>
                    </a:lnTo>
                    <a:lnTo>
                      <a:pt x="1299" y="209"/>
                    </a:lnTo>
                    <a:lnTo>
                      <a:pt x="1306" y="197"/>
                    </a:lnTo>
                    <a:lnTo>
                      <a:pt x="1311" y="198"/>
                    </a:lnTo>
                    <a:lnTo>
                      <a:pt x="1314" y="203"/>
                    </a:lnTo>
                    <a:lnTo>
                      <a:pt x="1318" y="200"/>
                    </a:lnTo>
                    <a:lnTo>
                      <a:pt x="1318" y="206"/>
                    </a:lnTo>
                    <a:lnTo>
                      <a:pt x="1324" y="206"/>
                    </a:lnTo>
                    <a:lnTo>
                      <a:pt x="1320" y="215"/>
                    </a:lnTo>
                    <a:lnTo>
                      <a:pt x="1324" y="219"/>
                    </a:lnTo>
                    <a:lnTo>
                      <a:pt x="1330" y="218"/>
                    </a:lnTo>
                    <a:lnTo>
                      <a:pt x="1336" y="222"/>
                    </a:lnTo>
                    <a:lnTo>
                      <a:pt x="1338" y="210"/>
                    </a:lnTo>
                    <a:lnTo>
                      <a:pt x="1342" y="210"/>
                    </a:lnTo>
                    <a:lnTo>
                      <a:pt x="1344" y="206"/>
                    </a:lnTo>
                    <a:lnTo>
                      <a:pt x="1353" y="198"/>
                    </a:lnTo>
                    <a:lnTo>
                      <a:pt x="1359" y="194"/>
                    </a:lnTo>
                    <a:lnTo>
                      <a:pt x="1365" y="197"/>
                    </a:lnTo>
                    <a:lnTo>
                      <a:pt x="1375" y="195"/>
                    </a:lnTo>
                    <a:lnTo>
                      <a:pt x="1375" y="191"/>
                    </a:lnTo>
                    <a:lnTo>
                      <a:pt x="1380" y="192"/>
                    </a:lnTo>
                    <a:lnTo>
                      <a:pt x="1389" y="189"/>
                    </a:lnTo>
                    <a:lnTo>
                      <a:pt x="1398" y="192"/>
                    </a:lnTo>
                    <a:lnTo>
                      <a:pt x="1402" y="189"/>
                    </a:lnTo>
                    <a:lnTo>
                      <a:pt x="1414" y="189"/>
                    </a:lnTo>
                    <a:lnTo>
                      <a:pt x="1410" y="194"/>
                    </a:lnTo>
                    <a:lnTo>
                      <a:pt x="1408" y="198"/>
                    </a:lnTo>
                    <a:lnTo>
                      <a:pt x="1408" y="201"/>
                    </a:lnTo>
                    <a:lnTo>
                      <a:pt x="1416" y="204"/>
                    </a:lnTo>
                    <a:lnTo>
                      <a:pt x="1420" y="204"/>
                    </a:lnTo>
                    <a:lnTo>
                      <a:pt x="1422" y="207"/>
                    </a:lnTo>
                    <a:lnTo>
                      <a:pt x="1435" y="209"/>
                    </a:lnTo>
                    <a:lnTo>
                      <a:pt x="1437" y="215"/>
                    </a:lnTo>
                    <a:lnTo>
                      <a:pt x="1440" y="219"/>
                    </a:lnTo>
                    <a:lnTo>
                      <a:pt x="1443" y="210"/>
                    </a:lnTo>
                    <a:lnTo>
                      <a:pt x="1450" y="213"/>
                    </a:lnTo>
                    <a:lnTo>
                      <a:pt x="1453" y="212"/>
                    </a:lnTo>
                    <a:lnTo>
                      <a:pt x="1462" y="213"/>
                    </a:lnTo>
                    <a:lnTo>
                      <a:pt x="1468" y="213"/>
                    </a:lnTo>
                    <a:lnTo>
                      <a:pt x="1473" y="207"/>
                    </a:lnTo>
                    <a:lnTo>
                      <a:pt x="1480" y="209"/>
                    </a:lnTo>
                    <a:lnTo>
                      <a:pt x="1489" y="210"/>
                    </a:lnTo>
                    <a:lnTo>
                      <a:pt x="1491" y="209"/>
                    </a:lnTo>
                    <a:lnTo>
                      <a:pt x="1495" y="209"/>
                    </a:lnTo>
                    <a:lnTo>
                      <a:pt x="1500" y="213"/>
                    </a:lnTo>
                    <a:lnTo>
                      <a:pt x="1512" y="216"/>
                    </a:lnTo>
                    <a:lnTo>
                      <a:pt x="1513" y="215"/>
                    </a:lnTo>
                    <a:lnTo>
                      <a:pt x="1519" y="216"/>
                    </a:lnTo>
                    <a:lnTo>
                      <a:pt x="1528" y="219"/>
                    </a:lnTo>
                    <a:lnTo>
                      <a:pt x="1533" y="222"/>
                    </a:lnTo>
                    <a:lnTo>
                      <a:pt x="1536" y="222"/>
                    </a:lnTo>
                    <a:lnTo>
                      <a:pt x="1539" y="219"/>
                    </a:lnTo>
                    <a:lnTo>
                      <a:pt x="1536" y="210"/>
                    </a:lnTo>
                    <a:lnTo>
                      <a:pt x="1539" y="204"/>
                    </a:lnTo>
                    <a:lnTo>
                      <a:pt x="1551" y="206"/>
                    </a:lnTo>
                    <a:lnTo>
                      <a:pt x="1560" y="192"/>
                    </a:lnTo>
                    <a:lnTo>
                      <a:pt x="1560" y="183"/>
                    </a:lnTo>
                    <a:lnTo>
                      <a:pt x="1561" y="179"/>
                    </a:lnTo>
                    <a:lnTo>
                      <a:pt x="1557" y="174"/>
                    </a:lnTo>
                    <a:lnTo>
                      <a:pt x="1554" y="176"/>
                    </a:lnTo>
                    <a:lnTo>
                      <a:pt x="1549" y="174"/>
                    </a:lnTo>
                    <a:lnTo>
                      <a:pt x="1540" y="180"/>
                    </a:lnTo>
                    <a:lnTo>
                      <a:pt x="1539" y="177"/>
                    </a:lnTo>
                    <a:lnTo>
                      <a:pt x="1533" y="176"/>
                    </a:lnTo>
                    <a:lnTo>
                      <a:pt x="1521" y="177"/>
                    </a:lnTo>
                    <a:lnTo>
                      <a:pt x="1518" y="170"/>
                    </a:lnTo>
                    <a:lnTo>
                      <a:pt x="1516" y="167"/>
                    </a:lnTo>
                    <a:lnTo>
                      <a:pt x="1516" y="158"/>
                    </a:lnTo>
                    <a:lnTo>
                      <a:pt x="1513" y="146"/>
                    </a:lnTo>
                    <a:lnTo>
                      <a:pt x="1515" y="144"/>
                    </a:lnTo>
                    <a:lnTo>
                      <a:pt x="1521" y="147"/>
                    </a:lnTo>
                    <a:lnTo>
                      <a:pt x="1530" y="140"/>
                    </a:lnTo>
                    <a:lnTo>
                      <a:pt x="1537" y="146"/>
                    </a:lnTo>
                    <a:lnTo>
                      <a:pt x="1543" y="141"/>
                    </a:lnTo>
                    <a:lnTo>
                      <a:pt x="1548" y="138"/>
                    </a:lnTo>
                    <a:lnTo>
                      <a:pt x="1551" y="132"/>
                    </a:lnTo>
                    <a:lnTo>
                      <a:pt x="1560" y="132"/>
                    </a:lnTo>
                    <a:lnTo>
                      <a:pt x="1563" y="125"/>
                    </a:lnTo>
                    <a:lnTo>
                      <a:pt x="1570" y="126"/>
                    </a:lnTo>
                    <a:lnTo>
                      <a:pt x="1575" y="125"/>
                    </a:lnTo>
                    <a:lnTo>
                      <a:pt x="1582" y="126"/>
                    </a:lnTo>
                    <a:lnTo>
                      <a:pt x="1584" y="123"/>
                    </a:lnTo>
                    <a:lnTo>
                      <a:pt x="1581" y="117"/>
                    </a:lnTo>
                    <a:lnTo>
                      <a:pt x="1581" y="107"/>
                    </a:lnTo>
                    <a:lnTo>
                      <a:pt x="1582" y="102"/>
                    </a:lnTo>
                    <a:lnTo>
                      <a:pt x="1582" y="98"/>
                    </a:lnTo>
                    <a:lnTo>
                      <a:pt x="1579" y="92"/>
                    </a:lnTo>
                    <a:lnTo>
                      <a:pt x="1575" y="90"/>
                    </a:lnTo>
                    <a:lnTo>
                      <a:pt x="1575" y="87"/>
                    </a:lnTo>
                    <a:lnTo>
                      <a:pt x="1572" y="83"/>
                    </a:lnTo>
                    <a:lnTo>
                      <a:pt x="1561" y="83"/>
                    </a:lnTo>
                    <a:lnTo>
                      <a:pt x="1557" y="80"/>
                    </a:lnTo>
                    <a:lnTo>
                      <a:pt x="1536" y="78"/>
                    </a:lnTo>
                    <a:lnTo>
                      <a:pt x="1524" y="77"/>
                    </a:lnTo>
                    <a:lnTo>
                      <a:pt x="1518" y="78"/>
                    </a:lnTo>
                    <a:lnTo>
                      <a:pt x="1518" y="74"/>
                    </a:lnTo>
                    <a:lnTo>
                      <a:pt x="1527" y="63"/>
                    </a:lnTo>
                    <a:lnTo>
                      <a:pt x="1525" y="59"/>
                    </a:lnTo>
                    <a:lnTo>
                      <a:pt x="1536" y="59"/>
                    </a:lnTo>
                    <a:lnTo>
                      <a:pt x="1537" y="57"/>
                    </a:lnTo>
                    <a:lnTo>
                      <a:pt x="1539" y="53"/>
                    </a:lnTo>
                    <a:lnTo>
                      <a:pt x="1555" y="50"/>
                    </a:lnTo>
                    <a:lnTo>
                      <a:pt x="1558" y="54"/>
                    </a:lnTo>
                    <a:lnTo>
                      <a:pt x="1570" y="54"/>
                    </a:lnTo>
                    <a:lnTo>
                      <a:pt x="1578" y="56"/>
                    </a:lnTo>
                    <a:lnTo>
                      <a:pt x="1579" y="59"/>
                    </a:lnTo>
                    <a:lnTo>
                      <a:pt x="1582" y="62"/>
                    </a:lnTo>
                    <a:lnTo>
                      <a:pt x="1594" y="63"/>
                    </a:lnTo>
                    <a:lnTo>
                      <a:pt x="1597" y="59"/>
                    </a:lnTo>
                    <a:lnTo>
                      <a:pt x="1605" y="56"/>
                    </a:lnTo>
                    <a:lnTo>
                      <a:pt x="1621" y="48"/>
                    </a:lnTo>
                    <a:lnTo>
                      <a:pt x="1630" y="38"/>
                    </a:lnTo>
                    <a:lnTo>
                      <a:pt x="1651" y="53"/>
                    </a:lnTo>
                    <a:lnTo>
                      <a:pt x="1656" y="47"/>
                    </a:lnTo>
                    <a:lnTo>
                      <a:pt x="1660" y="38"/>
                    </a:lnTo>
                    <a:lnTo>
                      <a:pt x="1662" y="41"/>
                    </a:lnTo>
                    <a:lnTo>
                      <a:pt x="1665" y="42"/>
                    </a:lnTo>
                    <a:lnTo>
                      <a:pt x="1669" y="39"/>
                    </a:lnTo>
                    <a:lnTo>
                      <a:pt x="1672" y="39"/>
                    </a:lnTo>
                    <a:lnTo>
                      <a:pt x="1678" y="44"/>
                    </a:lnTo>
                    <a:lnTo>
                      <a:pt x="1681" y="38"/>
                    </a:lnTo>
                    <a:lnTo>
                      <a:pt x="1692" y="38"/>
                    </a:lnTo>
                    <a:lnTo>
                      <a:pt x="1696" y="41"/>
                    </a:lnTo>
                    <a:lnTo>
                      <a:pt x="1701" y="39"/>
                    </a:lnTo>
                    <a:lnTo>
                      <a:pt x="1702" y="42"/>
                    </a:lnTo>
                    <a:lnTo>
                      <a:pt x="1704" y="54"/>
                    </a:lnTo>
                    <a:lnTo>
                      <a:pt x="1690" y="62"/>
                    </a:lnTo>
                    <a:lnTo>
                      <a:pt x="1692" y="74"/>
                    </a:lnTo>
                    <a:lnTo>
                      <a:pt x="1693" y="80"/>
                    </a:lnTo>
                    <a:lnTo>
                      <a:pt x="1696" y="87"/>
                    </a:lnTo>
                    <a:lnTo>
                      <a:pt x="1701" y="95"/>
                    </a:lnTo>
                    <a:lnTo>
                      <a:pt x="1695" y="95"/>
                    </a:lnTo>
                    <a:lnTo>
                      <a:pt x="1693" y="101"/>
                    </a:lnTo>
                    <a:lnTo>
                      <a:pt x="1708" y="122"/>
                    </a:lnTo>
                    <a:lnTo>
                      <a:pt x="1728" y="119"/>
                    </a:lnTo>
                    <a:lnTo>
                      <a:pt x="1732" y="114"/>
                    </a:lnTo>
                    <a:lnTo>
                      <a:pt x="1732" y="104"/>
                    </a:lnTo>
                    <a:lnTo>
                      <a:pt x="1738" y="93"/>
                    </a:lnTo>
                    <a:lnTo>
                      <a:pt x="1746" y="93"/>
                    </a:lnTo>
                    <a:lnTo>
                      <a:pt x="1747" y="101"/>
                    </a:lnTo>
                    <a:lnTo>
                      <a:pt x="1744" y="110"/>
                    </a:lnTo>
                    <a:lnTo>
                      <a:pt x="1752" y="117"/>
                    </a:lnTo>
                    <a:lnTo>
                      <a:pt x="1752" y="132"/>
                    </a:lnTo>
                    <a:lnTo>
                      <a:pt x="1753" y="140"/>
                    </a:lnTo>
                    <a:lnTo>
                      <a:pt x="1764" y="138"/>
                    </a:lnTo>
                    <a:lnTo>
                      <a:pt x="1777" y="144"/>
                    </a:lnTo>
                    <a:lnTo>
                      <a:pt x="1786" y="140"/>
                    </a:lnTo>
                    <a:lnTo>
                      <a:pt x="1791" y="138"/>
                    </a:lnTo>
                    <a:lnTo>
                      <a:pt x="1788" y="149"/>
                    </a:lnTo>
                    <a:lnTo>
                      <a:pt x="1794" y="153"/>
                    </a:lnTo>
                    <a:lnTo>
                      <a:pt x="1800" y="158"/>
                    </a:lnTo>
                    <a:lnTo>
                      <a:pt x="1803" y="167"/>
                    </a:lnTo>
                    <a:lnTo>
                      <a:pt x="1807" y="170"/>
                    </a:lnTo>
                    <a:lnTo>
                      <a:pt x="1812" y="177"/>
                    </a:lnTo>
                    <a:lnTo>
                      <a:pt x="1821" y="182"/>
                    </a:lnTo>
                    <a:lnTo>
                      <a:pt x="1827" y="171"/>
                    </a:lnTo>
                    <a:lnTo>
                      <a:pt x="1831" y="179"/>
                    </a:lnTo>
                    <a:lnTo>
                      <a:pt x="1843" y="194"/>
                    </a:lnTo>
                    <a:lnTo>
                      <a:pt x="1851" y="197"/>
                    </a:lnTo>
                    <a:lnTo>
                      <a:pt x="1851" y="206"/>
                    </a:lnTo>
                    <a:lnTo>
                      <a:pt x="1860" y="207"/>
                    </a:lnTo>
                    <a:lnTo>
                      <a:pt x="1864" y="209"/>
                    </a:lnTo>
                    <a:lnTo>
                      <a:pt x="1867" y="224"/>
                    </a:lnTo>
                    <a:lnTo>
                      <a:pt x="1875" y="225"/>
                    </a:lnTo>
                    <a:lnTo>
                      <a:pt x="1879" y="219"/>
                    </a:lnTo>
                    <a:lnTo>
                      <a:pt x="1903" y="227"/>
                    </a:lnTo>
                    <a:lnTo>
                      <a:pt x="1911" y="230"/>
                    </a:lnTo>
                    <a:lnTo>
                      <a:pt x="1917" y="239"/>
                    </a:lnTo>
                    <a:lnTo>
                      <a:pt x="1924" y="233"/>
                    </a:lnTo>
                    <a:lnTo>
                      <a:pt x="1924" y="239"/>
                    </a:lnTo>
                    <a:lnTo>
                      <a:pt x="1929" y="245"/>
                    </a:lnTo>
                    <a:lnTo>
                      <a:pt x="1933" y="248"/>
                    </a:lnTo>
                    <a:lnTo>
                      <a:pt x="1941" y="237"/>
                    </a:lnTo>
                    <a:lnTo>
                      <a:pt x="1957" y="240"/>
                    </a:lnTo>
                    <a:lnTo>
                      <a:pt x="1956" y="248"/>
                    </a:lnTo>
                    <a:lnTo>
                      <a:pt x="1966" y="254"/>
                    </a:lnTo>
                    <a:lnTo>
                      <a:pt x="1972" y="269"/>
                    </a:lnTo>
                    <a:lnTo>
                      <a:pt x="1975" y="278"/>
                    </a:lnTo>
                    <a:lnTo>
                      <a:pt x="1987" y="276"/>
                    </a:lnTo>
                    <a:lnTo>
                      <a:pt x="2001" y="282"/>
                    </a:lnTo>
                    <a:lnTo>
                      <a:pt x="2005" y="278"/>
                    </a:lnTo>
                    <a:lnTo>
                      <a:pt x="2008" y="284"/>
                    </a:lnTo>
                    <a:lnTo>
                      <a:pt x="2019" y="285"/>
                    </a:lnTo>
                    <a:lnTo>
                      <a:pt x="2020" y="290"/>
                    </a:lnTo>
                    <a:lnTo>
                      <a:pt x="2016" y="293"/>
                    </a:lnTo>
                    <a:lnTo>
                      <a:pt x="2016" y="299"/>
                    </a:lnTo>
                    <a:lnTo>
                      <a:pt x="2017" y="309"/>
                    </a:lnTo>
                    <a:lnTo>
                      <a:pt x="2028" y="318"/>
                    </a:lnTo>
                    <a:lnTo>
                      <a:pt x="2037" y="326"/>
                    </a:lnTo>
                    <a:lnTo>
                      <a:pt x="2044" y="326"/>
                    </a:lnTo>
                    <a:lnTo>
                      <a:pt x="2055" y="338"/>
                    </a:lnTo>
                    <a:lnTo>
                      <a:pt x="2061" y="338"/>
                    </a:lnTo>
                    <a:lnTo>
                      <a:pt x="2071" y="342"/>
                    </a:lnTo>
                    <a:lnTo>
                      <a:pt x="2068" y="347"/>
                    </a:lnTo>
                    <a:lnTo>
                      <a:pt x="2062" y="350"/>
                    </a:lnTo>
                    <a:lnTo>
                      <a:pt x="2062" y="353"/>
                    </a:lnTo>
                    <a:lnTo>
                      <a:pt x="2052" y="354"/>
                    </a:lnTo>
                    <a:lnTo>
                      <a:pt x="2049" y="360"/>
                    </a:lnTo>
                    <a:lnTo>
                      <a:pt x="2044" y="362"/>
                    </a:lnTo>
                    <a:lnTo>
                      <a:pt x="2038" y="371"/>
                    </a:lnTo>
                    <a:lnTo>
                      <a:pt x="2032" y="372"/>
                    </a:lnTo>
                    <a:lnTo>
                      <a:pt x="2034" y="378"/>
                    </a:lnTo>
                    <a:lnTo>
                      <a:pt x="2028" y="378"/>
                    </a:lnTo>
                    <a:lnTo>
                      <a:pt x="2025" y="380"/>
                    </a:lnTo>
                    <a:lnTo>
                      <a:pt x="2025" y="381"/>
                    </a:lnTo>
                    <a:lnTo>
                      <a:pt x="2014" y="381"/>
                    </a:lnTo>
                    <a:lnTo>
                      <a:pt x="2010" y="384"/>
                    </a:lnTo>
                    <a:lnTo>
                      <a:pt x="2017" y="392"/>
                    </a:lnTo>
                    <a:lnTo>
                      <a:pt x="2028" y="390"/>
                    </a:lnTo>
                    <a:lnTo>
                      <a:pt x="2046" y="393"/>
                    </a:lnTo>
                    <a:lnTo>
                      <a:pt x="2050" y="395"/>
                    </a:lnTo>
                    <a:lnTo>
                      <a:pt x="2041" y="407"/>
                    </a:lnTo>
                    <a:lnTo>
                      <a:pt x="2035" y="410"/>
                    </a:lnTo>
                    <a:lnTo>
                      <a:pt x="2032" y="416"/>
                    </a:lnTo>
                    <a:lnTo>
                      <a:pt x="2028" y="420"/>
                    </a:lnTo>
                    <a:lnTo>
                      <a:pt x="2032" y="426"/>
                    </a:lnTo>
                    <a:lnTo>
                      <a:pt x="2031" y="431"/>
                    </a:lnTo>
                    <a:lnTo>
                      <a:pt x="2028" y="437"/>
                    </a:lnTo>
                    <a:lnTo>
                      <a:pt x="2028" y="441"/>
                    </a:lnTo>
                    <a:lnTo>
                      <a:pt x="2032" y="443"/>
                    </a:lnTo>
                    <a:lnTo>
                      <a:pt x="2037" y="450"/>
                    </a:lnTo>
                    <a:lnTo>
                      <a:pt x="2046" y="450"/>
                    </a:lnTo>
                    <a:lnTo>
                      <a:pt x="2055" y="438"/>
                    </a:lnTo>
                    <a:lnTo>
                      <a:pt x="2064" y="428"/>
                    </a:lnTo>
                    <a:lnTo>
                      <a:pt x="2071" y="429"/>
                    </a:lnTo>
                    <a:lnTo>
                      <a:pt x="2079" y="423"/>
                    </a:lnTo>
                    <a:lnTo>
                      <a:pt x="2091" y="423"/>
                    </a:lnTo>
                    <a:lnTo>
                      <a:pt x="2100" y="431"/>
                    </a:lnTo>
                    <a:lnTo>
                      <a:pt x="2107" y="429"/>
                    </a:lnTo>
                    <a:lnTo>
                      <a:pt x="2116" y="434"/>
                    </a:lnTo>
                    <a:lnTo>
                      <a:pt x="2110" y="440"/>
                    </a:lnTo>
                    <a:lnTo>
                      <a:pt x="2113" y="446"/>
                    </a:lnTo>
                    <a:lnTo>
                      <a:pt x="2113" y="450"/>
                    </a:lnTo>
                    <a:lnTo>
                      <a:pt x="2119" y="461"/>
                    </a:lnTo>
                    <a:lnTo>
                      <a:pt x="2124" y="468"/>
                    </a:lnTo>
                    <a:lnTo>
                      <a:pt x="2130" y="470"/>
                    </a:lnTo>
                    <a:lnTo>
                      <a:pt x="2134" y="482"/>
                    </a:lnTo>
                    <a:lnTo>
                      <a:pt x="2140" y="485"/>
                    </a:lnTo>
                    <a:lnTo>
                      <a:pt x="2157" y="504"/>
                    </a:lnTo>
                    <a:lnTo>
                      <a:pt x="2163" y="513"/>
                    </a:lnTo>
                    <a:lnTo>
                      <a:pt x="2167" y="513"/>
                    </a:lnTo>
                    <a:lnTo>
                      <a:pt x="2170" y="510"/>
                    </a:lnTo>
                    <a:lnTo>
                      <a:pt x="2173" y="503"/>
                    </a:lnTo>
                    <a:lnTo>
                      <a:pt x="2181" y="501"/>
                    </a:lnTo>
                    <a:lnTo>
                      <a:pt x="2181" y="498"/>
                    </a:lnTo>
                    <a:lnTo>
                      <a:pt x="2191" y="506"/>
                    </a:lnTo>
                    <a:lnTo>
                      <a:pt x="2200" y="509"/>
                    </a:lnTo>
                    <a:lnTo>
                      <a:pt x="2205" y="516"/>
                    </a:lnTo>
                    <a:lnTo>
                      <a:pt x="2214" y="521"/>
                    </a:lnTo>
                    <a:lnTo>
                      <a:pt x="2214" y="531"/>
                    </a:lnTo>
                    <a:lnTo>
                      <a:pt x="2217" y="534"/>
                    </a:lnTo>
                    <a:lnTo>
                      <a:pt x="2211" y="542"/>
                    </a:lnTo>
                    <a:lnTo>
                      <a:pt x="2206" y="552"/>
                    </a:lnTo>
                    <a:lnTo>
                      <a:pt x="2212" y="557"/>
                    </a:lnTo>
                    <a:lnTo>
                      <a:pt x="2218" y="558"/>
                    </a:lnTo>
                    <a:lnTo>
                      <a:pt x="2232" y="569"/>
                    </a:lnTo>
                    <a:lnTo>
                      <a:pt x="2235" y="567"/>
                    </a:lnTo>
                    <a:lnTo>
                      <a:pt x="2236" y="561"/>
                    </a:lnTo>
                    <a:lnTo>
                      <a:pt x="2244" y="561"/>
                    </a:lnTo>
                    <a:lnTo>
                      <a:pt x="2256" y="575"/>
                    </a:lnTo>
                    <a:lnTo>
                      <a:pt x="2265" y="581"/>
                    </a:lnTo>
                    <a:lnTo>
                      <a:pt x="2268" y="597"/>
                    </a:lnTo>
                    <a:lnTo>
                      <a:pt x="2271" y="600"/>
                    </a:lnTo>
                    <a:lnTo>
                      <a:pt x="2275" y="605"/>
                    </a:lnTo>
                    <a:lnTo>
                      <a:pt x="2277" y="612"/>
                    </a:lnTo>
                    <a:lnTo>
                      <a:pt x="2275" y="617"/>
                    </a:lnTo>
                    <a:lnTo>
                      <a:pt x="2269" y="614"/>
                    </a:lnTo>
                    <a:lnTo>
                      <a:pt x="2262" y="612"/>
                    </a:lnTo>
                    <a:lnTo>
                      <a:pt x="2254" y="612"/>
                    </a:lnTo>
                    <a:lnTo>
                      <a:pt x="2248" y="617"/>
                    </a:lnTo>
                    <a:lnTo>
                      <a:pt x="2244" y="623"/>
                    </a:lnTo>
                    <a:lnTo>
                      <a:pt x="2236" y="627"/>
                    </a:lnTo>
                    <a:lnTo>
                      <a:pt x="2239" y="629"/>
                    </a:lnTo>
                    <a:lnTo>
                      <a:pt x="2239" y="635"/>
                    </a:lnTo>
                    <a:lnTo>
                      <a:pt x="2242" y="638"/>
                    </a:lnTo>
                    <a:lnTo>
                      <a:pt x="2239" y="647"/>
                    </a:lnTo>
                    <a:lnTo>
                      <a:pt x="2239" y="657"/>
                    </a:lnTo>
                    <a:lnTo>
                      <a:pt x="2245" y="662"/>
                    </a:lnTo>
                    <a:lnTo>
                      <a:pt x="2236" y="663"/>
                    </a:lnTo>
                    <a:lnTo>
                      <a:pt x="2235" y="674"/>
                    </a:lnTo>
                    <a:lnTo>
                      <a:pt x="2230" y="678"/>
                    </a:lnTo>
                    <a:lnTo>
                      <a:pt x="2224" y="681"/>
                    </a:lnTo>
                    <a:lnTo>
                      <a:pt x="2224" y="687"/>
                    </a:lnTo>
                    <a:lnTo>
                      <a:pt x="2220" y="693"/>
                    </a:lnTo>
                    <a:lnTo>
                      <a:pt x="2221" y="698"/>
                    </a:lnTo>
                    <a:lnTo>
                      <a:pt x="2227" y="698"/>
                    </a:lnTo>
                    <a:lnTo>
                      <a:pt x="2230" y="701"/>
                    </a:lnTo>
                    <a:lnTo>
                      <a:pt x="2229" y="705"/>
                    </a:lnTo>
                    <a:lnTo>
                      <a:pt x="2227" y="707"/>
                    </a:lnTo>
                    <a:lnTo>
                      <a:pt x="2223" y="708"/>
                    </a:lnTo>
                    <a:lnTo>
                      <a:pt x="2215" y="710"/>
                    </a:lnTo>
                    <a:lnTo>
                      <a:pt x="2205" y="720"/>
                    </a:lnTo>
                    <a:lnTo>
                      <a:pt x="2206" y="725"/>
                    </a:lnTo>
                    <a:lnTo>
                      <a:pt x="2205" y="728"/>
                    </a:lnTo>
                    <a:lnTo>
                      <a:pt x="2202" y="729"/>
                    </a:lnTo>
                    <a:lnTo>
                      <a:pt x="2199" y="735"/>
                    </a:lnTo>
                    <a:lnTo>
                      <a:pt x="2208" y="738"/>
                    </a:lnTo>
                    <a:lnTo>
                      <a:pt x="2214" y="749"/>
                    </a:lnTo>
                    <a:lnTo>
                      <a:pt x="2221" y="752"/>
                    </a:lnTo>
                    <a:lnTo>
                      <a:pt x="2223" y="746"/>
                    </a:lnTo>
                    <a:lnTo>
                      <a:pt x="2217" y="737"/>
                    </a:lnTo>
                    <a:lnTo>
                      <a:pt x="2218" y="731"/>
                    </a:lnTo>
                    <a:lnTo>
                      <a:pt x="2232" y="738"/>
                    </a:lnTo>
                    <a:lnTo>
                      <a:pt x="2235" y="737"/>
                    </a:lnTo>
                    <a:lnTo>
                      <a:pt x="2241" y="741"/>
                    </a:lnTo>
                    <a:lnTo>
                      <a:pt x="2245" y="744"/>
                    </a:lnTo>
                    <a:lnTo>
                      <a:pt x="2251" y="740"/>
                    </a:lnTo>
                    <a:lnTo>
                      <a:pt x="2251" y="753"/>
                    </a:lnTo>
                    <a:lnTo>
                      <a:pt x="2259" y="755"/>
                    </a:lnTo>
                    <a:lnTo>
                      <a:pt x="2262" y="759"/>
                    </a:lnTo>
                    <a:lnTo>
                      <a:pt x="2268" y="762"/>
                    </a:lnTo>
                    <a:lnTo>
                      <a:pt x="2269" y="767"/>
                    </a:lnTo>
                    <a:lnTo>
                      <a:pt x="2272" y="780"/>
                    </a:lnTo>
                    <a:lnTo>
                      <a:pt x="2278" y="774"/>
                    </a:lnTo>
                    <a:lnTo>
                      <a:pt x="2287" y="773"/>
                    </a:lnTo>
                    <a:lnTo>
                      <a:pt x="2296" y="783"/>
                    </a:lnTo>
                    <a:lnTo>
                      <a:pt x="2304" y="788"/>
                    </a:lnTo>
                    <a:lnTo>
                      <a:pt x="2307" y="795"/>
                    </a:lnTo>
                    <a:lnTo>
                      <a:pt x="2311" y="792"/>
                    </a:lnTo>
                    <a:lnTo>
                      <a:pt x="2313" y="792"/>
                    </a:lnTo>
                    <a:lnTo>
                      <a:pt x="2313" y="804"/>
                    </a:lnTo>
                    <a:lnTo>
                      <a:pt x="2320" y="809"/>
                    </a:lnTo>
                    <a:lnTo>
                      <a:pt x="2322" y="827"/>
                    </a:lnTo>
                    <a:lnTo>
                      <a:pt x="2329" y="831"/>
                    </a:lnTo>
                    <a:lnTo>
                      <a:pt x="2328" y="842"/>
                    </a:lnTo>
                    <a:lnTo>
                      <a:pt x="2323" y="851"/>
                    </a:lnTo>
                    <a:lnTo>
                      <a:pt x="2319" y="852"/>
                    </a:lnTo>
                    <a:lnTo>
                      <a:pt x="2316" y="855"/>
                    </a:lnTo>
                    <a:lnTo>
                      <a:pt x="2314" y="860"/>
                    </a:lnTo>
                    <a:lnTo>
                      <a:pt x="2322" y="867"/>
                    </a:lnTo>
                    <a:lnTo>
                      <a:pt x="2320" y="876"/>
                    </a:lnTo>
                    <a:lnTo>
                      <a:pt x="2325" y="881"/>
                    </a:lnTo>
                    <a:lnTo>
                      <a:pt x="2328" y="888"/>
                    </a:lnTo>
                    <a:lnTo>
                      <a:pt x="2334" y="885"/>
                    </a:lnTo>
                    <a:lnTo>
                      <a:pt x="2337" y="891"/>
                    </a:lnTo>
                    <a:lnTo>
                      <a:pt x="2341" y="888"/>
                    </a:lnTo>
                    <a:lnTo>
                      <a:pt x="2341" y="882"/>
                    </a:lnTo>
                    <a:lnTo>
                      <a:pt x="2347" y="878"/>
                    </a:lnTo>
                    <a:lnTo>
                      <a:pt x="2356" y="876"/>
                    </a:lnTo>
                    <a:lnTo>
                      <a:pt x="2365" y="866"/>
                    </a:lnTo>
                    <a:lnTo>
                      <a:pt x="2368" y="864"/>
                    </a:lnTo>
                    <a:lnTo>
                      <a:pt x="2374" y="864"/>
                    </a:lnTo>
                    <a:lnTo>
                      <a:pt x="2374" y="869"/>
                    </a:lnTo>
                    <a:lnTo>
                      <a:pt x="2370" y="873"/>
                    </a:lnTo>
                    <a:lnTo>
                      <a:pt x="2374" y="881"/>
                    </a:lnTo>
                    <a:lnTo>
                      <a:pt x="2373" y="885"/>
                    </a:lnTo>
                    <a:lnTo>
                      <a:pt x="2377" y="888"/>
                    </a:lnTo>
                    <a:lnTo>
                      <a:pt x="2377" y="891"/>
                    </a:lnTo>
                    <a:lnTo>
                      <a:pt x="2382" y="891"/>
                    </a:lnTo>
                    <a:lnTo>
                      <a:pt x="2385" y="890"/>
                    </a:lnTo>
                    <a:lnTo>
                      <a:pt x="2386" y="902"/>
                    </a:lnTo>
                    <a:lnTo>
                      <a:pt x="2395" y="906"/>
                    </a:lnTo>
                    <a:lnTo>
                      <a:pt x="2397" y="921"/>
                    </a:lnTo>
                    <a:lnTo>
                      <a:pt x="2401" y="920"/>
                    </a:lnTo>
                    <a:lnTo>
                      <a:pt x="2400" y="926"/>
                    </a:lnTo>
                    <a:lnTo>
                      <a:pt x="2404" y="929"/>
                    </a:lnTo>
                    <a:lnTo>
                      <a:pt x="2401" y="936"/>
                    </a:lnTo>
                    <a:lnTo>
                      <a:pt x="2400" y="942"/>
                    </a:lnTo>
                    <a:lnTo>
                      <a:pt x="2386" y="941"/>
                    </a:lnTo>
                    <a:lnTo>
                      <a:pt x="2382" y="941"/>
                    </a:lnTo>
                    <a:lnTo>
                      <a:pt x="2374" y="936"/>
                    </a:lnTo>
                    <a:lnTo>
                      <a:pt x="2371" y="938"/>
                    </a:lnTo>
                    <a:lnTo>
                      <a:pt x="2371" y="948"/>
                    </a:lnTo>
                    <a:lnTo>
                      <a:pt x="2361" y="957"/>
                    </a:lnTo>
                    <a:lnTo>
                      <a:pt x="2362" y="963"/>
                    </a:lnTo>
                    <a:lnTo>
                      <a:pt x="2356" y="971"/>
                    </a:lnTo>
                    <a:lnTo>
                      <a:pt x="2350" y="980"/>
                    </a:lnTo>
                    <a:lnTo>
                      <a:pt x="2355" y="984"/>
                    </a:lnTo>
                    <a:lnTo>
                      <a:pt x="2352" y="992"/>
                    </a:lnTo>
                    <a:lnTo>
                      <a:pt x="2347" y="996"/>
                    </a:lnTo>
                    <a:lnTo>
                      <a:pt x="2349" y="1001"/>
                    </a:lnTo>
                    <a:lnTo>
                      <a:pt x="2356" y="996"/>
                    </a:lnTo>
                    <a:lnTo>
                      <a:pt x="2358" y="999"/>
                    </a:lnTo>
                    <a:lnTo>
                      <a:pt x="2344" y="1007"/>
                    </a:lnTo>
                    <a:lnTo>
                      <a:pt x="2338" y="1007"/>
                    </a:lnTo>
                    <a:lnTo>
                      <a:pt x="2331" y="1004"/>
                    </a:lnTo>
                    <a:lnTo>
                      <a:pt x="2332" y="998"/>
                    </a:lnTo>
                    <a:lnTo>
                      <a:pt x="2325" y="998"/>
                    </a:lnTo>
                    <a:lnTo>
                      <a:pt x="2316" y="993"/>
                    </a:lnTo>
                    <a:lnTo>
                      <a:pt x="2310" y="996"/>
                    </a:lnTo>
                    <a:lnTo>
                      <a:pt x="2305" y="993"/>
                    </a:lnTo>
                    <a:lnTo>
                      <a:pt x="2302" y="995"/>
                    </a:lnTo>
                    <a:lnTo>
                      <a:pt x="2301" y="1004"/>
                    </a:lnTo>
                    <a:lnTo>
                      <a:pt x="2295" y="1002"/>
                    </a:lnTo>
                    <a:lnTo>
                      <a:pt x="2290" y="1007"/>
                    </a:lnTo>
                    <a:lnTo>
                      <a:pt x="2293" y="1017"/>
                    </a:lnTo>
                    <a:lnTo>
                      <a:pt x="2290" y="1025"/>
                    </a:lnTo>
                    <a:lnTo>
                      <a:pt x="2290" y="1032"/>
                    </a:lnTo>
                    <a:lnTo>
                      <a:pt x="2287" y="1038"/>
                    </a:lnTo>
                    <a:lnTo>
                      <a:pt x="2281" y="1041"/>
                    </a:lnTo>
                    <a:lnTo>
                      <a:pt x="2277" y="1037"/>
                    </a:lnTo>
                    <a:lnTo>
                      <a:pt x="2271" y="1035"/>
                    </a:lnTo>
                    <a:lnTo>
                      <a:pt x="2268" y="1038"/>
                    </a:lnTo>
                    <a:lnTo>
                      <a:pt x="2265" y="1037"/>
                    </a:lnTo>
                    <a:lnTo>
                      <a:pt x="2257" y="1034"/>
                    </a:lnTo>
                    <a:lnTo>
                      <a:pt x="2250" y="1035"/>
                    </a:lnTo>
                    <a:lnTo>
                      <a:pt x="2244" y="1047"/>
                    </a:lnTo>
                    <a:lnTo>
                      <a:pt x="2241" y="1067"/>
                    </a:lnTo>
                    <a:lnTo>
                      <a:pt x="2236" y="1083"/>
                    </a:lnTo>
                    <a:lnTo>
                      <a:pt x="2241" y="1088"/>
                    </a:lnTo>
                    <a:lnTo>
                      <a:pt x="2244" y="1091"/>
                    </a:lnTo>
                    <a:lnTo>
                      <a:pt x="2242" y="1098"/>
                    </a:lnTo>
                    <a:lnTo>
                      <a:pt x="2245" y="1100"/>
                    </a:lnTo>
                    <a:lnTo>
                      <a:pt x="2257" y="1097"/>
                    </a:lnTo>
                    <a:lnTo>
                      <a:pt x="2265" y="1100"/>
                    </a:lnTo>
                    <a:lnTo>
                      <a:pt x="2262" y="1104"/>
                    </a:lnTo>
                    <a:lnTo>
                      <a:pt x="2263" y="1109"/>
                    </a:lnTo>
                    <a:lnTo>
                      <a:pt x="2260" y="1115"/>
                    </a:lnTo>
                    <a:lnTo>
                      <a:pt x="2265" y="1119"/>
                    </a:lnTo>
                    <a:lnTo>
                      <a:pt x="2263" y="1125"/>
                    </a:lnTo>
                    <a:lnTo>
                      <a:pt x="2253" y="1131"/>
                    </a:lnTo>
                    <a:lnTo>
                      <a:pt x="2247" y="1136"/>
                    </a:lnTo>
                    <a:lnTo>
                      <a:pt x="2247" y="1142"/>
                    </a:lnTo>
                    <a:lnTo>
                      <a:pt x="2253" y="1143"/>
                    </a:lnTo>
                    <a:lnTo>
                      <a:pt x="2253" y="1148"/>
                    </a:lnTo>
                    <a:lnTo>
                      <a:pt x="2242" y="1152"/>
                    </a:lnTo>
                    <a:lnTo>
                      <a:pt x="2247" y="1152"/>
                    </a:lnTo>
                    <a:lnTo>
                      <a:pt x="2244" y="1158"/>
                    </a:lnTo>
                    <a:lnTo>
                      <a:pt x="2247" y="1160"/>
                    </a:lnTo>
                    <a:lnTo>
                      <a:pt x="2245" y="1163"/>
                    </a:lnTo>
                    <a:lnTo>
                      <a:pt x="2250" y="1170"/>
                    </a:lnTo>
                    <a:lnTo>
                      <a:pt x="2250" y="1178"/>
                    </a:lnTo>
                    <a:lnTo>
                      <a:pt x="2253" y="1185"/>
                    </a:lnTo>
                    <a:lnTo>
                      <a:pt x="2253" y="1191"/>
                    </a:lnTo>
                    <a:lnTo>
                      <a:pt x="2245" y="1196"/>
                    </a:lnTo>
                    <a:lnTo>
                      <a:pt x="2242" y="1191"/>
                    </a:lnTo>
                    <a:lnTo>
                      <a:pt x="2236" y="1196"/>
                    </a:lnTo>
                    <a:lnTo>
                      <a:pt x="2232" y="1193"/>
                    </a:lnTo>
                    <a:lnTo>
                      <a:pt x="2230" y="1191"/>
                    </a:lnTo>
                    <a:lnTo>
                      <a:pt x="2223" y="1191"/>
                    </a:lnTo>
                    <a:lnTo>
                      <a:pt x="2223" y="1197"/>
                    </a:lnTo>
                    <a:lnTo>
                      <a:pt x="2217" y="1205"/>
                    </a:lnTo>
                    <a:lnTo>
                      <a:pt x="2211" y="1202"/>
                    </a:lnTo>
                    <a:lnTo>
                      <a:pt x="2199" y="1202"/>
                    </a:lnTo>
                    <a:lnTo>
                      <a:pt x="2190" y="1206"/>
                    </a:lnTo>
                    <a:lnTo>
                      <a:pt x="2182" y="1202"/>
                    </a:lnTo>
                    <a:lnTo>
                      <a:pt x="2173" y="1209"/>
                    </a:lnTo>
                    <a:lnTo>
                      <a:pt x="2170" y="1199"/>
                    </a:lnTo>
                    <a:lnTo>
                      <a:pt x="2172" y="1191"/>
                    </a:lnTo>
                    <a:lnTo>
                      <a:pt x="2166" y="1188"/>
                    </a:lnTo>
                    <a:lnTo>
                      <a:pt x="2166" y="1178"/>
                    </a:lnTo>
                    <a:lnTo>
                      <a:pt x="2152" y="1167"/>
                    </a:lnTo>
                    <a:lnTo>
                      <a:pt x="2146" y="1178"/>
                    </a:lnTo>
                    <a:lnTo>
                      <a:pt x="2139" y="1182"/>
                    </a:lnTo>
                    <a:lnTo>
                      <a:pt x="2128" y="1199"/>
                    </a:lnTo>
                    <a:lnTo>
                      <a:pt x="2124" y="1205"/>
                    </a:lnTo>
                    <a:lnTo>
                      <a:pt x="2107" y="1206"/>
                    </a:lnTo>
                    <a:lnTo>
                      <a:pt x="2101" y="1200"/>
                    </a:lnTo>
                    <a:lnTo>
                      <a:pt x="2092" y="1197"/>
                    </a:lnTo>
                    <a:lnTo>
                      <a:pt x="2086" y="1193"/>
                    </a:lnTo>
                    <a:lnTo>
                      <a:pt x="2080" y="1196"/>
                    </a:lnTo>
                    <a:lnTo>
                      <a:pt x="2076" y="1203"/>
                    </a:lnTo>
                    <a:lnTo>
                      <a:pt x="2065" y="1205"/>
                    </a:lnTo>
                    <a:lnTo>
                      <a:pt x="2058" y="1208"/>
                    </a:lnTo>
                    <a:lnTo>
                      <a:pt x="2053" y="1206"/>
                    </a:lnTo>
                    <a:lnTo>
                      <a:pt x="2047" y="1209"/>
                    </a:lnTo>
                    <a:lnTo>
                      <a:pt x="2041" y="1203"/>
                    </a:lnTo>
                    <a:lnTo>
                      <a:pt x="2034" y="1202"/>
                    </a:lnTo>
                    <a:lnTo>
                      <a:pt x="2025" y="1206"/>
                    </a:lnTo>
                    <a:lnTo>
                      <a:pt x="2019" y="1229"/>
                    </a:lnTo>
                    <a:lnTo>
                      <a:pt x="2017" y="1233"/>
                    </a:lnTo>
                    <a:lnTo>
                      <a:pt x="2025" y="1235"/>
                    </a:lnTo>
                    <a:lnTo>
                      <a:pt x="2013" y="1245"/>
                    </a:lnTo>
                    <a:lnTo>
                      <a:pt x="2008" y="1256"/>
                    </a:lnTo>
                    <a:lnTo>
                      <a:pt x="1996" y="1272"/>
                    </a:lnTo>
                    <a:lnTo>
                      <a:pt x="1996" y="1281"/>
                    </a:lnTo>
                    <a:lnTo>
                      <a:pt x="1995" y="1289"/>
                    </a:lnTo>
                    <a:close/>
                  </a:path>
                </a:pathLst>
              </a:custGeom>
              <a:no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0" name="Freeform 294">
                <a:extLst>
                  <a:ext uri="{FF2B5EF4-FFF2-40B4-BE49-F238E27FC236}">
                    <a16:creationId xmlns:a16="http://schemas.microsoft.com/office/drawing/2014/main" id="{26EA78F1-1A38-F33C-AFB6-67FFDEE30FE7}"/>
                  </a:ext>
                </a:extLst>
              </p:cNvPr>
              <p:cNvSpPr>
                <a:spLocks/>
              </p:cNvSpPr>
              <p:nvPr/>
            </p:nvSpPr>
            <p:spPr bwMode="auto">
              <a:xfrm>
                <a:off x="3381" y="1388"/>
                <a:ext cx="720" cy="743"/>
              </a:xfrm>
              <a:custGeom>
                <a:avLst/>
                <a:gdLst>
                  <a:gd name="T0" fmla="*/ 0 w 2160"/>
                  <a:gd name="T1" fmla="*/ 0 h 2229"/>
                  <a:gd name="T2" fmla="*/ 0 w 2160"/>
                  <a:gd name="T3" fmla="*/ 0 h 2229"/>
                  <a:gd name="T4" fmla="*/ 0 w 2160"/>
                  <a:gd name="T5" fmla="*/ 0 h 2229"/>
                  <a:gd name="T6" fmla="*/ 0 w 2160"/>
                  <a:gd name="T7" fmla="*/ 0 h 2229"/>
                  <a:gd name="T8" fmla="*/ 0 w 2160"/>
                  <a:gd name="T9" fmla="*/ 0 h 2229"/>
                  <a:gd name="T10" fmla="*/ 0 w 2160"/>
                  <a:gd name="T11" fmla="*/ 0 h 2229"/>
                  <a:gd name="T12" fmla="*/ 0 w 2160"/>
                  <a:gd name="T13" fmla="*/ 0 h 2229"/>
                  <a:gd name="T14" fmla="*/ 0 w 2160"/>
                  <a:gd name="T15" fmla="*/ 0 h 2229"/>
                  <a:gd name="T16" fmla="*/ 0 w 2160"/>
                  <a:gd name="T17" fmla="*/ 0 h 2229"/>
                  <a:gd name="T18" fmla="*/ 0 w 2160"/>
                  <a:gd name="T19" fmla="*/ 0 h 2229"/>
                  <a:gd name="T20" fmla="*/ 0 w 2160"/>
                  <a:gd name="T21" fmla="*/ 0 h 2229"/>
                  <a:gd name="T22" fmla="*/ 0 w 2160"/>
                  <a:gd name="T23" fmla="*/ 0 h 2229"/>
                  <a:gd name="T24" fmla="*/ 0 w 2160"/>
                  <a:gd name="T25" fmla="*/ 0 h 2229"/>
                  <a:gd name="T26" fmla="*/ 0 w 2160"/>
                  <a:gd name="T27" fmla="*/ 0 h 2229"/>
                  <a:gd name="T28" fmla="*/ 0 w 2160"/>
                  <a:gd name="T29" fmla="*/ 0 h 2229"/>
                  <a:gd name="T30" fmla="*/ 0 w 2160"/>
                  <a:gd name="T31" fmla="*/ 0 h 2229"/>
                  <a:gd name="T32" fmla="*/ 0 w 2160"/>
                  <a:gd name="T33" fmla="*/ 0 h 2229"/>
                  <a:gd name="T34" fmla="*/ 0 w 2160"/>
                  <a:gd name="T35" fmla="*/ 0 h 2229"/>
                  <a:gd name="T36" fmla="*/ 0 w 2160"/>
                  <a:gd name="T37" fmla="*/ 0 h 2229"/>
                  <a:gd name="T38" fmla="*/ 0 w 2160"/>
                  <a:gd name="T39" fmla="*/ 0 h 2229"/>
                  <a:gd name="T40" fmla="*/ 0 w 2160"/>
                  <a:gd name="T41" fmla="*/ 0 h 2229"/>
                  <a:gd name="T42" fmla="*/ 0 w 2160"/>
                  <a:gd name="T43" fmla="*/ 0 h 2229"/>
                  <a:gd name="T44" fmla="*/ 0 w 2160"/>
                  <a:gd name="T45" fmla="*/ 0 h 2229"/>
                  <a:gd name="T46" fmla="*/ 0 w 2160"/>
                  <a:gd name="T47" fmla="*/ 0 h 2229"/>
                  <a:gd name="T48" fmla="*/ 0 w 2160"/>
                  <a:gd name="T49" fmla="*/ 0 h 2229"/>
                  <a:gd name="T50" fmla="*/ 0 w 2160"/>
                  <a:gd name="T51" fmla="*/ 0 h 2229"/>
                  <a:gd name="T52" fmla="*/ 0 w 2160"/>
                  <a:gd name="T53" fmla="*/ 0 h 2229"/>
                  <a:gd name="T54" fmla="*/ 0 w 2160"/>
                  <a:gd name="T55" fmla="*/ 0 h 2229"/>
                  <a:gd name="T56" fmla="*/ 0 w 2160"/>
                  <a:gd name="T57" fmla="*/ 0 h 2229"/>
                  <a:gd name="T58" fmla="*/ 0 w 2160"/>
                  <a:gd name="T59" fmla="*/ 0 h 2229"/>
                  <a:gd name="T60" fmla="*/ 0 w 2160"/>
                  <a:gd name="T61" fmla="*/ 0 h 2229"/>
                  <a:gd name="T62" fmla="*/ 0 w 2160"/>
                  <a:gd name="T63" fmla="*/ 0 h 2229"/>
                  <a:gd name="T64" fmla="*/ 0 w 2160"/>
                  <a:gd name="T65" fmla="*/ 0 h 2229"/>
                  <a:gd name="T66" fmla="*/ 0 w 2160"/>
                  <a:gd name="T67" fmla="*/ 0 h 2229"/>
                  <a:gd name="T68" fmla="*/ 0 w 2160"/>
                  <a:gd name="T69" fmla="*/ 0 h 2229"/>
                  <a:gd name="T70" fmla="*/ 0 w 2160"/>
                  <a:gd name="T71" fmla="*/ 0 h 2229"/>
                  <a:gd name="T72" fmla="*/ 0 w 2160"/>
                  <a:gd name="T73" fmla="*/ 0 h 2229"/>
                  <a:gd name="T74" fmla="*/ 0 w 2160"/>
                  <a:gd name="T75" fmla="*/ 0 h 2229"/>
                  <a:gd name="T76" fmla="*/ 0 w 2160"/>
                  <a:gd name="T77" fmla="*/ 0 h 2229"/>
                  <a:gd name="T78" fmla="*/ 0 w 2160"/>
                  <a:gd name="T79" fmla="*/ 0 h 2229"/>
                  <a:gd name="T80" fmla="*/ 0 w 2160"/>
                  <a:gd name="T81" fmla="*/ 0 h 2229"/>
                  <a:gd name="T82" fmla="*/ 0 w 2160"/>
                  <a:gd name="T83" fmla="*/ 0 h 2229"/>
                  <a:gd name="T84" fmla="*/ 0 w 2160"/>
                  <a:gd name="T85" fmla="*/ 0 h 2229"/>
                  <a:gd name="T86" fmla="*/ 0 w 2160"/>
                  <a:gd name="T87" fmla="*/ 0 h 2229"/>
                  <a:gd name="T88" fmla="*/ 0 w 2160"/>
                  <a:gd name="T89" fmla="*/ 0 h 2229"/>
                  <a:gd name="T90" fmla="*/ 0 w 2160"/>
                  <a:gd name="T91" fmla="*/ 0 h 2229"/>
                  <a:gd name="T92" fmla="*/ 0 w 2160"/>
                  <a:gd name="T93" fmla="*/ 0 h 2229"/>
                  <a:gd name="T94" fmla="*/ 0 w 2160"/>
                  <a:gd name="T95" fmla="*/ 0 h 2229"/>
                  <a:gd name="T96" fmla="*/ 0 w 2160"/>
                  <a:gd name="T97" fmla="*/ 0 h 2229"/>
                  <a:gd name="T98" fmla="*/ 0 w 2160"/>
                  <a:gd name="T99" fmla="*/ 0 h 2229"/>
                  <a:gd name="T100" fmla="*/ 0 w 2160"/>
                  <a:gd name="T101" fmla="*/ 0 h 2229"/>
                  <a:gd name="T102" fmla="*/ 0 w 2160"/>
                  <a:gd name="T103" fmla="*/ 0 h 2229"/>
                  <a:gd name="T104" fmla="*/ 0 w 2160"/>
                  <a:gd name="T105" fmla="*/ 0 h 2229"/>
                  <a:gd name="T106" fmla="*/ 0 w 2160"/>
                  <a:gd name="T107" fmla="*/ 0 h 2229"/>
                  <a:gd name="T108" fmla="*/ 0 w 2160"/>
                  <a:gd name="T109" fmla="*/ 0 h 2229"/>
                  <a:gd name="T110" fmla="*/ 0 w 2160"/>
                  <a:gd name="T111" fmla="*/ 0 h 2229"/>
                  <a:gd name="T112" fmla="*/ 0 w 2160"/>
                  <a:gd name="T113" fmla="*/ 0 h 2229"/>
                  <a:gd name="T114" fmla="*/ 0 w 2160"/>
                  <a:gd name="T115" fmla="*/ 0 h 2229"/>
                  <a:gd name="T116" fmla="*/ 0 w 2160"/>
                  <a:gd name="T117" fmla="*/ 0 h 22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 h="2229">
                    <a:moveTo>
                      <a:pt x="1202" y="1794"/>
                    </a:moveTo>
                    <a:lnTo>
                      <a:pt x="1191" y="1788"/>
                    </a:lnTo>
                    <a:lnTo>
                      <a:pt x="1182" y="1790"/>
                    </a:lnTo>
                    <a:lnTo>
                      <a:pt x="1178" y="1796"/>
                    </a:lnTo>
                    <a:lnTo>
                      <a:pt x="1173" y="1791"/>
                    </a:lnTo>
                    <a:lnTo>
                      <a:pt x="1170" y="1787"/>
                    </a:lnTo>
                    <a:lnTo>
                      <a:pt x="1166" y="1787"/>
                    </a:lnTo>
                    <a:lnTo>
                      <a:pt x="1158" y="1784"/>
                    </a:lnTo>
                    <a:lnTo>
                      <a:pt x="1154" y="1785"/>
                    </a:lnTo>
                    <a:lnTo>
                      <a:pt x="1148" y="1785"/>
                    </a:lnTo>
                    <a:lnTo>
                      <a:pt x="1143" y="1799"/>
                    </a:lnTo>
                    <a:lnTo>
                      <a:pt x="1133" y="1796"/>
                    </a:lnTo>
                    <a:lnTo>
                      <a:pt x="1122" y="1797"/>
                    </a:lnTo>
                    <a:lnTo>
                      <a:pt x="1110" y="1803"/>
                    </a:lnTo>
                    <a:lnTo>
                      <a:pt x="1104" y="1820"/>
                    </a:lnTo>
                    <a:lnTo>
                      <a:pt x="1083" y="1827"/>
                    </a:lnTo>
                    <a:lnTo>
                      <a:pt x="1077" y="1838"/>
                    </a:lnTo>
                    <a:lnTo>
                      <a:pt x="1058" y="1851"/>
                    </a:lnTo>
                    <a:lnTo>
                      <a:pt x="1059" y="1866"/>
                    </a:lnTo>
                    <a:lnTo>
                      <a:pt x="1053" y="1871"/>
                    </a:lnTo>
                    <a:lnTo>
                      <a:pt x="1040" y="1865"/>
                    </a:lnTo>
                    <a:lnTo>
                      <a:pt x="1014" y="1866"/>
                    </a:lnTo>
                    <a:lnTo>
                      <a:pt x="1007" y="1878"/>
                    </a:lnTo>
                    <a:lnTo>
                      <a:pt x="1001" y="1880"/>
                    </a:lnTo>
                    <a:lnTo>
                      <a:pt x="996" y="1875"/>
                    </a:lnTo>
                    <a:lnTo>
                      <a:pt x="989" y="1884"/>
                    </a:lnTo>
                    <a:lnTo>
                      <a:pt x="984" y="1875"/>
                    </a:lnTo>
                    <a:lnTo>
                      <a:pt x="980" y="1875"/>
                    </a:lnTo>
                    <a:lnTo>
                      <a:pt x="972" y="1862"/>
                    </a:lnTo>
                    <a:lnTo>
                      <a:pt x="971" y="1856"/>
                    </a:lnTo>
                    <a:lnTo>
                      <a:pt x="965" y="1850"/>
                    </a:lnTo>
                    <a:lnTo>
                      <a:pt x="951" y="1856"/>
                    </a:lnTo>
                    <a:lnTo>
                      <a:pt x="941" y="1872"/>
                    </a:lnTo>
                    <a:lnTo>
                      <a:pt x="945" y="1880"/>
                    </a:lnTo>
                    <a:lnTo>
                      <a:pt x="939" y="1883"/>
                    </a:lnTo>
                    <a:lnTo>
                      <a:pt x="936" y="1878"/>
                    </a:lnTo>
                    <a:lnTo>
                      <a:pt x="929" y="1878"/>
                    </a:lnTo>
                    <a:lnTo>
                      <a:pt x="927" y="1884"/>
                    </a:lnTo>
                    <a:lnTo>
                      <a:pt x="921" y="1892"/>
                    </a:lnTo>
                    <a:lnTo>
                      <a:pt x="921" y="1898"/>
                    </a:lnTo>
                    <a:lnTo>
                      <a:pt x="900" y="1911"/>
                    </a:lnTo>
                    <a:lnTo>
                      <a:pt x="896" y="1917"/>
                    </a:lnTo>
                    <a:lnTo>
                      <a:pt x="879" y="1913"/>
                    </a:lnTo>
                    <a:lnTo>
                      <a:pt x="878" y="1919"/>
                    </a:lnTo>
                    <a:lnTo>
                      <a:pt x="881" y="1935"/>
                    </a:lnTo>
                    <a:lnTo>
                      <a:pt x="885" y="1934"/>
                    </a:lnTo>
                    <a:lnTo>
                      <a:pt x="888" y="1937"/>
                    </a:lnTo>
                    <a:lnTo>
                      <a:pt x="884" y="1950"/>
                    </a:lnTo>
                    <a:lnTo>
                      <a:pt x="875" y="1949"/>
                    </a:lnTo>
                    <a:lnTo>
                      <a:pt x="869" y="1946"/>
                    </a:lnTo>
                    <a:lnTo>
                      <a:pt x="867" y="1938"/>
                    </a:lnTo>
                    <a:lnTo>
                      <a:pt x="834" y="1955"/>
                    </a:lnTo>
                    <a:lnTo>
                      <a:pt x="839" y="1965"/>
                    </a:lnTo>
                    <a:lnTo>
                      <a:pt x="846" y="1964"/>
                    </a:lnTo>
                    <a:lnTo>
                      <a:pt x="854" y="1965"/>
                    </a:lnTo>
                    <a:lnTo>
                      <a:pt x="857" y="1976"/>
                    </a:lnTo>
                    <a:lnTo>
                      <a:pt x="848" y="1989"/>
                    </a:lnTo>
                    <a:lnTo>
                      <a:pt x="851" y="1998"/>
                    </a:lnTo>
                    <a:lnTo>
                      <a:pt x="849" y="2003"/>
                    </a:lnTo>
                    <a:lnTo>
                      <a:pt x="836" y="2010"/>
                    </a:lnTo>
                    <a:lnTo>
                      <a:pt x="843" y="2018"/>
                    </a:lnTo>
                    <a:lnTo>
                      <a:pt x="845" y="2028"/>
                    </a:lnTo>
                    <a:lnTo>
                      <a:pt x="851" y="2028"/>
                    </a:lnTo>
                    <a:lnTo>
                      <a:pt x="863" y="2022"/>
                    </a:lnTo>
                    <a:lnTo>
                      <a:pt x="861" y="2036"/>
                    </a:lnTo>
                    <a:lnTo>
                      <a:pt x="867" y="2052"/>
                    </a:lnTo>
                    <a:lnTo>
                      <a:pt x="864" y="2064"/>
                    </a:lnTo>
                    <a:lnTo>
                      <a:pt x="870" y="2069"/>
                    </a:lnTo>
                    <a:lnTo>
                      <a:pt x="870" y="2078"/>
                    </a:lnTo>
                    <a:lnTo>
                      <a:pt x="846" y="2090"/>
                    </a:lnTo>
                    <a:lnTo>
                      <a:pt x="809" y="2112"/>
                    </a:lnTo>
                    <a:lnTo>
                      <a:pt x="806" y="2109"/>
                    </a:lnTo>
                    <a:lnTo>
                      <a:pt x="800" y="2100"/>
                    </a:lnTo>
                    <a:lnTo>
                      <a:pt x="789" y="2105"/>
                    </a:lnTo>
                    <a:lnTo>
                      <a:pt x="786" y="2112"/>
                    </a:lnTo>
                    <a:lnTo>
                      <a:pt x="780" y="2112"/>
                    </a:lnTo>
                    <a:lnTo>
                      <a:pt x="779" y="2105"/>
                    </a:lnTo>
                    <a:lnTo>
                      <a:pt x="774" y="2097"/>
                    </a:lnTo>
                    <a:lnTo>
                      <a:pt x="756" y="2106"/>
                    </a:lnTo>
                    <a:lnTo>
                      <a:pt x="750" y="2106"/>
                    </a:lnTo>
                    <a:lnTo>
                      <a:pt x="740" y="2111"/>
                    </a:lnTo>
                    <a:lnTo>
                      <a:pt x="732" y="2105"/>
                    </a:lnTo>
                    <a:lnTo>
                      <a:pt x="717" y="2105"/>
                    </a:lnTo>
                    <a:lnTo>
                      <a:pt x="713" y="2112"/>
                    </a:lnTo>
                    <a:lnTo>
                      <a:pt x="684" y="2115"/>
                    </a:lnTo>
                    <a:lnTo>
                      <a:pt x="674" y="2118"/>
                    </a:lnTo>
                    <a:lnTo>
                      <a:pt x="648" y="2136"/>
                    </a:lnTo>
                    <a:lnTo>
                      <a:pt x="639" y="2147"/>
                    </a:lnTo>
                    <a:lnTo>
                      <a:pt x="639" y="2153"/>
                    </a:lnTo>
                    <a:lnTo>
                      <a:pt x="645" y="2156"/>
                    </a:lnTo>
                    <a:lnTo>
                      <a:pt x="644" y="2165"/>
                    </a:lnTo>
                    <a:lnTo>
                      <a:pt x="641" y="2169"/>
                    </a:lnTo>
                    <a:lnTo>
                      <a:pt x="638" y="2171"/>
                    </a:lnTo>
                    <a:lnTo>
                      <a:pt x="632" y="2162"/>
                    </a:lnTo>
                    <a:lnTo>
                      <a:pt x="626" y="2162"/>
                    </a:lnTo>
                    <a:lnTo>
                      <a:pt x="617" y="2178"/>
                    </a:lnTo>
                    <a:lnTo>
                      <a:pt x="609" y="2190"/>
                    </a:lnTo>
                    <a:lnTo>
                      <a:pt x="608" y="2213"/>
                    </a:lnTo>
                    <a:lnTo>
                      <a:pt x="602" y="2222"/>
                    </a:lnTo>
                    <a:lnTo>
                      <a:pt x="605" y="2229"/>
                    </a:lnTo>
                    <a:lnTo>
                      <a:pt x="587" y="2223"/>
                    </a:lnTo>
                    <a:lnTo>
                      <a:pt x="587" y="2220"/>
                    </a:lnTo>
                    <a:lnTo>
                      <a:pt x="582" y="2220"/>
                    </a:lnTo>
                    <a:lnTo>
                      <a:pt x="570" y="2228"/>
                    </a:lnTo>
                    <a:lnTo>
                      <a:pt x="563" y="2225"/>
                    </a:lnTo>
                    <a:lnTo>
                      <a:pt x="558" y="2228"/>
                    </a:lnTo>
                    <a:lnTo>
                      <a:pt x="545" y="2223"/>
                    </a:lnTo>
                    <a:lnTo>
                      <a:pt x="542" y="2216"/>
                    </a:lnTo>
                    <a:lnTo>
                      <a:pt x="531" y="2225"/>
                    </a:lnTo>
                    <a:lnTo>
                      <a:pt x="522" y="2223"/>
                    </a:lnTo>
                    <a:lnTo>
                      <a:pt x="512" y="2211"/>
                    </a:lnTo>
                    <a:lnTo>
                      <a:pt x="513" y="2204"/>
                    </a:lnTo>
                    <a:lnTo>
                      <a:pt x="510" y="2199"/>
                    </a:lnTo>
                    <a:lnTo>
                      <a:pt x="509" y="2187"/>
                    </a:lnTo>
                    <a:lnTo>
                      <a:pt x="539" y="2174"/>
                    </a:lnTo>
                    <a:lnTo>
                      <a:pt x="546" y="2160"/>
                    </a:lnTo>
                    <a:lnTo>
                      <a:pt x="552" y="2150"/>
                    </a:lnTo>
                    <a:lnTo>
                      <a:pt x="543" y="2145"/>
                    </a:lnTo>
                    <a:lnTo>
                      <a:pt x="543" y="2130"/>
                    </a:lnTo>
                    <a:lnTo>
                      <a:pt x="534" y="2130"/>
                    </a:lnTo>
                    <a:lnTo>
                      <a:pt x="530" y="2124"/>
                    </a:lnTo>
                    <a:lnTo>
                      <a:pt x="531" y="2102"/>
                    </a:lnTo>
                    <a:lnTo>
                      <a:pt x="513" y="2075"/>
                    </a:lnTo>
                    <a:lnTo>
                      <a:pt x="522" y="2063"/>
                    </a:lnTo>
                    <a:lnTo>
                      <a:pt x="519" y="2037"/>
                    </a:lnTo>
                    <a:lnTo>
                      <a:pt x="531" y="2022"/>
                    </a:lnTo>
                    <a:lnTo>
                      <a:pt x="536" y="2016"/>
                    </a:lnTo>
                    <a:lnTo>
                      <a:pt x="537" y="2001"/>
                    </a:lnTo>
                    <a:lnTo>
                      <a:pt x="533" y="1988"/>
                    </a:lnTo>
                    <a:lnTo>
                      <a:pt x="537" y="1971"/>
                    </a:lnTo>
                    <a:lnTo>
                      <a:pt x="528" y="1962"/>
                    </a:lnTo>
                    <a:lnTo>
                      <a:pt x="521" y="1967"/>
                    </a:lnTo>
                    <a:lnTo>
                      <a:pt x="519" y="1959"/>
                    </a:lnTo>
                    <a:lnTo>
                      <a:pt x="509" y="1953"/>
                    </a:lnTo>
                    <a:lnTo>
                      <a:pt x="498" y="1934"/>
                    </a:lnTo>
                    <a:lnTo>
                      <a:pt x="504" y="1929"/>
                    </a:lnTo>
                    <a:lnTo>
                      <a:pt x="509" y="1916"/>
                    </a:lnTo>
                    <a:lnTo>
                      <a:pt x="480" y="1893"/>
                    </a:lnTo>
                    <a:lnTo>
                      <a:pt x="471" y="1901"/>
                    </a:lnTo>
                    <a:lnTo>
                      <a:pt x="458" y="1892"/>
                    </a:lnTo>
                    <a:lnTo>
                      <a:pt x="461" y="1875"/>
                    </a:lnTo>
                    <a:lnTo>
                      <a:pt x="444" y="1857"/>
                    </a:lnTo>
                    <a:lnTo>
                      <a:pt x="444" y="1850"/>
                    </a:lnTo>
                    <a:lnTo>
                      <a:pt x="461" y="1847"/>
                    </a:lnTo>
                    <a:lnTo>
                      <a:pt x="468" y="1836"/>
                    </a:lnTo>
                    <a:lnTo>
                      <a:pt x="480" y="1817"/>
                    </a:lnTo>
                    <a:lnTo>
                      <a:pt x="476" y="1800"/>
                    </a:lnTo>
                    <a:lnTo>
                      <a:pt x="470" y="1787"/>
                    </a:lnTo>
                    <a:lnTo>
                      <a:pt x="446" y="1778"/>
                    </a:lnTo>
                    <a:lnTo>
                      <a:pt x="431" y="1751"/>
                    </a:lnTo>
                    <a:lnTo>
                      <a:pt x="447" y="1751"/>
                    </a:lnTo>
                    <a:lnTo>
                      <a:pt x="453" y="1746"/>
                    </a:lnTo>
                    <a:lnTo>
                      <a:pt x="465" y="1724"/>
                    </a:lnTo>
                    <a:lnTo>
                      <a:pt x="459" y="1712"/>
                    </a:lnTo>
                    <a:lnTo>
                      <a:pt x="470" y="1709"/>
                    </a:lnTo>
                    <a:lnTo>
                      <a:pt x="480" y="1697"/>
                    </a:lnTo>
                    <a:lnTo>
                      <a:pt x="491" y="1694"/>
                    </a:lnTo>
                    <a:lnTo>
                      <a:pt x="506" y="1662"/>
                    </a:lnTo>
                    <a:lnTo>
                      <a:pt x="497" y="1653"/>
                    </a:lnTo>
                    <a:lnTo>
                      <a:pt x="468" y="1658"/>
                    </a:lnTo>
                    <a:lnTo>
                      <a:pt x="441" y="1632"/>
                    </a:lnTo>
                    <a:lnTo>
                      <a:pt x="444" y="1611"/>
                    </a:lnTo>
                    <a:lnTo>
                      <a:pt x="453" y="1605"/>
                    </a:lnTo>
                    <a:lnTo>
                      <a:pt x="452" y="1589"/>
                    </a:lnTo>
                    <a:lnTo>
                      <a:pt x="459" y="1581"/>
                    </a:lnTo>
                    <a:lnTo>
                      <a:pt x="459" y="1569"/>
                    </a:lnTo>
                    <a:lnTo>
                      <a:pt x="467" y="1559"/>
                    </a:lnTo>
                    <a:lnTo>
                      <a:pt x="459" y="1544"/>
                    </a:lnTo>
                    <a:lnTo>
                      <a:pt x="453" y="1541"/>
                    </a:lnTo>
                    <a:lnTo>
                      <a:pt x="446" y="1532"/>
                    </a:lnTo>
                    <a:lnTo>
                      <a:pt x="435" y="1527"/>
                    </a:lnTo>
                    <a:lnTo>
                      <a:pt x="428" y="1512"/>
                    </a:lnTo>
                    <a:lnTo>
                      <a:pt x="413" y="1506"/>
                    </a:lnTo>
                    <a:lnTo>
                      <a:pt x="407" y="1500"/>
                    </a:lnTo>
                    <a:lnTo>
                      <a:pt x="413" y="1482"/>
                    </a:lnTo>
                    <a:lnTo>
                      <a:pt x="423" y="1469"/>
                    </a:lnTo>
                    <a:lnTo>
                      <a:pt x="422" y="1457"/>
                    </a:lnTo>
                    <a:lnTo>
                      <a:pt x="420" y="1436"/>
                    </a:lnTo>
                    <a:lnTo>
                      <a:pt x="404" y="1436"/>
                    </a:lnTo>
                    <a:lnTo>
                      <a:pt x="401" y="1445"/>
                    </a:lnTo>
                    <a:lnTo>
                      <a:pt x="386" y="1443"/>
                    </a:lnTo>
                    <a:lnTo>
                      <a:pt x="389" y="1427"/>
                    </a:lnTo>
                    <a:lnTo>
                      <a:pt x="384" y="1422"/>
                    </a:lnTo>
                    <a:lnTo>
                      <a:pt x="381" y="1410"/>
                    </a:lnTo>
                    <a:lnTo>
                      <a:pt x="365" y="1415"/>
                    </a:lnTo>
                    <a:lnTo>
                      <a:pt x="350" y="1415"/>
                    </a:lnTo>
                    <a:lnTo>
                      <a:pt x="335" y="1428"/>
                    </a:lnTo>
                    <a:lnTo>
                      <a:pt x="318" y="1436"/>
                    </a:lnTo>
                    <a:lnTo>
                      <a:pt x="305" y="1431"/>
                    </a:lnTo>
                    <a:lnTo>
                      <a:pt x="297" y="1433"/>
                    </a:lnTo>
                    <a:lnTo>
                      <a:pt x="291" y="1437"/>
                    </a:lnTo>
                    <a:lnTo>
                      <a:pt x="270" y="1433"/>
                    </a:lnTo>
                    <a:lnTo>
                      <a:pt x="261" y="1427"/>
                    </a:lnTo>
                    <a:lnTo>
                      <a:pt x="248" y="1416"/>
                    </a:lnTo>
                    <a:lnTo>
                      <a:pt x="239" y="1416"/>
                    </a:lnTo>
                    <a:lnTo>
                      <a:pt x="224" y="1416"/>
                    </a:lnTo>
                    <a:lnTo>
                      <a:pt x="219" y="1409"/>
                    </a:lnTo>
                    <a:lnTo>
                      <a:pt x="207" y="1407"/>
                    </a:lnTo>
                    <a:lnTo>
                      <a:pt x="218" y="1392"/>
                    </a:lnTo>
                    <a:lnTo>
                      <a:pt x="233" y="1376"/>
                    </a:lnTo>
                    <a:lnTo>
                      <a:pt x="239" y="1361"/>
                    </a:lnTo>
                    <a:lnTo>
                      <a:pt x="260" y="1352"/>
                    </a:lnTo>
                    <a:lnTo>
                      <a:pt x="260" y="1316"/>
                    </a:lnTo>
                    <a:lnTo>
                      <a:pt x="255" y="1305"/>
                    </a:lnTo>
                    <a:lnTo>
                      <a:pt x="275" y="1307"/>
                    </a:lnTo>
                    <a:lnTo>
                      <a:pt x="287" y="1320"/>
                    </a:lnTo>
                    <a:lnTo>
                      <a:pt x="309" y="1311"/>
                    </a:lnTo>
                    <a:lnTo>
                      <a:pt x="315" y="1304"/>
                    </a:lnTo>
                    <a:lnTo>
                      <a:pt x="320" y="1286"/>
                    </a:lnTo>
                    <a:lnTo>
                      <a:pt x="302" y="1274"/>
                    </a:lnTo>
                    <a:lnTo>
                      <a:pt x="305" y="1263"/>
                    </a:lnTo>
                    <a:lnTo>
                      <a:pt x="321" y="1254"/>
                    </a:lnTo>
                    <a:lnTo>
                      <a:pt x="341" y="1230"/>
                    </a:lnTo>
                    <a:lnTo>
                      <a:pt x="366" y="1245"/>
                    </a:lnTo>
                    <a:lnTo>
                      <a:pt x="401" y="1257"/>
                    </a:lnTo>
                    <a:lnTo>
                      <a:pt x="435" y="1235"/>
                    </a:lnTo>
                    <a:lnTo>
                      <a:pt x="461" y="1233"/>
                    </a:lnTo>
                    <a:lnTo>
                      <a:pt x="471" y="1241"/>
                    </a:lnTo>
                    <a:lnTo>
                      <a:pt x="494" y="1233"/>
                    </a:lnTo>
                    <a:lnTo>
                      <a:pt x="497" y="1221"/>
                    </a:lnTo>
                    <a:lnTo>
                      <a:pt x="510" y="1217"/>
                    </a:lnTo>
                    <a:lnTo>
                      <a:pt x="485" y="1175"/>
                    </a:lnTo>
                    <a:lnTo>
                      <a:pt x="480" y="1149"/>
                    </a:lnTo>
                    <a:lnTo>
                      <a:pt x="473" y="1133"/>
                    </a:lnTo>
                    <a:lnTo>
                      <a:pt x="467" y="1134"/>
                    </a:lnTo>
                    <a:lnTo>
                      <a:pt x="471" y="1098"/>
                    </a:lnTo>
                    <a:lnTo>
                      <a:pt x="477" y="1088"/>
                    </a:lnTo>
                    <a:lnTo>
                      <a:pt x="479" y="1071"/>
                    </a:lnTo>
                    <a:lnTo>
                      <a:pt x="495" y="1085"/>
                    </a:lnTo>
                    <a:lnTo>
                      <a:pt x="531" y="1055"/>
                    </a:lnTo>
                    <a:lnTo>
                      <a:pt x="546" y="1086"/>
                    </a:lnTo>
                    <a:lnTo>
                      <a:pt x="561" y="1086"/>
                    </a:lnTo>
                    <a:lnTo>
                      <a:pt x="582" y="1074"/>
                    </a:lnTo>
                    <a:lnTo>
                      <a:pt x="584" y="1041"/>
                    </a:lnTo>
                    <a:lnTo>
                      <a:pt x="578" y="1032"/>
                    </a:lnTo>
                    <a:lnTo>
                      <a:pt x="579" y="986"/>
                    </a:lnTo>
                    <a:lnTo>
                      <a:pt x="569" y="981"/>
                    </a:lnTo>
                    <a:lnTo>
                      <a:pt x="554" y="990"/>
                    </a:lnTo>
                    <a:lnTo>
                      <a:pt x="545" y="989"/>
                    </a:lnTo>
                    <a:lnTo>
                      <a:pt x="558" y="954"/>
                    </a:lnTo>
                    <a:lnTo>
                      <a:pt x="546" y="944"/>
                    </a:lnTo>
                    <a:lnTo>
                      <a:pt x="546" y="924"/>
                    </a:lnTo>
                    <a:lnTo>
                      <a:pt x="489" y="920"/>
                    </a:lnTo>
                    <a:lnTo>
                      <a:pt x="488" y="908"/>
                    </a:lnTo>
                    <a:lnTo>
                      <a:pt x="488" y="893"/>
                    </a:lnTo>
                    <a:lnTo>
                      <a:pt x="483" y="885"/>
                    </a:lnTo>
                    <a:lnTo>
                      <a:pt x="510" y="863"/>
                    </a:lnTo>
                    <a:lnTo>
                      <a:pt x="542" y="857"/>
                    </a:lnTo>
                    <a:lnTo>
                      <a:pt x="573" y="840"/>
                    </a:lnTo>
                    <a:lnTo>
                      <a:pt x="573" y="819"/>
                    </a:lnTo>
                    <a:lnTo>
                      <a:pt x="575" y="812"/>
                    </a:lnTo>
                    <a:lnTo>
                      <a:pt x="561" y="789"/>
                    </a:lnTo>
                    <a:lnTo>
                      <a:pt x="551" y="794"/>
                    </a:lnTo>
                    <a:lnTo>
                      <a:pt x="548" y="774"/>
                    </a:lnTo>
                    <a:lnTo>
                      <a:pt x="503" y="783"/>
                    </a:lnTo>
                    <a:lnTo>
                      <a:pt x="495" y="779"/>
                    </a:lnTo>
                    <a:lnTo>
                      <a:pt x="473" y="782"/>
                    </a:lnTo>
                    <a:lnTo>
                      <a:pt x="443" y="771"/>
                    </a:lnTo>
                    <a:lnTo>
                      <a:pt x="432" y="779"/>
                    </a:lnTo>
                    <a:lnTo>
                      <a:pt x="387" y="773"/>
                    </a:lnTo>
                    <a:lnTo>
                      <a:pt x="380" y="794"/>
                    </a:lnTo>
                    <a:lnTo>
                      <a:pt x="374" y="791"/>
                    </a:lnTo>
                    <a:lnTo>
                      <a:pt x="351" y="794"/>
                    </a:lnTo>
                    <a:lnTo>
                      <a:pt x="341" y="792"/>
                    </a:lnTo>
                    <a:lnTo>
                      <a:pt x="338" y="774"/>
                    </a:lnTo>
                    <a:lnTo>
                      <a:pt x="324" y="770"/>
                    </a:lnTo>
                    <a:lnTo>
                      <a:pt x="311" y="783"/>
                    </a:lnTo>
                    <a:lnTo>
                      <a:pt x="297" y="771"/>
                    </a:lnTo>
                    <a:lnTo>
                      <a:pt x="279" y="779"/>
                    </a:lnTo>
                    <a:lnTo>
                      <a:pt x="273" y="759"/>
                    </a:lnTo>
                    <a:lnTo>
                      <a:pt x="266" y="764"/>
                    </a:lnTo>
                    <a:lnTo>
                      <a:pt x="261" y="770"/>
                    </a:lnTo>
                    <a:lnTo>
                      <a:pt x="258" y="798"/>
                    </a:lnTo>
                    <a:lnTo>
                      <a:pt x="233" y="807"/>
                    </a:lnTo>
                    <a:lnTo>
                      <a:pt x="221" y="821"/>
                    </a:lnTo>
                    <a:lnTo>
                      <a:pt x="207" y="816"/>
                    </a:lnTo>
                    <a:lnTo>
                      <a:pt x="207" y="801"/>
                    </a:lnTo>
                    <a:lnTo>
                      <a:pt x="179" y="800"/>
                    </a:lnTo>
                    <a:lnTo>
                      <a:pt x="161" y="758"/>
                    </a:lnTo>
                    <a:lnTo>
                      <a:pt x="168" y="749"/>
                    </a:lnTo>
                    <a:lnTo>
                      <a:pt x="156" y="723"/>
                    </a:lnTo>
                    <a:lnTo>
                      <a:pt x="153" y="708"/>
                    </a:lnTo>
                    <a:lnTo>
                      <a:pt x="134" y="702"/>
                    </a:lnTo>
                    <a:lnTo>
                      <a:pt x="108" y="693"/>
                    </a:lnTo>
                    <a:lnTo>
                      <a:pt x="90" y="680"/>
                    </a:lnTo>
                    <a:lnTo>
                      <a:pt x="80" y="707"/>
                    </a:lnTo>
                    <a:lnTo>
                      <a:pt x="56" y="713"/>
                    </a:lnTo>
                    <a:lnTo>
                      <a:pt x="62" y="701"/>
                    </a:lnTo>
                    <a:lnTo>
                      <a:pt x="24" y="666"/>
                    </a:lnTo>
                    <a:lnTo>
                      <a:pt x="42" y="648"/>
                    </a:lnTo>
                    <a:lnTo>
                      <a:pt x="38" y="636"/>
                    </a:lnTo>
                    <a:lnTo>
                      <a:pt x="29" y="623"/>
                    </a:lnTo>
                    <a:lnTo>
                      <a:pt x="8" y="603"/>
                    </a:lnTo>
                    <a:lnTo>
                      <a:pt x="12" y="597"/>
                    </a:lnTo>
                    <a:lnTo>
                      <a:pt x="15" y="587"/>
                    </a:lnTo>
                    <a:lnTo>
                      <a:pt x="56" y="554"/>
                    </a:lnTo>
                    <a:lnTo>
                      <a:pt x="51" y="528"/>
                    </a:lnTo>
                    <a:lnTo>
                      <a:pt x="48" y="512"/>
                    </a:lnTo>
                    <a:lnTo>
                      <a:pt x="29" y="491"/>
                    </a:lnTo>
                    <a:lnTo>
                      <a:pt x="3" y="477"/>
                    </a:lnTo>
                    <a:lnTo>
                      <a:pt x="14" y="456"/>
                    </a:lnTo>
                    <a:lnTo>
                      <a:pt x="29" y="452"/>
                    </a:lnTo>
                    <a:lnTo>
                      <a:pt x="26" y="444"/>
                    </a:lnTo>
                    <a:lnTo>
                      <a:pt x="33" y="440"/>
                    </a:lnTo>
                    <a:lnTo>
                      <a:pt x="38" y="423"/>
                    </a:lnTo>
                    <a:lnTo>
                      <a:pt x="33" y="414"/>
                    </a:lnTo>
                    <a:lnTo>
                      <a:pt x="27" y="413"/>
                    </a:lnTo>
                    <a:lnTo>
                      <a:pt x="3" y="423"/>
                    </a:lnTo>
                    <a:lnTo>
                      <a:pt x="6" y="411"/>
                    </a:lnTo>
                    <a:lnTo>
                      <a:pt x="3" y="395"/>
                    </a:lnTo>
                    <a:lnTo>
                      <a:pt x="0" y="369"/>
                    </a:lnTo>
                    <a:lnTo>
                      <a:pt x="14" y="360"/>
                    </a:lnTo>
                    <a:lnTo>
                      <a:pt x="24" y="363"/>
                    </a:lnTo>
                    <a:lnTo>
                      <a:pt x="24" y="356"/>
                    </a:lnTo>
                    <a:lnTo>
                      <a:pt x="24" y="350"/>
                    </a:lnTo>
                    <a:lnTo>
                      <a:pt x="63" y="363"/>
                    </a:lnTo>
                    <a:lnTo>
                      <a:pt x="68" y="348"/>
                    </a:lnTo>
                    <a:lnTo>
                      <a:pt x="84" y="350"/>
                    </a:lnTo>
                    <a:lnTo>
                      <a:pt x="84" y="330"/>
                    </a:lnTo>
                    <a:lnTo>
                      <a:pt x="84" y="320"/>
                    </a:lnTo>
                    <a:lnTo>
                      <a:pt x="102" y="318"/>
                    </a:lnTo>
                    <a:lnTo>
                      <a:pt x="116" y="309"/>
                    </a:lnTo>
                    <a:lnTo>
                      <a:pt x="123" y="317"/>
                    </a:lnTo>
                    <a:lnTo>
                      <a:pt x="131" y="323"/>
                    </a:lnTo>
                    <a:lnTo>
                      <a:pt x="137" y="312"/>
                    </a:lnTo>
                    <a:lnTo>
                      <a:pt x="137" y="308"/>
                    </a:lnTo>
                    <a:lnTo>
                      <a:pt x="156" y="314"/>
                    </a:lnTo>
                    <a:lnTo>
                      <a:pt x="156" y="320"/>
                    </a:lnTo>
                    <a:lnTo>
                      <a:pt x="167" y="317"/>
                    </a:lnTo>
                    <a:lnTo>
                      <a:pt x="189" y="320"/>
                    </a:lnTo>
                    <a:lnTo>
                      <a:pt x="201" y="315"/>
                    </a:lnTo>
                    <a:lnTo>
                      <a:pt x="218" y="308"/>
                    </a:lnTo>
                    <a:lnTo>
                      <a:pt x="224" y="305"/>
                    </a:lnTo>
                    <a:lnTo>
                      <a:pt x="230" y="296"/>
                    </a:lnTo>
                    <a:lnTo>
                      <a:pt x="233" y="293"/>
                    </a:lnTo>
                    <a:lnTo>
                      <a:pt x="255" y="302"/>
                    </a:lnTo>
                    <a:lnTo>
                      <a:pt x="263" y="294"/>
                    </a:lnTo>
                    <a:lnTo>
                      <a:pt x="275" y="300"/>
                    </a:lnTo>
                    <a:lnTo>
                      <a:pt x="281" y="288"/>
                    </a:lnTo>
                    <a:lnTo>
                      <a:pt x="285" y="284"/>
                    </a:lnTo>
                    <a:lnTo>
                      <a:pt x="297" y="281"/>
                    </a:lnTo>
                    <a:lnTo>
                      <a:pt x="297" y="272"/>
                    </a:lnTo>
                    <a:lnTo>
                      <a:pt x="302" y="263"/>
                    </a:lnTo>
                    <a:lnTo>
                      <a:pt x="305" y="252"/>
                    </a:lnTo>
                    <a:lnTo>
                      <a:pt x="308" y="246"/>
                    </a:lnTo>
                    <a:lnTo>
                      <a:pt x="315" y="243"/>
                    </a:lnTo>
                    <a:lnTo>
                      <a:pt x="317" y="233"/>
                    </a:lnTo>
                    <a:lnTo>
                      <a:pt x="314" y="215"/>
                    </a:lnTo>
                    <a:lnTo>
                      <a:pt x="326" y="198"/>
                    </a:lnTo>
                    <a:lnTo>
                      <a:pt x="339" y="203"/>
                    </a:lnTo>
                    <a:lnTo>
                      <a:pt x="348" y="197"/>
                    </a:lnTo>
                    <a:lnTo>
                      <a:pt x="368" y="198"/>
                    </a:lnTo>
                    <a:lnTo>
                      <a:pt x="368" y="189"/>
                    </a:lnTo>
                    <a:lnTo>
                      <a:pt x="351" y="177"/>
                    </a:lnTo>
                    <a:lnTo>
                      <a:pt x="348" y="173"/>
                    </a:lnTo>
                    <a:lnTo>
                      <a:pt x="356" y="165"/>
                    </a:lnTo>
                    <a:lnTo>
                      <a:pt x="363" y="173"/>
                    </a:lnTo>
                    <a:lnTo>
                      <a:pt x="368" y="165"/>
                    </a:lnTo>
                    <a:lnTo>
                      <a:pt x="368" y="155"/>
                    </a:lnTo>
                    <a:lnTo>
                      <a:pt x="359" y="144"/>
                    </a:lnTo>
                    <a:lnTo>
                      <a:pt x="359" y="125"/>
                    </a:lnTo>
                    <a:lnTo>
                      <a:pt x="359" y="116"/>
                    </a:lnTo>
                    <a:lnTo>
                      <a:pt x="365" y="107"/>
                    </a:lnTo>
                    <a:lnTo>
                      <a:pt x="372" y="98"/>
                    </a:lnTo>
                    <a:lnTo>
                      <a:pt x="377" y="90"/>
                    </a:lnTo>
                    <a:lnTo>
                      <a:pt x="381" y="69"/>
                    </a:lnTo>
                    <a:lnTo>
                      <a:pt x="390" y="66"/>
                    </a:lnTo>
                    <a:lnTo>
                      <a:pt x="392" y="69"/>
                    </a:lnTo>
                    <a:lnTo>
                      <a:pt x="411" y="65"/>
                    </a:lnTo>
                    <a:lnTo>
                      <a:pt x="422" y="69"/>
                    </a:lnTo>
                    <a:lnTo>
                      <a:pt x="431" y="65"/>
                    </a:lnTo>
                    <a:lnTo>
                      <a:pt x="431" y="57"/>
                    </a:lnTo>
                    <a:lnTo>
                      <a:pt x="456" y="57"/>
                    </a:lnTo>
                    <a:lnTo>
                      <a:pt x="467" y="45"/>
                    </a:lnTo>
                    <a:lnTo>
                      <a:pt x="474" y="45"/>
                    </a:lnTo>
                    <a:lnTo>
                      <a:pt x="474" y="53"/>
                    </a:lnTo>
                    <a:lnTo>
                      <a:pt x="497" y="51"/>
                    </a:lnTo>
                    <a:lnTo>
                      <a:pt x="515" y="53"/>
                    </a:lnTo>
                    <a:lnTo>
                      <a:pt x="515" y="45"/>
                    </a:lnTo>
                    <a:lnTo>
                      <a:pt x="509" y="45"/>
                    </a:lnTo>
                    <a:lnTo>
                      <a:pt x="507" y="41"/>
                    </a:lnTo>
                    <a:lnTo>
                      <a:pt x="506" y="35"/>
                    </a:lnTo>
                    <a:lnTo>
                      <a:pt x="519" y="36"/>
                    </a:lnTo>
                    <a:lnTo>
                      <a:pt x="524" y="35"/>
                    </a:lnTo>
                    <a:lnTo>
                      <a:pt x="530" y="39"/>
                    </a:lnTo>
                    <a:lnTo>
                      <a:pt x="531" y="30"/>
                    </a:lnTo>
                    <a:lnTo>
                      <a:pt x="531" y="26"/>
                    </a:lnTo>
                    <a:lnTo>
                      <a:pt x="536" y="21"/>
                    </a:lnTo>
                    <a:lnTo>
                      <a:pt x="537" y="12"/>
                    </a:lnTo>
                    <a:lnTo>
                      <a:pt x="548" y="5"/>
                    </a:lnTo>
                    <a:lnTo>
                      <a:pt x="548" y="0"/>
                    </a:lnTo>
                    <a:lnTo>
                      <a:pt x="549" y="0"/>
                    </a:lnTo>
                    <a:lnTo>
                      <a:pt x="557" y="14"/>
                    </a:lnTo>
                    <a:lnTo>
                      <a:pt x="564" y="12"/>
                    </a:lnTo>
                    <a:lnTo>
                      <a:pt x="570" y="20"/>
                    </a:lnTo>
                    <a:lnTo>
                      <a:pt x="573" y="15"/>
                    </a:lnTo>
                    <a:lnTo>
                      <a:pt x="581" y="17"/>
                    </a:lnTo>
                    <a:lnTo>
                      <a:pt x="576" y="32"/>
                    </a:lnTo>
                    <a:lnTo>
                      <a:pt x="584" y="33"/>
                    </a:lnTo>
                    <a:lnTo>
                      <a:pt x="579" y="51"/>
                    </a:lnTo>
                    <a:lnTo>
                      <a:pt x="587" y="51"/>
                    </a:lnTo>
                    <a:lnTo>
                      <a:pt x="590" y="44"/>
                    </a:lnTo>
                    <a:lnTo>
                      <a:pt x="594" y="42"/>
                    </a:lnTo>
                    <a:lnTo>
                      <a:pt x="594" y="39"/>
                    </a:lnTo>
                    <a:lnTo>
                      <a:pt x="599" y="35"/>
                    </a:lnTo>
                    <a:lnTo>
                      <a:pt x="621" y="41"/>
                    </a:lnTo>
                    <a:lnTo>
                      <a:pt x="633" y="15"/>
                    </a:lnTo>
                    <a:lnTo>
                      <a:pt x="642" y="17"/>
                    </a:lnTo>
                    <a:lnTo>
                      <a:pt x="650" y="20"/>
                    </a:lnTo>
                    <a:lnTo>
                      <a:pt x="656" y="32"/>
                    </a:lnTo>
                    <a:lnTo>
                      <a:pt x="662" y="32"/>
                    </a:lnTo>
                    <a:lnTo>
                      <a:pt x="669" y="42"/>
                    </a:lnTo>
                    <a:lnTo>
                      <a:pt x="677" y="39"/>
                    </a:lnTo>
                    <a:lnTo>
                      <a:pt x="699" y="33"/>
                    </a:lnTo>
                    <a:lnTo>
                      <a:pt x="702" y="27"/>
                    </a:lnTo>
                    <a:lnTo>
                      <a:pt x="711" y="42"/>
                    </a:lnTo>
                    <a:lnTo>
                      <a:pt x="723" y="57"/>
                    </a:lnTo>
                    <a:lnTo>
                      <a:pt x="725" y="66"/>
                    </a:lnTo>
                    <a:lnTo>
                      <a:pt x="720" y="80"/>
                    </a:lnTo>
                    <a:lnTo>
                      <a:pt x="725" y="92"/>
                    </a:lnTo>
                    <a:lnTo>
                      <a:pt x="725" y="101"/>
                    </a:lnTo>
                    <a:lnTo>
                      <a:pt x="735" y="108"/>
                    </a:lnTo>
                    <a:lnTo>
                      <a:pt x="744" y="110"/>
                    </a:lnTo>
                    <a:lnTo>
                      <a:pt x="750" y="113"/>
                    </a:lnTo>
                    <a:lnTo>
                      <a:pt x="759" y="105"/>
                    </a:lnTo>
                    <a:lnTo>
                      <a:pt x="767" y="119"/>
                    </a:lnTo>
                    <a:lnTo>
                      <a:pt x="789" y="125"/>
                    </a:lnTo>
                    <a:lnTo>
                      <a:pt x="791" y="137"/>
                    </a:lnTo>
                    <a:lnTo>
                      <a:pt x="795" y="141"/>
                    </a:lnTo>
                    <a:lnTo>
                      <a:pt x="797" y="153"/>
                    </a:lnTo>
                    <a:lnTo>
                      <a:pt x="803" y="171"/>
                    </a:lnTo>
                    <a:lnTo>
                      <a:pt x="797" y="180"/>
                    </a:lnTo>
                    <a:lnTo>
                      <a:pt x="791" y="192"/>
                    </a:lnTo>
                    <a:lnTo>
                      <a:pt x="797" y="210"/>
                    </a:lnTo>
                    <a:lnTo>
                      <a:pt x="789" y="219"/>
                    </a:lnTo>
                    <a:lnTo>
                      <a:pt x="768" y="212"/>
                    </a:lnTo>
                    <a:lnTo>
                      <a:pt x="762" y="219"/>
                    </a:lnTo>
                    <a:lnTo>
                      <a:pt x="746" y="249"/>
                    </a:lnTo>
                    <a:lnTo>
                      <a:pt x="744" y="254"/>
                    </a:lnTo>
                    <a:lnTo>
                      <a:pt x="747" y="258"/>
                    </a:lnTo>
                    <a:lnTo>
                      <a:pt x="768" y="254"/>
                    </a:lnTo>
                    <a:lnTo>
                      <a:pt x="794" y="255"/>
                    </a:lnTo>
                    <a:lnTo>
                      <a:pt x="815" y="237"/>
                    </a:lnTo>
                    <a:lnTo>
                      <a:pt x="839" y="236"/>
                    </a:lnTo>
                    <a:lnTo>
                      <a:pt x="843" y="248"/>
                    </a:lnTo>
                    <a:lnTo>
                      <a:pt x="866" y="251"/>
                    </a:lnTo>
                    <a:lnTo>
                      <a:pt x="876" y="242"/>
                    </a:lnTo>
                    <a:lnTo>
                      <a:pt x="893" y="239"/>
                    </a:lnTo>
                    <a:lnTo>
                      <a:pt x="897" y="242"/>
                    </a:lnTo>
                    <a:lnTo>
                      <a:pt x="918" y="261"/>
                    </a:lnTo>
                    <a:lnTo>
                      <a:pt x="945" y="257"/>
                    </a:lnTo>
                    <a:lnTo>
                      <a:pt x="959" y="242"/>
                    </a:lnTo>
                    <a:lnTo>
                      <a:pt x="987" y="234"/>
                    </a:lnTo>
                    <a:lnTo>
                      <a:pt x="984" y="227"/>
                    </a:lnTo>
                    <a:lnTo>
                      <a:pt x="972" y="216"/>
                    </a:lnTo>
                    <a:lnTo>
                      <a:pt x="974" y="212"/>
                    </a:lnTo>
                    <a:lnTo>
                      <a:pt x="1007" y="209"/>
                    </a:lnTo>
                    <a:lnTo>
                      <a:pt x="1029" y="210"/>
                    </a:lnTo>
                    <a:lnTo>
                      <a:pt x="1031" y="213"/>
                    </a:lnTo>
                    <a:lnTo>
                      <a:pt x="1020" y="225"/>
                    </a:lnTo>
                    <a:lnTo>
                      <a:pt x="1020" y="239"/>
                    </a:lnTo>
                    <a:lnTo>
                      <a:pt x="1022" y="248"/>
                    </a:lnTo>
                    <a:lnTo>
                      <a:pt x="1038" y="249"/>
                    </a:lnTo>
                    <a:lnTo>
                      <a:pt x="1062" y="237"/>
                    </a:lnTo>
                    <a:lnTo>
                      <a:pt x="1073" y="222"/>
                    </a:lnTo>
                    <a:lnTo>
                      <a:pt x="1101" y="216"/>
                    </a:lnTo>
                    <a:lnTo>
                      <a:pt x="1128" y="212"/>
                    </a:lnTo>
                    <a:lnTo>
                      <a:pt x="1139" y="213"/>
                    </a:lnTo>
                    <a:lnTo>
                      <a:pt x="1152" y="224"/>
                    </a:lnTo>
                    <a:lnTo>
                      <a:pt x="1160" y="227"/>
                    </a:lnTo>
                    <a:lnTo>
                      <a:pt x="1167" y="224"/>
                    </a:lnTo>
                    <a:lnTo>
                      <a:pt x="1175" y="234"/>
                    </a:lnTo>
                    <a:lnTo>
                      <a:pt x="1184" y="233"/>
                    </a:lnTo>
                    <a:lnTo>
                      <a:pt x="1194" y="245"/>
                    </a:lnTo>
                    <a:lnTo>
                      <a:pt x="1200" y="251"/>
                    </a:lnTo>
                    <a:lnTo>
                      <a:pt x="1193" y="267"/>
                    </a:lnTo>
                    <a:lnTo>
                      <a:pt x="1209" y="269"/>
                    </a:lnTo>
                    <a:lnTo>
                      <a:pt x="1209" y="284"/>
                    </a:lnTo>
                    <a:lnTo>
                      <a:pt x="1217" y="288"/>
                    </a:lnTo>
                    <a:lnTo>
                      <a:pt x="1218" y="303"/>
                    </a:lnTo>
                    <a:lnTo>
                      <a:pt x="1220" y="320"/>
                    </a:lnTo>
                    <a:lnTo>
                      <a:pt x="1256" y="339"/>
                    </a:lnTo>
                    <a:lnTo>
                      <a:pt x="1254" y="354"/>
                    </a:lnTo>
                    <a:lnTo>
                      <a:pt x="1274" y="368"/>
                    </a:lnTo>
                    <a:lnTo>
                      <a:pt x="1265" y="375"/>
                    </a:lnTo>
                    <a:lnTo>
                      <a:pt x="1265" y="387"/>
                    </a:lnTo>
                    <a:lnTo>
                      <a:pt x="1274" y="389"/>
                    </a:lnTo>
                    <a:lnTo>
                      <a:pt x="1274" y="398"/>
                    </a:lnTo>
                    <a:lnTo>
                      <a:pt x="1277" y="410"/>
                    </a:lnTo>
                    <a:lnTo>
                      <a:pt x="1286" y="419"/>
                    </a:lnTo>
                    <a:lnTo>
                      <a:pt x="1277" y="441"/>
                    </a:lnTo>
                    <a:lnTo>
                      <a:pt x="1266" y="458"/>
                    </a:lnTo>
                    <a:lnTo>
                      <a:pt x="1251" y="465"/>
                    </a:lnTo>
                    <a:lnTo>
                      <a:pt x="1244" y="480"/>
                    </a:lnTo>
                    <a:lnTo>
                      <a:pt x="1238" y="483"/>
                    </a:lnTo>
                    <a:lnTo>
                      <a:pt x="1223" y="489"/>
                    </a:lnTo>
                    <a:lnTo>
                      <a:pt x="1221" y="504"/>
                    </a:lnTo>
                    <a:lnTo>
                      <a:pt x="1209" y="506"/>
                    </a:lnTo>
                    <a:lnTo>
                      <a:pt x="1203" y="506"/>
                    </a:lnTo>
                    <a:lnTo>
                      <a:pt x="1191" y="509"/>
                    </a:lnTo>
                    <a:lnTo>
                      <a:pt x="1190" y="524"/>
                    </a:lnTo>
                    <a:lnTo>
                      <a:pt x="1188" y="540"/>
                    </a:lnTo>
                    <a:lnTo>
                      <a:pt x="1182" y="552"/>
                    </a:lnTo>
                    <a:lnTo>
                      <a:pt x="1193" y="561"/>
                    </a:lnTo>
                    <a:lnTo>
                      <a:pt x="1206" y="570"/>
                    </a:lnTo>
                    <a:lnTo>
                      <a:pt x="1206" y="578"/>
                    </a:lnTo>
                    <a:lnTo>
                      <a:pt x="1206" y="587"/>
                    </a:lnTo>
                    <a:lnTo>
                      <a:pt x="1194" y="593"/>
                    </a:lnTo>
                    <a:lnTo>
                      <a:pt x="1193" y="603"/>
                    </a:lnTo>
                    <a:lnTo>
                      <a:pt x="1197" y="611"/>
                    </a:lnTo>
                    <a:lnTo>
                      <a:pt x="1205" y="615"/>
                    </a:lnTo>
                    <a:lnTo>
                      <a:pt x="1203" y="648"/>
                    </a:lnTo>
                    <a:lnTo>
                      <a:pt x="1197" y="648"/>
                    </a:lnTo>
                    <a:lnTo>
                      <a:pt x="1176" y="647"/>
                    </a:lnTo>
                    <a:lnTo>
                      <a:pt x="1161" y="654"/>
                    </a:lnTo>
                    <a:lnTo>
                      <a:pt x="1152" y="660"/>
                    </a:lnTo>
                    <a:lnTo>
                      <a:pt x="1128" y="674"/>
                    </a:lnTo>
                    <a:lnTo>
                      <a:pt x="1109" y="666"/>
                    </a:lnTo>
                    <a:lnTo>
                      <a:pt x="1065" y="680"/>
                    </a:lnTo>
                    <a:lnTo>
                      <a:pt x="1071" y="699"/>
                    </a:lnTo>
                    <a:lnTo>
                      <a:pt x="1064" y="725"/>
                    </a:lnTo>
                    <a:lnTo>
                      <a:pt x="1071" y="738"/>
                    </a:lnTo>
                    <a:lnTo>
                      <a:pt x="1082" y="726"/>
                    </a:lnTo>
                    <a:lnTo>
                      <a:pt x="1092" y="734"/>
                    </a:lnTo>
                    <a:lnTo>
                      <a:pt x="1089" y="749"/>
                    </a:lnTo>
                    <a:lnTo>
                      <a:pt x="1094" y="750"/>
                    </a:lnTo>
                    <a:lnTo>
                      <a:pt x="1109" y="756"/>
                    </a:lnTo>
                    <a:lnTo>
                      <a:pt x="1127" y="770"/>
                    </a:lnTo>
                    <a:lnTo>
                      <a:pt x="1124" y="783"/>
                    </a:lnTo>
                    <a:lnTo>
                      <a:pt x="1130" y="795"/>
                    </a:lnTo>
                    <a:lnTo>
                      <a:pt x="1140" y="798"/>
                    </a:lnTo>
                    <a:lnTo>
                      <a:pt x="1149" y="812"/>
                    </a:lnTo>
                    <a:lnTo>
                      <a:pt x="1134" y="830"/>
                    </a:lnTo>
                    <a:lnTo>
                      <a:pt x="1133" y="836"/>
                    </a:lnTo>
                    <a:lnTo>
                      <a:pt x="1142" y="854"/>
                    </a:lnTo>
                    <a:lnTo>
                      <a:pt x="1139" y="864"/>
                    </a:lnTo>
                    <a:lnTo>
                      <a:pt x="1142" y="878"/>
                    </a:lnTo>
                    <a:lnTo>
                      <a:pt x="1149" y="878"/>
                    </a:lnTo>
                    <a:lnTo>
                      <a:pt x="1161" y="893"/>
                    </a:lnTo>
                    <a:lnTo>
                      <a:pt x="1172" y="891"/>
                    </a:lnTo>
                    <a:lnTo>
                      <a:pt x="1191" y="902"/>
                    </a:lnTo>
                    <a:lnTo>
                      <a:pt x="1202" y="900"/>
                    </a:lnTo>
                    <a:lnTo>
                      <a:pt x="1214" y="890"/>
                    </a:lnTo>
                    <a:lnTo>
                      <a:pt x="1233" y="882"/>
                    </a:lnTo>
                    <a:lnTo>
                      <a:pt x="1241" y="870"/>
                    </a:lnTo>
                    <a:lnTo>
                      <a:pt x="1253" y="866"/>
                    </a:lnTo>
                    <a:lnTo>
                      <a:pt x="1269" y="872"/>
                    </a:lnTo>
                    <a:lnTo>
                      <a:pt x="1280" y="876"/>
                    </a:lnTo>
                    <a:lnTo>
                      <a:pt x="1278" y="887"/>
                    </a:lnTo>
                    <a:lnTo>
                      <a:pt x="1271" y="897"/>
                    </a:lnTo>
                    <a:lnTo>
                      <a:pt x="1275" y="927"/>
                    </a:lnTo>
                    <a:lnTo>
                      <a:pt x="1277" y="932"/>
                    </a:lnTo>
                    <a:lnTo>
                      <a:pt x="1287" y="924"/>
                    </a:lnTo>
                    <a:lnTo>
                      <a:pt x="1292" y="927"/>
                    </a:lnTo>
                    <a:lnTo>
                      <a:pt x="1292" y="933"/>
                    </a:lnTo>
                    <a:lnTo>
                      <a:pt x="1310" y="944"/>
                    </a:lnTo>
                    <a:lnTo>
                      <a:pt x="1313" y="950"/>
                    </a:lnTo>
                    <a:lnTo>
                      <a:pt x="1322" y="953"/>
                    </a:lnTo>
                    <a:lnTo>
                      <a:pt x="1329" y="947"/>
                    </a:lnTo>
                    <a:lnTo>
                      <a:pt x="1337" y="947"/>
                    </a:lnTo>
                    <a:lnTo>
                      <a:pt x="1346" y="954"/>
                    </a:lnTo>
                    <a:lnTo>
                      <a:pt x="1347" y="965"/>
                    </a:lnTo>
                    <a:lnTo>
                      <a:pt x="1359" y="977"/>
                    </a:lnTo>
                    <a:lnTo>
                      <a:pt x="1361" y="983"/>
                    </a:lnTo>
                    <a:lnTo>
                      <a:pt x="1367" y="989"/>
                    </a:lnTo>
                    <a:lnTo>
                      <a:pt x="1379" y="990"/>
                    </a:lnTo>
                    <a:lnTo>
                      <a:pt x="1388" y="984"/>
                    </a:lnTo>
                    <a:lnTo>
                      <a:pt x="1400" y="989"/>
                    </a:lnTo>
                    <a:lnTo>
                      <a:pt x="1410" y="974"/>
                    </a:lnTo>
                    <a:lnTo>
                      <a:pt x="1416" y="986"/>
                    </a:lnTo>
                    <a:lnTo>
                      <a:pt x="1428" y="987"/>
                    </a:lnTo>
                    <a:lnTo>
                      <a:pt x="1445" y="1001"/>
                    </a:lnTo>
                    <a:lnTo>
                      <a:pt x="1451" y="1004"/>
                    </a:lnTo>
                    <a:lnTo>
                      <a:pt x="1461" y="1001"/>
                    </a:lnTo>
                    <a:lnTo>
                      <a:pt x="1469" y="992"/>
                    </a:lnTo>
                    <a:lnTo>
                      <a:pt x="1482" y="992"/>
                    </a:lnTo>
                    <a:lnTo>
                      <a:pt x="1487" y="989"/>
                    </a:lnTo>
                    <a:lnTo>
                      <a:pt x="1491" y="978"/>
                    </a:lnTo>
                    <a:lnTo>
                      <a:pt x="1493" y="971"/>
                    </a:lnTo>
                    <a:lnTo>
                      <a:pt x="1499" y="971"/>
                    </a:lnTo>
                    <a:lnTo>
                      <a:pt x="1509" y="971"/>
                    </a:lnTo>
                    <a:lnTo>
                      <a:pt x="1530" y="971"/>
                    </a:lnTo>
                    <a:lnTo>
                      <a:pt x="1535" y="978"/>
                    </a:lnTo>
                    <a:lnTo>
                      <a:pt x="1538" y="980"/>
                    </a:lnTo>
                    <a:lnTo>
                      <a:pt x="1548" y="981"/>
                    </a:lnTo>
                    <a:lnTo>
                      <a:pt x="1560" y="989"/>
                    </a:lnTo>
                    <a:lnTo>
                      <a:pt x="1568" y="989"/>
                    </a:lnTo>
                    <a:lnTo>
                      <a:pt x="1569" y="986"/>
                    </a:lnTo>
                    <a:lnTo>
                      <a:pt x="1572" y="953"/>
                    </a:lnTo>
                    <a:lnTo>
                      <a:pt x="1569" y="911"/>
                    </a:lnTo>
                    <a:lnTo>
                      <a:pt x="1572" y="908"/>
                    </a:lnTo>
                    <a:lnTo>
                      <a:pt x="1578" y="906"/>
                    </a:lnTo>
                    <a:lnTo>
                      <a:pt x="1584" y="914"/>
                    </a:lnTo>
                    <a:lnTo>
                      <a:pt x="1586" y="932"/>
                    </a:lnTo>
                    <a:lnTo>
                      <a:pt x="1593" y="951"/>
                    </a:lnTo>
                    <a:lnTo>
                      <a:pt x="1596" y="954"/>
                    </a:lnTo>
                    <a:lnTo>
                      <a:pt x="1607" y="968"/>
                    </a:lnTo>
                    <a:lnTo>
                      <a:pt x="1622" y="980"/>
                    </a:lnTo>
                    <a:lnTo>
                      <a:pt x="1637" y="983"/>
                    </a:lnTo>
                    <a:lnTo>
                      <a:pt x="1644" y="1007"/>
                    </a:lnTo>
                    <a:lnTo>
                      <a:pt x="1644" y="1011"/>
                    </a:lnTo>
                    <a:lnTo>
                      <a:pt x="1646" y="1017"/>
                    </a:lnTo>
                    <a:lnTo>
                      <a:pt x="1650" y="1026"/>
                    </a:lnTo>
                    <a:lnTo>
                      <a:pt x="1656" y="1025"/>
                    </a:lnTo>
                    <a:lnTo>
                      <a:pt x="1664" y="1016"/>
                    </a:lnTo>
                    <a:lnTo>
                      <a:pt x="1670" y="1016"/>
                    </a:lnTo>
                    <a:lnTo>
                      <a:pt x="1673" y="1025"/>
                    </a:lnTo>
                    <a:lnTo>
                      <a:pt x="1679" y="1026"/>
                    </a:lnTo>
                    <a:lnTo>
                      <a:pt x="1683" y="1026"/>
                    </a:lnTo>
                    <a:lnTo>
                      <a:pt x="1700" y="1037"/>
                    </a:lnTo>
                    <a:lnTo>
                      <a:pt x="1707" y="1038"/>
                    </a:lnTo>
                    <a:lnTo>
                      <a:pt x="1713" y="1035"/>
                    </a:lnTo>
                    <a:lnTo>
                      <a:pt x="1719" y="1040"/>
                    </a:lnTo>
                    <a:lnTo>
                      <a:pt x="1721" y="1046"/>
                    </a:lnTo>
                    <a:lnTo>
                      <a:pt x="1719" y="1052"/>
                    </a:lnTo>
                    <a:lnTo>
                      <a:pt x="1727" y="1056"/>
                    </a:lnTo>
                    <a:lnTo>
                      <a:pt x="1737" y="1062"/>
                    </a:lnTo>
                    <a:lnTo>
                      <a:pt x="1748" y="1074"/>
                    </a:lnTo>
                    <a:lnTo>
                      <a:pt x="1749" y="1085"/>
                    </a:lnTo>
                    <a:lnTo>
                      <a:pt x="1749" y="1088"/>
                    </a:lnTo>
                    <a:lnTo>
                      <a:pt x="1761" y="1098"/>
                    </a:lnTo>
                    <a:lnTo>
                      <a:pt x="1770" y="1098"/>
                    </a:lnTo>
                    <a:lnTo>
                      <a:pt x="1784" y="1094"/>
                    </a:lnTo>
                    <a:lnTo>
                      <a:pt x="1796" y="1089"/>
                    </a:lnTo>
                    <a:lnTo>
                      <a:pt x="1803" y="1104"/>
                    </a:lnTo>
                    <a:lnTo>
                      <a:pt x="1815" y="1106"/>
                    </a:lnTo>
                    <a:lnTo>
                      <a:pt x="1826" y="1116"/>
                    </a:lnTo>
                    <a:lnTo>
                      <a:pt x="1833" y="1115"/>
                    </a:lnTo>
                    <a:lnTo>
                      <a:pt x="1838" y="1106"/>
                    </a:lnTo>
                    <a:lnTo>
                      <a:pt x="1833" y="1094"/>
                    </a:lnTo>
                    <a:lnTo>
                      <a:pt x="1841" y="1088"/>
                    </a:lnTo>
                    <a:lnTo>
                      <a:pt x="1850" y="1089"/>
                    </a:lnTo>
                    <a:lnTo>
                      <a:pt x="1859" y="1082"/>
                    </a:lnTo>
                    <a:lnTo>
                      <a:pt x="1854" y="1071"/>
                    </a:lnTo>
                    <a:lnTo>
                      <a:pt x="1859" y="1065"/>
                    </a:lnTo>
                    <a:lnTo>
                      <a:pt x="1859" y="1058"/>
                    </a:lnTo>
                    <a:lnTo>
                      <a:pt x="1863" y="1053"/>
                    </a:lnTo>
                    <a:lnTo>
                      <a:pt x="1880" y="1062"/>
                    </a:lnTo>
                    <a:lnTo>
                      <a:pt x="1890" y="1068"/>
                    </a:lnTo>
                    <a:lnTo>
                      <a:pt x="1898" y="1070"/>
                    </a:lnTo>
                    <a:lnTo>
                      <a:pt x="1892" y="1088"/>
                    </a:lnTo>
                    <a:lnTo>
                      <a:pt x="1866" y="1107"/>
                    </a:lnTo>
                    <a:lnTo>
                      <a:pt x="1869" y="1125"/>
                    </a:lnTo>
                    <a:lnTo>
                      <a:pt x="1877" y="1134"/>
                    </a:lnTo>
                    <a:lnTo>
                      <a:pt x="1884" y="1131"/>
                    </a:lnTo>
                    <a:lnTo>
                      <a:pt x="1904" y="1115"/>
                    </a:lnTo>
                    <a:lnTo>
                      <a:pt x="1923" y="1116"/>
                    </a:lnTo>
                    <a:lnTo>
                      <a:pt x="1929" y="1116"/>
                    </a:lnTo>
                    <a:lnTo>
                      <a:pt x="1931" y="1106"/>
                    </a:lnTo>
                    <a:lnTo>
                      <a:pt x="1940" y="1107"/>
                    </a:lnTo>
                    <a:lnTo>
                      <a:pt x="1956" y="1125"/>
                    </a:lnTo>
                    <a:lnTo>
                      <a:pt x="1949" y="1133"/>
                    </a:lnTo>
                    <a:lnTo>
                      <a:pt x="1952" y="1158"/>
                    </a:lnTo>
                    <a:lnTo>
                      <a:pt x="1962" y="1179"/>
                    </a:lnTo>
                    <a:lnTo>
                      <a:pt x="1976" y="1191"/>
                    </a:lnTo>
                    <a:lnTo>
                      <a:pt x="1994" y="1196"/>
                    </a:lnTo>
                    <a:lnTo>
                      <a:pt x="1997" y="1191"/>
                    </a:lnTo>
                    <a:lnTo>
                      <a:pt x="2000" y="1181"/>
                    </a:lnTo>
                    <a:lnTo>
                      <a:pt x="2006" y="1176"/>
                    </a:lnTo>
                    <a:lnTo>
                      <a:pt x="2009" y="1166"/>
                    </a:lnTo>
                    <a:lnTo>
                      <a:pt x="2027" y="1167"/>
                    </a:lnTo>
                    <a:lnTo>
                      <a:pt x="2051" y="1173"/>
                    </a:lnTo>
                    <a:lnTo>
                      <a:pt x="2064" y="1175"/>
                    </a:lnTo>
                    <a:lnTo>
                      <a:pt x="2079" y="1143"/>
                    </a:lnTo>
                    <a:lnTo>
                      <a:pt x="2090" y="1145"/>
                    </a:lnTo>
                    <a:lnTo>
                      <a:pt x="2079" y="1169"/>
                    </a:lnTo>
                    <a:lnTo>
                      <a:pt x="2081" y="1184"/>
                    </a:lnTo>
                    <a:lnTo>
                      <a:pt x="2084" y="1193"/>
                    </a:lnTo>
                    <a:lnTo>
                      <a:pt x="2075" y="1208"/>
                    </a:lnTo>
                    <a:lnTo>
                      <a:pt x="2079" y="1211"/>
                    </a:lnTo>
                    <a:lnTo>
                      <a:pt x="2084" y="1212"/>
                    </a:lnTo>
                    <a:lnTo>
                      <a:pt x="2072" y="1226"/>
                    </a:lnTo>
                    <a:lnTo>
                      <a:pt x="2073" y="1245"/>
                    </a:lnTo>
                    <a:lnTo>
                      <a:pt x="2076" y="1266"/>
                    </a:lnTo>
                    <a:lnTo>
                      <a:pt x="2081" y="1283"/>
                    </a:lnTo>
                    <a:lnTo>
                      <a:pt x="2094" y="1289"/>
                    </a:lnTo>
                    <a:lnTo>
                      <a:pt x="2102" y="1281"/>
                    </a:lnTo>
                    <a:lnTo>
                      <a:pt x="2115" y="1268"/>
                    </a:lnTo>
                    <a:lnTo>
                      <a:pt x="2127" y="1275"/>
                    </a:lnTo>
                    <a:lnTo>
                      <a:pt x="2127" y="1292"/>
                    </a:lnTo>
                    <a:lnTo>
                      <a:pt x="2148" y="1308"/>
                    </a:lnTo>
                    <a:lnTo>
                      <a:pt x="2157" y="1329"/>
                    </a:lnTo>
                    <a:lnTo>
                      <a:pt x="2160" y="1341"/>
                    </a:lnTo>
                    <a:lnTo>
                      <a:pt x="2142" y="1358"/>
                    </a:lnTo>
                    <a:lnTo>
                      <a:pt x="2142" y="1367"/>
                    </a:lnTo>
                    <a:lnTo>
                      <a:pt x="2141" y="1380"/>
                    </a:lnTo>
                    <a:lnTo>
                      <a:pt x="2124" y="1392"/>
                    </a:lnTo>
                    <a:lnTo>
                      <a:pt x="2120" y="1388"/>
                    </a:lnTo>
                    <a:lnTo>
                      <a:pt x="2094" y="1392"/>
                    </a:lnTo>
                    <a:lnTo>
                      <a:pt x="2085" y="1395"/>
                    </a:lnTo>
                    <a:lnTo>
                      <a:pt x="2067" y="1394"/>
                    </a:lnTo>
                    <a:lnTo>
                      <a:pt x="2063" y="1397"/>
                    </a:lnTo>
                    <a:lnTo>
                      <a:pt x="2064" y="1404"/>
                    </a:lnTo>
                    <a:lnTo>
                      <a:pt x="2066" y="1416"/>
                    </a:lnTo>
                    <a:lnTo>
                      <a:pt x="2061" y="1419"/>
                    </a:lnTo>
                    <a:lnTo>
                      <a:pt x="2052" y="1419"/>
                    </a:lnTo>
                    <a:lnTo>
                      <a:pt x="2045" y="1425"/>
                    </a:lnTo>
                    <a:lnTo>
                      <a:pt x="2031" y="1424"/>
                    </a:lnTo>
                    <a:lnTo>
                      <a:pt x="2019" y="1422"/>
                    </a:lnTo>
                    <a:lnTo>
                      <a:pt x="2013" y="1433"/>
                    </a:lnTo>
                    <a:lnTo>
                      <a:pt x="2015" y="1449"/>
                    </a:lnTo>
                    <a:lnTo>
                      <a:pt x="2006" y="1457"/>
                    </a:lnTo>
                    <a:lnTo>
                      <a:pt x="2004" y="1464"/>
                    </a:lnTo>
                    <a:lnTo>
                      <a:pt x="2022" y="1479"/>
                    </a:lnTo>
                    <a:lnTo>
                      <a:pt x="2028" y="1485"/>
                    </a:lnTo>
                    <a:lnTo>
                      <a:pt x="2024" y="1496"/>
                    </a:lnTo>
                    <a:lnTo>
                      <a:pt x="2019" y="1512"/>
                    </a:lnTo>
                    <a:lnTo>
                      <a:pt x="2021" y="1521"/>
                    </a:lnTo>
                    <a:lnTo>
                      <a:pt x="2018" y="1533"/>
                    </a:lnTo>
                    <a:lnTo>
                      <a:pt x="2001" y="1554"/>
                    </a:lnTo>
                    <a:lnTo>
                      <a:pt x="1997" y="1556"/>
                    </a:lnTo>
                    <a:lnTo>
                      <a:pt x="1983" y="1560"/>
                    </a:lnTo>
                    <a:lnTo>
                      <a:pt x="1976" y="1569"/>
                    </a:lnTo>
                    <a:lnTo>
                      <a:pt x="1974" y="1577"/>
                    </a:lnTo>
                    <a:lnTo>
                      <a:pt x="1973" y="1584"/>
                    </a:lnTo>
                    <a:lnTo>
                      <a:pt x="1979" y="1587"/>
                    </a:lnTo>
                    <a:lnTo>
                      <a:pt x="1988" y="1577"/>
                    </a:lnTo>
                    <a:lnTo>
                      <a:pt x="1998" y="1569"/>
                    </a:lnTo>
                    <a:lnTo>
                      <a:pt x="2000" y="1580"/>
                    </a:lnTo>
                    <a:lnTo>
                      <a:pt x="2012" y="1596"/>
                    </a:lnTo>
                    <a:lnTo>
                      <a:pt x="2015" y="1607"/>
                    </a:lnTo>
                    <a:lnTo>
                      <a:pt x="2003" y="1616"/>
                    </a:lnTo>
                    <a:lnTo>
                      <a:pt x="2003" y="1622"/>
                    </a:lnTo>
                    <a:lnTo>
                      <a:pt x="2006" y="1632"/>
                    </a:lnTo>
                    <a:lnTo>
                      <a:pt x="2000" y="1640"/>
                    </a:lnTo>
                    <a:lnTo>
                      <a:pt x="1998" y="1652"/>
                    </a:lnTo>
                    <a:lnTo>
                      <a:pt x="2009" y="1674"/>
                    </a:lnTo>
                    <a:lnTo>
                      <a:pt x="2027" y="1679"/>
                    </a:lnTo>
                    <a:lnTo>
                      <a:pt x="2037" y="1686"/>
                    </a:lnTo>
                    <a:lnTo>
                      <a:pt x="2046" y="1697"/>
                    </a:lnTo>
                    <a:lnTo>
                      <a:pt x="2051" y="1707"/>
                    </a:lnTo>
                    <a:lnTo>
                      <a:pt x="2051" y="1715"/>
                    </a:lnTo>
                    <a:lnTo>
                      <a:pt x="2013" y="1733"/>
                    </a:lnTo>
                    <a:lnTo>
                      <a:pt x="2004" y="1737"/>
                    </a:lnTo>
                    <a:lnTo>
                      <a:pt x="2001" y="1742"/>
                    </a:lnTo>
                    <a:lnTo>
                      <a:pt x="2003" y="1748"/>
                    </a:lnTo>
                    <a:lnTo>
                      <a:pt x="2009" y="1761"/>
                    </a:lnTo>
                    <a:lnTo>
                      <a:pt x="2012" y="1769"/>
                    </a:lnTo>
                    <a:lnTo>
                      <a:pt x="2010" y="1776"/>
                    </a:lnTo>
                    <a:lnTo>
                      <a:pt x="2015" y="1791"/>
                    </a:lnTo>
                    <a:lnTo>
                      <a:pt x="2015" y="1803"/>
                    </a:lnTo>
                    <a:lnTo>
                      <a:pt x="2013" y="1811"/>
                    </a:lnTo>
                    <a:lnTo>
                      <a:pt x="1995" y="1800"/>
                    </a:lnTo>
                    <a:lnTo>
                      <a:pt x="1988" y="1812"/>
                    </a:lnTo>
                    <a:lnTo>
                      <a:pt x="1976" y="1814"/>
                    </a:lnTo>
                    <a:lnTo>
                      <a:pt x="1970" y="1812"/>
                    </a:lnTo>
                    <a:lnTo>
                      <a:pt x="1961" y="1823"/>
                    </a:lnTo>
                    <a:lnTo>
                      <a:pt x="1949" y="1829"/>
                    </a:lnTo>
                    <a:lnTo>
                      <a:pt x="1931" y="1845"/>
                    </a:lnTo>
                    <a:lnTo>
                      <a:pt x="1922" y="1845"/>
                    </a:lnTo>
                    <a:lnTo>
                      <a:pt x="1917" y="1853"/>
                    </a:lnTo>
                    <a:lnTo>
                      <a:pt x="1893" y="1863"/>
                    </a:lnTo>
                    <a:lnTo>
                      <a:pt x="1884" y="1872"/>
                    </a:lnTo>
                    <a:lnTo>
                      <a:pt x="1874" y="1868"/>
                    </a:lnTo>
                    <a:lnTo>
                      <a:pt x="1854" y="1875"/>
                    </a:lnTo>
                    <a:lnTo>
                      <a:pt x="1848" y="1875"/>
                    </a:lnTo>
                    <a:lnTo>
                      <a:pt x="1841" y="1893"/>
                    </a:lnTo>
                    <a:lnTo>
                      <a:pt x="1830" y="1899"/>
                    </a:lnTo>
                    <a:lnTo>
                      <a:pt x="1812" y="1898"/>
                    </a:lnTo>
                    <a:lnTo>
                      <a:pt x="1809" y="1886"/>
                    </a:lnTo>
                    <a:lnTo>
                      <a:pt x="1800" y="1872"/>
                    </a:lnTo>
                    <a:lnTo>
                      <a:pt x="1800" y="1865"/>
                    </a:lnTo>
                    <a:lnTo>
                      <a:pt x="1802" y="1859"/>
                    </a:lnTo>
                    <a:lnTo>
                      <a:pt x="1763" y="1848"/>
                    </a:lnTo>
                    <a:lnTo>
                      <a:pt x="1739" y="1854"/>
                    </a:lnTo>
                    <a:lnTo>
                      <a:pt x="1727" y="1857"/>
                    </a:lnTo>
                    <a:lnTo>
                      <a:pt x="1704" y="1863"/>
                    </a:lnTo>
                    <a:lnTo>
                      <a:pt x="1695" y="1859"/>
                    </a:lnTo>
                    <a:lnTo>
                      <a:pt x="1685" y="1859"/>
                    </a:lnTo>
                    <a:lnTo>
                      <a:pt x="1679" y="1851"/>
                    </a:lnTo>
                    <a:lnTo>
                      <a:pt x="1679" y="1841"/>
                    </a:lnTo>
                    <a:lnTo>
                      <a:pt x="1671" y="1839"/>
                    </a:lnTo>
                    <a:lnTo>
                      <a:pt x="1662" y="1844"/>
                    </a:lnTo>
                    <a:lnTo>
                      <a:pt x="1650" y="1836"/>
                    </a:lnTo>
                    <a:lnTo>
                      <a:pt x="1643" y="1841"/>
                    </a:lnTo>
                    <a:lnTo>
                      <a:pt x="1634" y="1848"/>
                    </a:lnTo>
                    <a:lnTo>
                      <a:pt x="1641" y="1853"/>
                    </a:lnTo>
                    <a:lnTo>
                      <a:pt x="1641" y="1860"/>
                    </a:lnTo>
                    <a:lnTo>
                      <a:pt x="1652" y="1868"/>
                    </a:lnTo>
                    <a:lnTo>
                      <a:pt x="1656" y="1880"/>
                    </a:lnTo>
                    <a:lnTo>
                      <a:pt x="1638" y="1887"/>
                    </a:lnTo>
                    <a:lnTo>
                      <a:pt x="1640" y="1878"/>
                    </a:lnTo>
                    <a:lnTo>
                      <a:pt x="1634" y="1880"/>
                    </a:lnTo>
                    <a:lnTo>
                      <a:pt x="1626" y="1889"/>
                    </a:lnTo>
                    <a:lnTo>
                      <a:pt x="1614" y="1883"/>
                    </a:lnTo>
                    <a:lnTo>
                      <a:pt x="1611" y="1901"/>
                    </a:lnTo>
                    <a:lnTo>
                      <a:pt x="1616" y="1910"/>
                    </a:lnTo>
                    <a:lnTo>
                      <a:pt x="1625" y="1920"/>
                    </a:lnTo>
                    <a:lnTo>
                      <a:pt x="1622" y="1923"/>
                    </a:lnTo>
                    <a:lnTo>
                      <a:pt x="1613" y="1928"/>
                    </a:lnTo>
                    <a:lnTo>
                      <a:pt x="1610" y="1934"/>
                    </a:lnTo>
                    <a:lnTo>
                      <a:pt x="1601" y="1920"/>
                    </a:lnTo>
                    <a:lnTo>
                      <a:pt x="1586" y="1926"/>
                    </a:lnTo>
                    <a:lnTo>
                      <a:pt x="1580" y="1940"/>
                    </a:lnTo>
                    <a:lnTo>
                      <a:pt x="1569" y="1949"/>
                    </a:lnTo>
                    <a:lnTo>
                      <a:pt x="1565" y="1958"/>
                    </a:lnTo>
                    <a:lnTo>
                      <a:pt x="1538" y="1961"/>
                    </a:lnTo>
                    <a:lnTo>
                      <a:pt x="1533" y="1949"/>
                    </a:lnTo>
                    <a:lnTo>
                      <a:pt x="1533" y="1941"/>
                    </a:lnTo>
                    <a:lnTo>
                      <a:pt x="1541" y="1937"/>
                    </a:lnTo>
                    <a:lnTo>
                      <a:pt x="1538" y="1932"/>
                    </a:lnTo>
                    <a:lnTo>
                      <a:pt x="1541" y="1914"/>
                    </a:lnTo>
                    <a:lnTo>
                      <a:pt x="1535" y="1913"/>
                    </a:lnTo>
                    <a:lnTo>
                      <a:pt x="1527" y="1916"/>
                    </a:lnTo>
                    <a:lnTo>
                      <a:pt x="1521" y="1911"/>
                    </a:lnTo>
                    <a:lnTo>
                      <a:pt x="1520" y="1892"/>
                    </a:lnTo>
                    <a:lnTo>
                      <a:pt x="1503" y="1892"/>
                    </a:lnTo>
                    <a:lnTo>
                      <a:pt x="1487" y="1890"/>
                    </a:lnTo>
                    <a:lnTo>
                      <a:pt x="1479" y="1895"/>
                    </a:lnTo>
                    <a:lnTo>
                      <a:pt x="1476" y="1907"/>
                    </a:lnTo>
                    <a:lnTo>
                      <a:pt x="1470" y="1916"/>
                    </a:lnTo>
                    <a:lnTo>
                      <a:pt x="1467" y="1914"/>
                    </a:lnTo>
                    <a:lnTo>
                      <a:pt x="1460" y="1920"/>
                    </a:lnTo>
                    <a:lnTo>
                      <a:pt x="1452" y="1925"/>
                    </a:lnTo>
                    <a:lnTo>
                      <a:pt x="1446" y="1922"/>
                    </a:lnTo>
                    <a:lnTo>
                      <a:pt x="1439" y="1922"/>
                    </a:lnTo>
                    <a:lnTo>
                      <a:pt x="1427" y="1920"/>
                    </a:lnTo>
                    <a:lnTo>
                      <a:pt x="1419" y="1907"/>
                    </a:lnTo>
                    <a:lnTo>
                      <a:pt x="1416" y="1896"/>
                    </a:lnTo>
                    <a:lnTo>
                      <a:pt x="1421" y="1887"/>
                    </a:lnTo>
                    <a:lnTo>
                      <a:pt x="1406" y="1892"/>
                    </a:lnTo>
                    <a:lnTo>
                      <a:pt x="1394" y="1889"/>
                    </a:lnTo>
                    <a:lnTo>
                      <a:pt x="1364" y="1911"/>
                    </a:lnTo>
                    <a:lnTo>
                      <a:pt x="1356" y="1925"/>
                    </a:lnTo>
                    <a:lnTo>
                      <a:pt x="1337" y="1928"/>
                    </a:lnTo>
                    <a:lnTo>
                      <a:pt x="1310" y="1914"/>
                    </a:lnTo>
                    <a:lnTo>
                      <a:pt x="1298" y="1898"/>
                    </a:lnTo>
                    <a:lnTo>
                      <a:pt x="1295" y="1892"/>
                    </a:lnTo>
                    <a:lnTo>
                      <a:pt x="1284" y="1875"/>
                    </a:lnTo>
                    <a:lnTo>
                      <a:pt x="1257" y="1866"/>
                    </a:lnTo>
                    <a:lnTo>
                      <a:pt x="1242" y="1865"/>
                    </a:lnTo>
                    <a:lnTo>
                      <a:pt x="1232" y="1853"/>
                    </a:lnTo>
                    <a:lnTo>
                      <a:pt x="1212" y="1829"/>
                    </a:lnTo>
                    <a:lnTo>
                      <a:pt x="1208" y="1803"/>
                    </a:lnTo>
                    <a:lnTo>
                      <a:pt x="1202" y="1794"/>
                    </a:lnTo>
                    <a:close/>
                  </a:path>
                </a:pathLst>
              </a:custGeom>
              <a:grp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1" name="Freeform 308">
                <a:extLst>
                  <a:ext uri="{FF2B5EF4-FFF2-40B4-BE49-F238E27FC236}">
                    <a16:creationId xmlns:a16="http://schemas.microsoft.com/office/drawing/2014/main" id="{2CD4C3F5-CBB0-BC5F-8F5E-690C85C686EC}"/>
                  </a:ext>
                </a:extLst>
              </p:cNvPr>
              <p:cNvSpPr>
                <a:spLocks/>
              </p:cNvSpPr>
              <p:nvPr/>
            </p:nvSpPr>
            <p:spPr bwMode="auto">
              <a:xfrm>
                <a:off x="2860" y="2240"/>
                <a:ext cx="504" cy="604"/>
              </a:xfrm>
              <a:custGeom>
                <a:avLst/>
                <a:gdLst>
                  <a:gd name="T0" fmla="*/ 0 w 1511"/>
                  <a:gd name="T1" fmla="*/ 0 h 1811"/>
                  <a:gd name="T2" fmla="*/ 0 w 1511"/>
                  <a:gd name="T3" fmla="*/ 0 h 1811"/>
                  <a:gd name="T4" fmla="*/ 0 w 1511"/>
                  <a:gd name="T5" fmla="*/ 0 h 1811"/>
                  <a:gd name="T6" fmla="*/ 0 w 1511"/>
                  <a:gd name="T7" fmla="*/ 0 h 1811"/>
                  <a:gd name="T8" fmla="*/ 0 w 1511"/>
                  <a:gd name="T9" fmla="*/ 0 h 1811"/>
                  <a:gd name="T10" fmla="*/ 0 w 1511"/>
                  <a:gd name="T11" fmla="*/ 0 h 1811"/>
                  <a:gd name="T12" fmla="*/ 0 w 1511"/>
                  <a:gd name="T13" fmla="*/ 0 h 1811"/>
                  <a:gd name="T14" fmla="*/ 0 w 1511"/>
                  <a:gd name="T15" fmla="*/ 0 h 1811"/>
                  <a:gd name="T16" fmla="*/ 0 w 1511"/>
                  <a:gd name="T17" fmla="*/ 0 h 1811"/>
                  <a:gd name="T18" fmla="*/ 0 w 1511"/>
                  <a:gd name="T19" fmla="*/ 0 h 1811"/>
                  <a:gd name="T20" fmla="*/ 0 w 1511"/>
                  <a:gd name="T21" fmla="*/ 0 h 1811"/>
                  <a:gd name="T22" fmla="*/ 0 w 1511"/>
                  <a:gd name="T23" fmla="*/ 0 h 1811"/>
                  <a:gd name="T24" fmla="*/ 0 w 1511"/>
                  <a:gd name="T25" fmla="*/ 0 h 1811"/>
                  <a:gd name="T26" fmla="*/ 0 w 1511"/>
                  <a:gd name="T27" fmla="*/ 0 h 1811"/>
                  <a:gd name="T28" fmla="*/ 0 w 1511"/>
                  <a:gd name="T29" fmla="*/ 0 h 1811"/>
                  <a:gd name="T30" fmla="*/ 0 w 1511"/>
                  <a:gd name="T31" fmla="*/ 0 h 1811"/>
                  <a:gd name="T32" fmla="*/ 0 w 1511"/>
                  <a:gd name="T33" fmla="*/ 0 h 1811"/>
                  <a:gd name="T34" fmla="*/ 0 w 1511"/>
                  <a:gd name="T35" fmla="*/ 0 h 1811"/>
                  <a:gd name="T36" fmla="*/ 0 w 1511"/>
                  <a:gd name="T37" fmla="*/ 0 h 1811"/>
                  <a:gd name="T38" fmla="*/ 0 w 1511"/>
                  <a:gd name="T39" fmla="*/ 0 h 1811"/>
                  <a:gd name="T40" fmla="*/ 0 w 1511"/>
                  <a:gd name="T41" fmla="*/ 0 h 1811"/>
                  <a:gd name="T42" fmla="*/ 0 w 1511"/>
                  <a:gd name="T43" fmla="*/ 0 h 1811"/>
                  <a:gd name="T44" fmla="*/ 0 w 1511"/>
                  <a:gd name="T45" fmla="*/ 0 h 1811"/>
                  <a:gd name="T46" fmla="*/ 0 w 1511"/>
                  <a:gd name="T47" fmla="*/ 0 h 1811"/>
                  <a:gd name="T48" fmla="*/ 0 w 1511"/>
                  <a:gd name="T49" fmla="*/ 0 h 1811"/>
                  <a:gd name="T50" fmla="*/ 0 w 1511"/>
                  <a:gd name="T51" fmla="*/ 0 h 1811"/>
                  <a:gd name="T52" fmla="*/ 0 w 1511"/>
                  <a:gd name="T53" fmla="*/ 0 h 1811"/>
                  <a:gd name="T54" fmla="*/ 0 w 1511"/>
                  <a:gd name="T55" fmla="*/ 0 h 1811"/>
                  <a:gd name="T56" fmla="*/ 0 w 1511"/>
                  <a:gd name="T57" fmla="*/ 0 h 1811"/>
                  <a:gd name="T58" fmla="*/ 0 w 1511"/>
                  <a:gd name="T59" fmla="*/ 0 h 1811"/>
                  <a:gd name="T60" fmla="*/ 0 w 1511"/>
                  <a:gd name="T61" fmla="*/ 0 h 1811"/>
                  <a:gd name="T62" fmla="*/ 0 w 1511"/>
                  <a:gd name="T63" fmla="*/ 0 h 1811"/>
                  <a:gd name="T64" fmla="*/ 0 w 1511"/>
                  <a:gd name="T65" fmla="*/ 0 h 1811"/>
                  <a:gd name="T66" fmla="*/ 0 w 1511"/>
                  <a:gd name="T67" fmla="*/ 0 h 1811"/>
                  <a:gd name="T68" fmla="*/ 0 w 1511"/>
                  <a:gd name="T69" fmla="*/ 0 h 1811"/>
                  <a:gd name="T70" fmla="*/ 0 w 1511"/>
                  <a:gd name="T71" fmla="*/ 0 h 1811"/>
                  <a:gd name="T72" fmla="*/ 0 w 1511"/>
                  <a:gd name="T73" fmla="*/ 0 h 1811"/>
                  <a:gd name="T74" fmla="*/ 0 w 1511"/>
                  <a:gd name="T75" fmla="*/ 0 h 1811"/>
                  <a:gd name="T76" fmla="*/ 0 w 1511"/>
                  <a:gd name="T77" fmla="*/ 0 h 1811"/>
                  <a:gd name="T78" fmla="*/ 0 w 1511"/>
                  <a:gd name="T79" fmla="*/ 0 h 1811"/>
                  <a:gd name="T80" fmla="*/ 0 w 1511"/>
                  <a:gd name="T81" fmla="*/ 0 h 1811"/>
                  <a:gd name="T82" fmla="*/ 0 w 1511"/>
                  <a:gd name="T83" fmla="*/ 0 h 1811"/>
                  <a:gd name="T84" fmla="*/ 0 w 1511"/>
                  <a:gd name="T85" fmla="*/ 0 h 1811"/>
                  <a:gd name="T86" fmla="*/ 0 w 1511"/>
                  <a:gd name="T87" fmla="*/ 0 h 1811"/>
                  <a:gd name="T88" fmla="*/ 0 w 1511"/>
                  <a:gd name="T89" fmla="*/ 0 h 1811"/>
                  <a:gd name="T90" fmla="*/ 0 w 1511"/>
                  <a:gd name="T91" fmla="*/ 0 h 1811"/>
                  <a:gd name="T92" fmla="*/ 0 w 1511"/>
                  <a:gd name="T93" fmla="*/ 0 h 1811"/>
                  <a:gd name="T94" fmla="*/ 0 w 1511"/>
                  <a:gd name="T95" fmla="*/ 0 h 1811"/>
                  <a:gd name="T96" fmla="*/ 0 w 1511"/>
                  <a:gd name="T97" fmla="*/ 0 h 1811"/>
                  <a:gd name="T98" fmla="*/ 0 w 1511"/>
                  <a:gd name="T99" fmla="*/ 0 h 1811"/>
                  <a:gd name="T100" fmla="*/ 0 w 1511"/>
                  <a:gd name="T101" fmla="*/ 0 h 1811"/>
                  <a:gd name="T102" fmla="*/ 0 w 1511"/>
                  <a:gd name="T103" fmla="*/ 0 h 1811"/>
                  <a:gd name="T104" fmla="*/ 0 w 1511"/>
                  <a:gd name="T105" fmla="*/ 0 h 1811"/>
                  <a:gd name="T106" fmla="*/ 0 w 1511"/>
                  <a:gd name="T107" fmla="*/ 0 h 1811"/>
                  <a:gd name="T108" fmla="*/ 0 w 1511"/>
                  <a:gd name="T109" fmla="*/ 0 h 1811"/>
                  <a:gd name="T110" fmla="*/ 0 w 1511"/>
                  <a:gd name="T111" fmla="*/ 0 h 1811"/>
                  <a:gd name="T112" fmla="*/ 0 w 1511"/>
                  <a:gd name="T113" fmla="*/ 0 h 1811"/>
                  <a:gd name="T114" fmla="*/ 0 w 1511"/>
                  <a:gd name="T115" fmla="*/ 0 h 1811"/>
                  <a:gd name="T116" fmla="*/ 0 w 1511"/>
                  <a:gd name="T117" fmla="*/ 0 h 1811"/>
                  <a:gd name="T118" fmla="*/ 0 w 1511"/>
                  <a:gd name="T119" fmla="*/ 0 h 1811"/>
                  <a:gd name="T120" fmla="*/ 0 w 1511"/>
                  <a:gd name="T121" fmla="*/ 0 h 1811"/>
                  <a:gd name="T122" fmla="*/ 0 w 1511"/>
                  <a:gd name="T123" fmla="*/ 0 h 1811"/>
                  <a:gd name="T124" fmla="*/ 0 w 1511"/>
                  <a:gd name="T125" fmla="*/ 0 h 181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511" h="1811">
                    <a:moveTo>
                      <a:pt x="1011" y="656"/>
                    </a:moveTo>
                    <a:lnTo>
                      <a:pt x="1028" y="648"/>
                    </a:lnTo>
                    <a:lnTo>
                      <a:pt x="1035" y="647"/>
                    </a:lnTo>
                    <a:lnTo>
                      <a:pt x="1040" y="629"/>
                    </a:lnTo>
                    <a:lnTo>
                      <a:pt x="1047" y="611"/>
                    </a:lnTo>
                    <a:lnTo>
                      <a:pt x="1052" y="600"/>
                    </a:lnTo>
                    <a:lnTo>
                      <a:pt x="1058" y="600"/>
                    </a:lnTo>
                    <a:lnTo>
                      <a:pt x="1065" y="618"/>
                    </a:lnTo>
                    <a:lnTo>
                      <a:pt x="1073" y="623"/>
                    </a:lnTo>
                    <a:lnTo>
                      <a:pt x="1079" y="621"/>
                    </a:lnTo>
                    <a:lnTo>
                      <a:pt x="1080" y="617"/>
                    </a:lnTo>
                    <a:lnTo>
                      <a:pt x="1091" y="621"/>
                    </a:lnTo>
                    <a:lnTo>
                      <a:pt x="1103" y="614"/>
                    </a:lnTo>
                    <a:lnTo>
                      <a:pt x="1109" y="614"/>
                    </a:lnTo>
                    <a:lnTo>
                      <a:pt x="1115" y="609"/>
                    </a:lnTo>
                    <a:lnTo>
                      <a:pt x="1121" y="617"/>
                    </a:lnTo>
                    <a:lnTo>
                      <a:pt x="1133" y="615"/>
                    </a:lnTo>
                    <a:lnTo>
                      <a:pt x="1142" y="621"/>
                    </a:lnTo>
                    <a:lnTo>
                      <a:pt x="1151" y="620"/>
                    </a:lnTo>
                    <a:lnTo>
                      <a:pt x="1154" y="611"/>
                    </a:lnTo>
                    <a:lnTo>
                      <a:pt x="1173" y="612"/>
                    </a:lnTo>
                    <a:lnTo>
                      <a:pt x="1178" y="623"/>
                    </a:lnTo>
                    <a:lnTo>
                      <a:pt x="1184" y="626"/>
                    </a:lnTo>
                    <a:lnTo>
                      <a:pt x="1185" y="636"/>
                    </a:lnTo>
                    <a:lnTo>
                      <a:pt x="1190" y="642"/>
                    </a:lnTo>
                    <a:lnTo>
                      <a:pt x="1184" y="650"/>
                    </a:lnTo>
                    <a:lnTo>
                      <a:pt x="1185" y="657"/>
                    </a:lnTo>
                    <a:lnTo>
                      <a:pt x="1196" y="669"/>
                    </a:lnTo>
                    <a:lnTo>
                      <a:pt x="1197" y="677"/>
                    </a:lnTo>
                    <a:lnTo>
                      <a:pt x="1206" y="683"/>
                    </a:lnTo>
                    <a:lnTo>
                      <a:pt x="1220" y="690"/>
                    </a:lnTo>
                    <a:lnTo>
                      <a:pt x="1223" y="701"/>
                    </a:lnTo>
                    <a:lnTo>
                      <a:pt x="1238" y="699"/>
                    </a:lnTo>
                    <a:lnTo>
                      <a:pt x="1245" y="689"/>
                    </a:lnTo>
                    <a:lnTo>
                      <a:pt x="1259" y="690"/>
                    </a:lnTo>
                    <a:lnTo>
                      <a:pt x="1263" y="698"/>
                    </a:lnTo>
                    <a:lnTo>
                      <a:pt x="1275" y="702"/>
                    </a:lnTo>
                    <a:lnTo>
                      <a:pt x="1289" y="711"/>
                    </a:lnTo>
                    <a:lnTo>
                      <a:pt x="1274" y="720"/>
                    </a:lnTo>
                    <a:lnTo>
                      <a:pt x="1260" y="735"/>
                    </a:lnTo>
                    <a:lnTo>
                      <a:pt x="1259" y="746"/>
                    </a:lnTo>
                    <a:lnTo>
                      <a:pt x="1256" y="747"/>
                    </a:lnTo>
                    <a:lnTo>
                      <a:pt x="1248" y="755"/>
                    </a:lnTo>
                    <a:lnTo>
                      <a:pt x="1251" y="767"/>
                    </a:lnTo>
                    <a:lnTo>
                      <a:pt x="1259" y="767"/>
                    </a:lnTo>
                    <a:lnTo>
                      <a:pt x="1260" y="774"/>
                    </a:lnTo>
                    <a:lnTo>
                      <a:pt x="1274" y="773"/>
                    </a:lnTo>
                    <a:lnTo>
                      <a:pt x="1283" y="765"/>
                    </a:lnTo>
                    <a:lnTo>
                      <a:pt x="1293" y="776"/>
                    </a:lnTo>
                    <a:lnTo>
                      <a:pt x="1295" y="786"/>
                    </a:lnTo>
                    <a:lnTo>
                      <a:pt x="1302" y="794"/>
                    </a:lnTo>
                    <a:lnTo>
                      <a:pt x="1314" y="785"/>
                    </a:lnTo>
                    <a:lnTo>
                      <a:pt x="1328" y="786"/>
                    </a:lnTo>
                    <a:lnTo>
                      <a:pt x="1340" y="792"/>
                    </a:lnTo>
                    <a:lnTo>
                      <a:pt x="1344" y="810"/>
                    </a:lnTo>
                    <a:lnTo>
                      <a:pt x="1350" y="813"/>
                    </a:lnTo>
                    <a:lnTo>
                      <a:pt x="1358" y="807"/>
                    </a:lnTo>
                    <a:lnTo>
                      <a:pt x="1362" y="806"/>
                    </a:lnTo>
                    <a:lnTo>
                      <a:pt x="1371" y="813"/>
                    </a:lnTo>
                    <a:lnTo>
                      <a:pt x="1376" y="816"/>
                    </a:lnTo>
                    <a:lnTo>
                      <a:pt x="1386" y="812"/>
                    </a:lnTo>
                    <a:lnTo>
                      <a:pt x="1391" y="816"/>
                    </a:lnTo>
                    <a:lnTo>
                      <a:pt x="1386" y="818"/>
                    </a:lnTo>
                    <a:lnTo>
                      <a:pt x="1382" y="822"/>
                    </a:lnTo>
                    <a:lnTo>
                      <a:pt x="1388" y="831"/>
                    </a:lnTo>
                    <a:lnTo>
                      <a:pt x="1385" y="837"/>
                    </a:lnTo>
                    <a:lnTo>
                      <a:pt x="1374" y="839"/>
                    </a:lnTo>
                    <a:lnTo>
                      <a:pt x="1365" y="836"/>
                    </a:lnTo>
                    <a:lnTo>
                      <a:pt x="1361" y="851"/>
                    </a:lnTo>
                    <a:lnTo>
                      <a:pt x="1364" y="858"/>
                    </a:lnTo>
                    <a:lnTo>
                      <a:pt x="1370" y="860"/>
                    </a:lnTo>
                    <a:lnTo>
                      <a:pt x="1379" y="854"/>
                    </a:lnTo>
                    <a:lnTo>
                      <a:pt x="1376" y="864"/>
                    </a:lnTo>
                    <a:lnTo>
                      <a:pt x="1379" y="875"/>
                    </a:lnTo>
                    <a:lnTo>
                      <a:pt x="1385" y="875"/>
                    </a:lnTo>
                    <a:lnTo>
                      <a:pt x="1392" y="860"/>
                    </a:lnTo>
                    <a:lnTo>
                      <a:pt x="1401" y="869"/>
                    </a:lnTo>
                    <a:lnTo>
                      <a:pt x="1413" y="879"/>
                    </a:lnTo>
                    <a:lnTo>
                      <a:pt x="1407" y="888"/>
                    </a:lnTo>
                    <a:lnTo>
                      <a:pt x="1410" y="897"/>
                    </a:lnTo>
                    <a:lnTo>
                      <a:pt x="1404" y="905"/>
                    </a:lnTo>
                    <a:lnTo>
                      <a:pt x="1383" y="909"/>
                    </a:lnTo>
                    <a:lnTo>
                      <a:pt x="1380" y="927"/>
                    </a:lnTo>
                    <a:lnTo>
                      <a:pt x="1365" y="947"/>
                    </a:lnTo>
                    <a:lnTo>
                      <a:pt x="1343" y="948"/>
                    </a:lnTo>
                    <a:lnTo>
                      <a:pt x="1347" y="959"/>
                    </a:lnTo>
                    <a:lnTo>
                      <a:pt x="1347" y="965"/>
                    </a:lnTo>
                    <a:lnTo>
                      <a:pt x="1347" y="972"/>
                    </a:lnTo>
                    <a:lnTo>
                      <a:pt x="1349" y="981"/>
                    </a:lnTo>
                    <a:lnTo>
                      <a:pt x="1341" y="986"/>
                    </a:lnTo>
                    <a:lnTo>
                      <a:pt x="1340" y="993"/>
                    </a:lnTo>
                    <a:lnTo>
                      <a:pt x="1343" y="1005"/>
                    </a:lnTo>
                    <a:lnTo>
                      <a:pt x="1349" y="1010"/>
                    </a:lnTo>
                    <a:lnTo>
                      <a:pt x="1352" y="1020"/>
                    </a:lnTo>
                    <a:lnTo>
                      <a:pt x="1361" y="1023"/>
                    </a:lnTo>
                    <a:lnTo>
                      <a:pt x="1371" y="1022"/>
                    </a:lnTo>
                    <a:lnTo>
                      <a:pt x="1377" y="1022"/>
                    </a:lnTo>
                    <a:lnTo>
                      <a:pt x="1380" y="1031"/>
                    </a:lnTo>
                    <a:lnTo>
                      <a:pt x="1379" y="1040"/>
                    </a:lnTo>
                    <a:lnTo>
                      <a:pt x="1371" y="1052"/>
                    </a:lnTo>
                    <a:lnTo>
                      <a:pt x="1362" y="1058"/>
                    </a:lnTo>
                    <a:lnTo>
                      <a:pt x="1346" y="1062"/>
                    </a:lnTo>
                    <a:lnTo>
                      <a:pt x="1341" y="1071"/>
                    </a:lnTo>
                    <a:lnTo>
                      <a:pt x="1341" y="1086"/>
                    </a:lnTo>
                    <a:lnTo>
                      <a:pt x="1344" y="1091"/>
                    </a:lnTo>
                    <a:lnTo>
                      <a:pt x="1356" y="1091"/>
                    </a:lnTo>
                    <a:lnTo>
                      <a:pt x="1376" y="1088"/>
                    </a:lnTo>
                    <a:lnTo>
                      <a:pt x="1389" y="1101"/>
                    </a:lnTo>
                    <a:lnTo>
                      <a:pt x="1389" y="1112"/>
                    </a:lnTo>
                    <a:lnTo>
                      <a:pt x="1385" y="1118"/>
                    </a:lnTo>
                    <a:lnTo>
                      <a:pt x="1376" y="1119"/>
                    </a:lnTo>
                    <a:lnTo>
                      <a:pt x="1370" y="1124"/>
                    </a:lnTo>
                    <a:lnTo>
                      <a:pt x="1359" y="1124"/>
                    </a:lnTo>
                    <a:lnTo>
                      <a:pt x="1359" y="1130"/>
                    </a:lnTo>
                    <a:lnTo>
                      <a:pt x="1371" y="1137"/>
                    </a:lnTo>
                    <a:lnTo>
                      <a:pt x="1380" y="1145"/>
                    </a:lnTo>
                    <a:lnTo>
                      <a:pt x="1389" y="1157"/>
                    </a:lnTo>
                    <a:lnTo>
                      <a:pt x="1394" y="1154"/>
                    </a:lnTo>
                    <a:lnTo>
                      <a:pt x="1401" y="1160"/>
                    </a:lnTo>
                    <a:lnTo>
                      <a:pt x="1412" y="1151"/>
                    </a:lnTo>
                    <a:lnTo>
                      <a:pt x="1419" y="1155"/>
                    </a:lnTo>
                    <a:lnTo>
                      <a:pt x="1425" y="1157"/>
                    </a:lnTo>
                    <a:lnTo>
                      <a:pt x="1434" y="1154"/>
                    </a:lnTo>
                    <a:lnTo>
                      <a:pt x="1434" y="1160"/>
                    </a:lnTo>
                    <a:lnTo>
                      <a:pt x="1442" y="1164"/>
                    </a:lnTo>
                    <a:lnTo>
                      <a:pt x="1458" y="1160"/>
                    </a:lnTo>
                    <a:lnTo>
                      <a:pt x="1466" y="1163"/>
                    </a:lnTo>
                    <a:lnTo>
                      <a:pt x="1472" y="1166"/>
                    </a:lnTo>
                    <a:lnTo>
                      <a:pt x="1482" y="1172"/>
                    </a:lnTo>
                    <a:lnTo>
                      <a:pt x="1484" y="1178"/>
                    </a:lnTo>
                    <a:lnTo>
                      <a:pt x="1476" y="1188"/>
                    </a:lnTo>
                    <a:lnTo>
                      <a:pt x="1469" y="1191"/>
                    </a:lnTo>
                    <a:lnTo>
                      <a:pt x="1457" y="1193"/>
                    </a:lnTo>
                    <a:lnTo>
                      <a:pt x="1458" y="1197"/>
                    </a:lnTo>
                    <a:lnTo>
                      <a:pt x="1464" y="1202"/>
                    </a:lnTo>
                    <a:lnTo>
                      <a:pt x="1467" y="1206"/>
                    </a:lnTo>
                    <a:lnTo>
                      <a:pt x="1469" y="1221"/>
                    </a:lnTo>
                    <a:lnTo>
                      <a:pt x="1478" y="1232"/>
                    </a:lnTo>
                    <a:lnTo>
                      <a:pt x="1473" y="1239"/>
                    </a:lnTo>
                    <a:lnTo>
                      <a:pt x="1475" y="1247"/>
                    </a:lnTo>
                    <a:lnTo>
                      <a:pt x="1482" y="1242"/>
                    </a:lnTo>
                    <a:lnTo>
                      <a:pt x="1481" y="1256"/>
                    </a:lnTo>
                    <a:lnTo>
                      <a:pt x="1487" y="1257"/>
                    </a:lnTo>
                    <a:lnTo>
                      <a:pt x="1491" y="1272"/>
                    </a:lnTo>
                    <a:lnTo>
                      <a:pt x="1503" y="1286"/>
                    </a:lnTo>
                    <a:lnTo>
                      <a:pt x="1506" y="1292"/>
                    </a:lnTo>
                    <a:lnTo>
                      <a:pt x="1511" y="1299"/>
                    </a:lnTo>
                    <a:lnTo>
                      <a:pt x="1505" y="1302"/>
                    </a:lnTo>
                    <a:lnTo>
                      <a:pt x="1484" y="1308"/>
                    </a:lnTo>
                    <a:lnTo>
                      <a:pt x="1487" y="1331"/>
                    </a:lnTo>
                    <a:lnTo>
                      <a:pt x="1490" y="1340"/>
                    </a:lnTo>
                    <a:lnTo>
                      <a:pt x="1487" y="1349"/>
                    </a:lnTo>
                    <a:lnTo>
                      <a:pt x="1491" y="1353"/>
                    </a:lnTo>
                    <a:lnTo>
                      <a:pt x="1491" y="1364"/>
                    </a:lnTo>
                    <a:lnTo>
                      <a:pt x="1496" y="1371"/>
                    </a:lnTo>
                    <a:lnTo>
                      <a:pt x="1505" y="1386"/>
                    </a:lnTo>
                    <a:lnTo>
                      <a:pt x="1505" y="1391"/>
                    </a:lnTo>
                    <a:lnTo>
                      <a:pt x="1506" y="1400"/>
                    </a:lnTo>
                    <a:lnTo>
                      <a:pt x="1509" y="1410"/>
                    </a:lnTo>
                    <a:lnTo>
                      <a:pt x="1497" y="1409"/>
                    </a:lnTo>
                    <a:lnTo>
                      <a:pt x="1487" y="1418"/>
                    </a:lnTo>
                    <a:lnTo>
                      <a:pt x="1491" y="1425"/>
                    </a:lnTo>
                    <a:lnTo>
                      <a:pt x="1493" y="1436"/>
                    </a:lnTo>
                    <a:lnTo>
                      <a:pt x="1505" y="1445"/>
                    </a:lnTo>
                    <a:lnTo>
                      <a:pt x="1506" y="1452"/>
                    </a:lnTo>
                    <a:lnTo>
                      <a:pt x="1505" y="1460"/>
                    </a:lnTo>
                    <a:lnTo>
                      <a:pt x="1500" y="1463"/>
                    </a:lnTo>
                    <a:lnTo>
                      <a:pt x="1490" y="1466"/>
                    </a:lnTo>
                    <a:lnTo>
                      <a:pt x="1484" y="1467"/>
                    </a:lnTo>
                    <a:lnTo>
                      <a:pt x="1481" y="1473"/>
                    </a:lnTo>
                    <a:lnTo>
                      <a:pt x="1479" y="1473"/>
                    </a:lnTo>
                    <a:lnTo>
                      <a:pt x="1478" y="1488"/>
                    </a:lnTo>
                    <a:lnTo>
                      <a:pt x="1472" y="1488"/>
                    </a:lnTo>
                    <a:lnTo>
                      <a:pt x="1467" y="1487"/>
                    </a:lnTo>
                    <a:lnTo>
                      <a:pt x="1457" y="1499"/>
                    </a:lnTo>
                    <a:lnTo>
                      <a:pt x="1454" y="1496"/>
                    </a:lnTo>
                    <a:lnTo>
                      <a:pt x="1449" y="1494"/>
                    </a:lnTo>
                    <a:lnTo>
                      <a:pt x="1446" y="1499"/>
                    </a:lnTo>
                    <a:lnTo>
                      <a:pt x="1445" y="1511"/>
                    </a:lnTo>
                    <a:lnTo>
                      <a:pt x="1449" y="1533"/>
                    </a:lnTo>
                    <a:lnTo>
                      <a:pt x="1440" y="1538"/>
                    </a:lnTo>
                    <a:lnTo>
                      <a:pt x="1418" y="1542"/>
                    </a:lnTo>
                    <a:lnTo>
                      <a:pt x="1397" y="1551"/>
                    </a:lnTo>
                    <a:lnTo>
                      <a:pt x="1391" y="1557"/>
                    </a:lnTo>
                    <a:lnTo>
                      <a:pt x="1401" y="1562"/>
                    </a:lnTo>
                    <a:lnTo>
                      <a:pt x="1398" y="1565"/>
                    </a:lnTo>
                    <a:lnTo>
                      <a:pt x="1392" y="1572"/>
                    </a:lnTo>
                    <a:lnTo>
                      <a:pt x="1404" y="1583"/>
                    </a:lnTo>
                    <a:lnTo>
                      <a:pt x="1409" y="1589"/>
                    </a:lnTo>
                    <a:lnTo>
                      <a:pt x="1415" y="1590"/>
                    </a:lnTo>
                    <a:lnTo>
                      <a:pt x="1410" y="1601"/>
                    </a:lnTo>
                    <a:lnTo>
                      <a:pt x="1409" y="1617"/>
                    </a:lnTo>
                    <a:lnTo>
                      <a:pt x="1398" y="1614"/>
                    </a:lnTo>
                    <a:lnTo>
                      <a:pt x="1392" y="1625"/>
                    </a:lnTo>
                    <a:lnTo>
                      <a:pt x="1395" y="1631"/>
                    </a:lnTo>
                    <a:lnTo>
                      <a:pt x="1386" y="1647"/>
                    </a:lnTo>
                    <a:lnTo>
                      <a:pt x="1374" y="1640"/>
                    </a:lnTo>
                    <a:lnTo>
                      <a:pt x="1364" y="1653"/>
                    </a:lnTo>
                    <a:lnTo>
                      <a:pt x="1355" y="1655"/>
                    </a:lnTo>
                    <a:lnTo>
                      <a:pt x="1353" y="1658"/>
                    </a:lnTo>
                    <a:lnTo>
                      <a:pt x="1352" y="1668"/>
                    </a:lnTo>
                    <a:lnTo>
                      <a:pt x="1349" y="1673"/>
                    </a:lnTo>
                    <a:lnTo>
                      <a:pt x="1341" y="1673"/>
                    </a:lnTo>
                    <a:lnTo>
                      <a:pt x="1335" y="1679"/>
                    </a:lnTo>
                    <a:lnTo>
                      <a:pt x="1325" y="1682"/>
                    </a:lnTo>
                    <a:lnTo>
                      <a:pt x="1317" y="1686"/>
                    </a:lnTo>
                    <a:lnTo>
                      <a:pt x="1314" y="1683"/>
                    </a:lnTo>
                    <a:lnTo>
                      <a:pt x="1305" y="1685"/>
                    </a:lnTo>
                    <a:lnTo>
                      <a:pt x="1292" y="1688"/>
                    </a:lnTo>
                    <a:lnTo>
                      <a:pt x="1289" y="1695"/>
                    </a:lnTo>
                    <a:lnTo>
                      <a:pt x="1280" y="1698"/>
                    </a:lnTo>
                    <a:lnTo>
                      <a:pt x="1275" y="1701"/>
                    </a:lnTo>
                    <a:lnTo>
                      <a:pt x="1277" y="1707"/>
                    </a:lnTo>
                    <a:lnTo>
                      <a:pt x="1277" y="1715"/>
                    </a:lnTo>
                    <a:lnTo>
                      <a:pt x="1281" y="1731"/>
                    </a:lnTo>
                    <a:lnTo>
                      <a:pt x="1278" y="1745"/>
                    </a:lnTo>
                    <a:lnTo>
                      <a:pt x="1260" y="1760"/>
                    </a:lnTo>
                    <a:lnTo>
                      <a:pt x="1242" y="1776"/>
                    </a:lnTo>
                    <a:lnTo>
                      <a:pt x="1238" y="1781"/>
                    </a:lnTo>
                    <a:lnTo>
                      <a:pt x="1235" y="1787"/>
                    </a:lnTo>
                    <a:lnTo>
                      <a:pt x="1239" y="1796"/>
                    </a:lnTo>
                    <a:lnTo>
                      <a:pt x="1239" y="1802"/>
                    </a:lnTo>
                    <a:lnTo>
                      <a:pt x="1239" y="1809"/>
                    </a:lnTo>
                    <a:lnTo>
                      <a:pt x="1226" y="1811"/>
                    </a:lnTo>
                    <a:lnTo>
                      <a:pt x="1221" y="1809"/>
                    </a:lnTo>
                    <a:lnTo>
                      <a:pt x="1221" y="1788"/>
                    </a:lnTo>
                    <a:lnTo>
                      <a:pt x="1193" y="1770"/>
                    </a:lnTo>
                    <a:lnTo>
                      <a:pt x="1173" y="1766"/>
                    </a:lnTo>
                    <a:lnTo>
                      <a:pt x="1154" y="1742"/>
                    </a:lnTo>
                    <a:lnTo>
                      <a:pt x="1143" y="1728"/>
                    </a:lnTo>
                    <a:lnTo>
                      <a:pt x="1130" y="1734"/>
                    </a:lnTo>
                    <a:lnTo>
                      <a:pt x="1115" y="1730"/>
                    </a:lnTo>
                    <a:lnTo>
                      <a:pt x="1095" y="1745"/>
                    </a:lnTo>
                    <a:lnTo>
                      <a:pt x="1088" y="1751"/>
                    </a:lnTo>
                    <a:lnTo>
                      <a:pt x="1079" y="1758"/>
                    </a:lnTo>
                    <a:lnTo>
                      <a:pt x="1068" y="1763"/>
                    </a:lnTo>
                    <a:lnTo>
                      <a:pt x="1061" y="1767"/>
                    </a:lnTo>
                    <a:lnTo>
                      <a:pt x="1062" y="1776"/>
                    </a:lnTo>
                    <a:lnTo>
                      <a:pt x="1058" y="1782"/>
                    </a:lnTo>
                    <a:lnTo>
                      <a:pt x="1050" y="1779"/>
                    </a:lnTo>
                    <a:lnTo>
                      <a:pt x="1047" y="1782"/>
                    </a:lnTo>
                    <a:lnTo>
                      <a:pt x="1041" y="1778"/>
                    </a:lnTo>
                    <a:lnTo>
                      <a:pt x="1029" y="1782"/>
                    </a:lnTo>
                    <a:lnTo>
                      <a:pt x="1029" y="1778"/>
                    </a:lnTo>
                    <a:lnTo>
                      <a:pt x="1035" y="1772"/>
                    </a:lnTo>
                    <a:lnTo>
                      <a:pt x="1034" y="1761"/>
                    </a:lnTo>
                    <a:lnTo>
                      <a:pt x="1022" y="1757"/>
                    </a:lnTo>
                    <a:lnTo>
                      <a:pt x="1017" y="1751"/>
                    </a:lnTo>
                    <a:lnTo>
                      <a:pt x="1020" y="1745"/>
                    </a:lnTo>
                    <a:lnTo>
                      <a:pt x="1032" y="1739"/>
                    </a:lnTo>
                    <a:lnTo>
                      <a:pt x="1029" y="1728"/>
                    </a:lnTo>
                    <a:lnTo>
                      <a:pt x="1031" y="1718"/>
                    </a:lnTo>
                    <a:lnTo>
                      <a:pt x="1038" y="1713"/>
                    </a:lnTo>
                    <a:lnTo>
                      <a:pt x="1037" y="1706"/>
                    </a:lnTo>
                    <a:lnTo>
                      <a:pt x="1043" y="1703"/>
                    </a:lnTo>
                    <a:lnTo>
                      <a:pt x="1043" y="1697"/>
                    </a:lnTo>
                    <a:lnTo>
                      <a:pt x="1038" y="1697"/>
                    </a:lnTo>
                    <a:lnTo>
                      <a:pt x="1026" y="1697"/>
                    </a:lnTo>
                    <a:lnTo>
                      <a:pt x="1025" y="1691"/>
                    </a:lnTo>
                    <a:lnTo>
                      <a:pt x="1028" y="1679"/>
                    </a:lnTo>
                    <a:lnTo>
                      <a:pt x="1025" y="1674"/>
                    </a:lnTo>
                    <a:lnTo>
                      <a:pt x="1016" y="1665"/>
                    </a:lnTo>
                    <a:lnTo>
                      <a:pt x="1011" y="1667"/>
                    </a:lnTo>
                    <a:lnTo>
                      <a:pt x="996" y="1664"/>
                    </a:lnTo>
                    <a:lnTo>
                      <a:pt x="989" y="1676"/>
                    </a:lnTo>
                    <a:lnTo>
                      <a:pt x="987" y="1680"/>
                    </a:lnTo>
                    <a:lnTo>
                      <a:pt x="983" y="1683"/>
                    </a:lnTo>
                    <a:lnTo>
                      <a:pt x="977" y="1677"/>
                    </a:lnTo>
                    <a:lnTo>
                      <a:pt x="972" y="1679"/>
                    </a:lnTo>
                    <a:lnTo>
                      <a:pt x="972" y="1689"/>
                    </a:lnTo>
                    <a:lnTo>
                      <a:pt x="969" y="1689"/>
                    </a:lnTo>
                    <a:lnTo>
                      <a:pt x="959" y="1683"/>
                    </a:lnTo>
                    <a:lnTo>
                      <a:pt x="945" y="1689"/>
                    </a:lnTo>
                    <a:lnTo>
                      <a:pt x="942" y="1691"/>
                    </a:lnTo>
                    <a:lnTo>
                      <a:pt x="917" y="1689"/>
                    </a:lnTo>
                    <a:lnTo>
                      <a:pt x="909" y="1689"/>
                    </a:lnTo>
                    <a:lnTo>
                      <a:pt x="890" y="1688"/>
                    </a:lnTo>
                    <a:lnTo>
                      <a:pt x="890" y="1673"/>
                    </a:lnTo>
                    <a:lnTo>
                      <a:pt x="884" y="1659"/>
                    </a:lnTo>
                    <a:lnTo>
                      <a:pt x="875" y="1655"/>
                    </a:lnTo>
                    <a:lnTo>
                      <a:pt x="864" y="1659"/>
                    </a:lnTo>
                    <a:lnTo>
                      <a:pt x="858" y="1671"/>
                    </a:lnTo>
                    <a:lnTo>
                      <a:pt x="851" y="1668"/>
                    </a:lnTo>
                    <a:lnTo>
                      <a:pt x="843" y="1665"/>
                    </a:lnTo>
                    <a:lnTo>
                      <a:pt x="830" y="1667"/>
                    </a:lnTo>
                    <a:lnTo>
                      <a:pt x="824" y="1671"/>
                    </a:lnTo>
                    <a:lnTo>
                      <a:pt x="821" y="1694"/>
                    </a:lnTo>
                    <a:lnTo>
                      <a:pt x="810" y="1695"/>
                    </a:lnTo>
                    <a:lnTo>
                      <a:pt x="807" y="1703"/>
                    </a:lnTo>
                    <a:lnTo>
                      <a:pt x="798" y="1703"/>
                    </a:lnTo>
                    <a:lnTo>
                      <a:pt x="797" y="1695"/>
                    </a:lnTo>
                    <a:lnTo>
                      <a:pt x="791" y="1694"/>
                    </a:lnTo>
                    <a:lnTo>
                      <a:pt x="786" y="1689"/>
                    </a:lnTo>
                    <a:lnTo>
                      <a:pt x="780" y="1688"/>
                    </a:lnTo>
                    <a:lnTo>
                      <a:pt x="771" y="1692"/>
                    </a:lnTo>
                    <a:lnTo>
                      <a:pt x="761" y="1701"/>
                    </a:lnTo>
                    <a:lnTo>
                      <a:pt x="749" y="1700"/>
                    </a:lnTo>
                    <a:lnTo>
                      <a:pt x="744" y="1703"/>
                    </a:lnTo>
                    <a:lnTo>
                      <a:pt x="737" y="1704"/>
                    </a:lnTo>
                    <a:lnTo>
                      <a:pt x="729" y="1712"/>
                    </a:lnTo>
                    <a:lnTo>
                      <a:pt x="722" y="1719"/>
                    </a:lnTo>
                    <a:lnTo>
                      <a:pt x="711" y="1718"/>
                    </a:lnTo>
                    <a:lnTo>
                      <a:pt x="701" y="1725"/>
                    </a:lnTo>
                    <a:lnTo>
                      <a:pt x="698" y="1725"/>
                    </a:lnTo>
                    <a:lnTo>
                      <a:pt x="689" y="1721"/>
                    </a:lnTo>
                    <a:lnTo>
                      <a:pt x="674" y="1716"/>
                    </a:lnTo>
                    <a:lnTo>
                      <a:pt x="668" y="1721"/>
                    </a:lnTo>
                    <a:lnTo>
                      <a:pt x="660" y="1710"/>
                    </a:lnTo>
                    <a:lnTo>
                      <a:pt x="648" y="1716"/>
                    </a:lnTo>
                    <a:lnTo>
                      <a:pt x="648" y="1709"/>
                    </a:lnTo>
                    <a:lnTo>
                      <a:pt x="645" y="1703"/>
                    </a:lnTo>
                    <a:lnTo>
                      <a:pt x="647" y="1688"/>
                    </a:lnTo>
                    <a:lnTo>
                      <a:pt x="654" y="1673"/>
                    </a:lnTo>
                    <a:lnTo>
                      <a:pt x="654" y="1667"/>
                    </a:lnTo>
                    <a:lnTo>
                      <a:pt x="645" y="1665"/>
                    </a:lnTo>
                    <a:lnTo>
                      <a:pt x="639" y="1661"/>
                    </a:lnTo>
                    <a:lnTo>
                      <a:pt x="639" y="1658"/>
                    </a:lnTo>
                    <a:lnTo>
                      <a:pt x="645" y="1653"/>
                    </a:lnTo>
                    <a:lnTo>
                      <a:pt x="645" y="1640"/>
                    </a:lnTo>
                    <a:lnTo>
                      <a:pt x="644" y="1634"/>
                    </a:lnTo>
                    <a:lnTo>
                      <a:pt x="639" y="1632"/>
                    </a:lnTo>
                    <a:lnTo>
                      <a:pt x="636" y="1619"/>
                    </a:lnTo>
                    <a:lnTo>
                      <a:pt x="626" y="1611"/>
                    </a:lnTo>
                    <a:lnTo>
                      <a:pt x="623" y="1602"/>
                    </a:lnTo>
                    <a:lnTo>
                      <a:pt x="603" y="1593"/>
                    </a:lnTo>
                    <a:lnTo>
                      <a:pt x="599" y="1590"/>
                    </a:lnTo>
                    <a:lnTo>
                      <a:pt x="600" y="1584"/>
                    </a:lnTo>
                    <a:lnTo>
                      <a:pt x="597" y="1581"/>
                    </a:lnTo>
                    <a:lnTo>
                      <a:pt x="585" y="1566"/>
                    </a:lnTo>
                    <a:lnTo>
                      <a:pt x="584" y="1562"/>
                    </a:lnTo>
                    <a:lnTo>
                      <a:pt x="588" y="1553"/>
                    </a:lnTo>
                    <a:lnTo>
                      <a:pt x="587" y="1548"/>
                    </a:lnTo>
                    <a:lnTo>
                      <a:pt x="585" y="1545"/>
                    </a:lnTo>
                    <a:lnTo>
                      <a:pt x="582" y="1533"/>
                    </a:lnTo>
                    <a:lnTo>
                      <a:pt x="581" y="1526"/>
                    </a:lnTo>
                    <a:lnTo>
                      <a:pt x="581" y="1520"/>
                    </a:lnTo>
                    <a:lnTo>
                      <a:pt x="588" y="1518"/>
                    </a:lnTo>
                    <a:lnTo>
                      <a:pt x="594" y="1521"/>
                    </a:lnTo>
                    <a:lnTo>
                      <a:pt x="600" y="1515"/>
                    </a:lnTo>
                    <a:lnTo>
                      <a:pt x="608" y="1517"/>
                    </a:lnTo>
                    <a:lnTo>
                      <a:pt x="609" y="1515"/>
                    </a:lnTo>
                    <a:lnTo>
                      <a:pt x="609" y="1511"/>
                    </a:lnTo>
                    <a:lnTo>
                      <a:pt x="618" y="1497"/>
                    </a:lnTo>
                    <a:lnTo>
                      <a:pt x="608" y="1484"/>
                    </a:lnTo>
                    <a:lnTo>
                      <a:pt x="600" y="1473"/>
                    </a:lnTo>
                    <a:lnTo>
                      <a:pt x="593" y="1473"/>
                    </a:lnTo>
                    <a:lnTo>
                      <a:pt x="576" y="1470"/>
                    </a:lnTo>
                    <a:lnTo>
                      <a:pt x="561" y="1463"/>
                    </a:lnTo>
                    <a:lnTo>
                      <a:pt x="558" y="1467"/>
                    </a:lnTo>
                    <a:lnTo>
                      <a:pt x="560" y="1479"/>
                    </a:lnTo>
                    <a:lnTo>
                      <a:pt x="554" y="1487"/>
                    </a:lnTo>
                    <a:lnTo>
                      <a:pt x="542" y="1496"/>
                    </a:lnTo>
                    <a:lnTo>
                      <a:pt x="539" y="1499"/>
                    </a:lnTo>
                    <a:lnTo>
                      <a:pt x="534" y="1502"/>
                    </a:lnTo>
                    <a:lnTo>
                      <a:pt x="530" y="1505"/>
                    </a:lnTo>
                    <a:lnTo>
                      <a:pt x="524" y="1518"/>
                    </a:lnTo>
                    <a:lnTo>
                      <a:pt x="519" y="1521"/>
                    </a:lnTo>
                    <a:lnTo>
                      <a:pt x="515" y="1520"/>
                    </a:lnTo>
                    <a:lnTo>
                      <a:pt x="507" y="1517"/>
                    </a:lnTo>
                    <a:lnTo>
                      <a:pt x="489" y="1515"/>
                    </a:lnTo>
                    <a:lnTo>
                      <a:pt x="482" y="1514"/>
                    </a:lnTo>
                    <a:lnTo>
                      <a:pt x="464" y="1517"/>
                    </a:lnTo>
                    <a:lnTo>
                      <a:pt x="459" y="1523"/>
                    </a:lnTo>
                    <a:lnTo>
                      <a:pt x="456" y="1524"/>
                    </a:lnTo>
                    <a:lnTo>
                      <a:pt x="452" y="1521"/>
                    </a:lnTo>
                    <a:lnTo>
                      <a:pt x="452" y="1511"/>
                    </a:lnTo>
                    <a:lnTo>
                      <a:pt x="441" y="1509"/>
                    </a:lnTo>
                    <a:lnTo>
                      <a:pt x="432" y="1512"/>
                    </a:lnTo>
                    <a:lnTo>
                      <a:pt x="428" y="1521"/>
                    </a:lnTo>
                    <a:lnTo>
                      <a:pt x="425" y="1523"/>
                    </a:lnTo>
                    <a:lnTo>
                      <a:pt x="416" y="1518"/>
                    </a:lnTo>
                    <a:lnTo>
                      <a:pt x="405" y="1517"/>
                    </a:lnTo>
                    <a:lnTo>
                      <a:pt x="401" y="1517"/>
                    </a:lnTo>
                    <a:lnTo>
                      <a:pt x="396" y="1505"/>
                    </a:lnTo>
                    <a:lnTo>
                      <a:pt x="389" y="1497"/>
                    </a:lnTo>
                    <a:lnTo>
                      <a:pt x="384" y="1490"/>
                    </a:lnTo>
                    <a:lnTo>
                      <a:pt x="369" y="1491"/>
                    </a:lnTo>
                    <a:lnTo>
                      <a:pt x="360" y="1491"/>
                    </a:lnTo>
                    <a:lnTo>
                      <a:pt x="348" y="1488"/>
                    </a:lnTo>
                    <a:lnTo>
                      <a:pt x="350" y="1484"/>
                    </a:lnTo>
                    <a:lnTo>
                      <a:pt x="360" y="1482"/>
                    </a:lnTo>
                    <a:lnTo>
                      <a:pt x="363" y="1473"/>
                    </a:lnTo>
                    <a:lnTo>
                      <a:pt x="366" y="1464"/>
                    </a:lnTo>
                    <a:lnTo>
                      <a:pt x="368" y="1458"/>
                    </a:lnTo>
                    <a:lnTo>
                      <a:pt x="383" y="1439"/>
                    </a:lnTo>
                    <a:lnTo>
                      <a:pt x="386" y="1434"/>
                    </a:lnTo>
                    <a:lnTo>
                      <a:pt x="393" y="1421"/>
                    </a:lnTo>
                    <a:lnTo>
                      <a:pt x="393" y="1409"/>
                    </a:lnTo>
                    <a:lnTo>
                      <a:pt x="383" y="1400"/>
                    </a:lnTo>
                    <a:lnTo>
                      <a:pt x="377" y="1391"/>
                    </a:lnTo>
                    <a:lnTo>
                      <a:pt x="375" y="1377"/>
                    </a:lnTo>
                    <a:lnTo>
                      <a:pt x="377" y="1364"/>
                    </a:lnTo>
                    <a:lnTo>
                      <a:pt x="380" y="1341"/>
                    </a:lnTo>
                    <a:lnTo>
                      <a:pt x="387" y="1340"/>
                    </a:lnTo>
                    <a:lnTo>
                      <a:pt x="393" y="1344"/>
                    </a:lnTo>
                    <a:lnTo>
                      <a:pt x="399" y="1326"/>
                    </a:lnTo>
                    <a:lnTo>
                      <a:pt x="398" y="1322"/>
                    </a:lnTo>
                    <a:lnTo>
                      <a:pt x="396" y="1313"/>
                    </a:lnTo>
                    <a:lnTo>
                      <a:pt x="398" y="1293"/>
                    </a:lnTo>
                    <a:lnTo>
                      <a:pt x="402" y="1277"/>
                    </a:lnTo>
                    <a:lnTo>
                      <a:pt x="416" y="1263"/>
                    </a:lnTo>
                    <a:lnTo>
                      <a:pt x="423" y="1238"/>
                    </a:lnTo>
                    <a:lnTo>
                      <a:pt x="426" y="1232"/>
                    </a:lnTo>
                    <a:lnTo>
                      <a:pt x="423" y="1227"/>
                    </a:lnTo>
                    <a:lnTo>
                      <a:pt x="414" y="1212"/>
                    </a:lnTo>
                    <a:lnTo>
                      <a:pt x="416" y="1205"/>
                    </a:lnTo>
                    <a:lnTo>
                      <a:pt x="410" y="1199"/>
                    </a:lnTo>
                    <a:lnTo>
                      <a:pt x="393" y="1176"/>
                    </a:lnTo>
                    <a:lnTo>
                      <a:pt x="374" y="1175"/>
                    </a:lnTo>
                    <a:lnTo>
                      <a:pt x="363" y="1176"/>
                    </a:lnTo>
                    <a:lnTo>
                      <a:pt x="348" y="1181"/>
                    </a:lnTo>
                    <a:lnTo>
                      <a:pt x="339" y="1191"/>
                    </a:lnTo>
                    <a:lnTo>
                      <a:pt x="339" y="1173"/>
                    </a:lnTo>
                    <a:lnTo>
                      <a:pt x="342" y="1163"/>
                    </a:lnTo>
                    <a:lnTo>
                      <a:pt x="342" y="1152"/>
                    </a:lnTo>
                    <a:lnTo>
                      <a:pt x="360" y="1142"/>
                    </a:lnTo>
                    <a:lnTo>
                      <a:pt x="366" y="1139"/>
                    </a:lnTo>
                    <a:lnTo>
                      <a:pt x="368" y="1133"/>
                    </a:lnTo>
                    <a:lnTo>
                      <a:pt x="366" y="1130"/>
                    </a:lnTo>
                    <a:lnTo>
                      <a:pt x="356" y="1128"/>
                    </a:lnTo>
                    <a:lnTo>
                      <a:pt x="353" y="1122"/>
                    </a:lnTo>
                    <a:lnTo>
                      <a:pt x="354" y="1116"/>
                    </a:lnTo>
                    <a:lnTo>
                      <a:pt x="366" y="1103"/>
                    </a:lnTo>
                    <a:lnTo>
                      <a:pt x="368" y="1095"/>
                    </a:lnTo>
                    <a:lnTo>
                      <a:pt x="368" y="1085"/>
                    </a:lnTo>
                    <a:lnTo>
                      <a:pt x="372" y="1073"/>
                    </a:lnTo>
                    <a:lnTo>
                      <a:pt x="374" y="1061"/>
                    </a:lnTo>
                    <a:lnTo>
                      <a:pt x="360" y="1055"/>
                    </a:lnTo>
                    <a:lnTo>
                      <a:pt x="347" y="1050"/>
                    </a:lnTo>
                    <a:lnTo>
                      <a:pt x="336" y="1034"/>
                    </a:lnTo>
                    <a:lnTo>
                      <a:pt x="332" y="1031"/>
                    </a:lnTo>
                    <a:lnTo>
                      <a:pt x="324" y="1031"/>
                    </a:lnTo>
                    <a:lnTo>
                      <a:pt x="311" y="1034"/>
                    </a:lnTo>
                    <a:lnTo>
                      <a:pt x="285" y="1034"/>
                    </a:lnTo>
                    <a:lnTo>
                      <a:pt x="276" y="1032"/>
                    </a:lnTo>
                    <a:lnTo>
                      <a:pt x="276" y="1025"/>
                    </a:lnTo>
                    <a:lnTo>
                      <a:pt x="278" y="1004"/>
                    </a:lnTo>
                    <a:lnTo>
                      <a:pt x="281" y="987"/>
                    </a:lnTo>
                    <a:lnTo>
                      <a:pt x="279" y="984"/>
                    </a:lnTo>
                    <a:lnTo>
                      <a:pt x="267" y="980"/>
                    </a:lnTo>
                    <a:lnTo>
                      <a:pt x="252" y="986"/>
                    </a:lnTo>
                    <a:lnTo>
                      <a:pt x="248" y="972"/>
                    </a:lnTo>
                    <a:lnTo>
                      <a:pt x="237" y="965"/>
                    </a:lnTo>
                    <a:lnTo>
                      <a:pt x="227" y="963"/>
                    </a:lnTo>
                    <a:lnTo>
                      <a:pt x="212" y="966"/>
                    </a:lnTo>
                    <a:lnTo>
                      <a:pt x="206" y="960"/>
                    </a:lnTo>
                    <a:lnTo>
                      <a:pt x="201" y="959"/>
                    </a:lnTo>
                    <a:lnTo>
                      <a:pt x="188" y="950"/>
                    </a:lnTo>
                    <a:lnTo>
                      <a:pt x="183" y="954"/>
                    </a:lnTo>
                    <a:lnTo>
                      <a:pt x="171" y="954"/>
                    </a:lnTo>
                    <a:lnTo>
                      <a:pt x="165" y="960"/>
                    </a:lnTo>
                    <a:lnTo>
                      <a:pt x="164" y="971"/>
                    </a:lnTo>
                    <a:lnTo>
                      <a:pt x="146" y="966"/>
                    </a:lnTo>
                    <a:lnTo>
                      <a:pt x="143" y="953"/>
                    </a:lnTo>
                    <a:lnTo>
                      <a:pt x="137" y="942"/>
                    </a:lnTo>
                    <a:lnTo>
                      <a:pt x="144" y="935"/>
                    </a:lnTo>
                    <a:lnTo>
                      <a:pt x="146" y="923"/>
                    </a:lnTo>
                    <a:lnTo>
                      <a:pt x="147" y="918"/>
                    </a:lnTo>
                    <a:lnTo>
                      <a:pt x="159" y="923"/>
                    </a:lnTo>
                    <a:lnTo>
                      <a:pt x="167" y="923"/>
                    </a:lnTo>
                    <a:lnTo>
                      <a:pt x="170" y="918"/>
                    </a:lnTo>
                    <a:lnTo>
                      <a:pt x="173" y="906"/>
                    </a:lnTo>
                    <a:lnTo>
                      <a:pt x="150" y="908"/>
                    </a:lnTo>
                    <a:lnTo>
                      <a:pt x="146" y="906"/>
                    </a:lnTo>
                    <a:lnTo>
                      <a:pt x="146" y="896"/>
                    </a:lnTo>
                    <a:lnTo>
                      <a:pt x="138" y="894"/>
                    </a:lnTo>
                    <a:lnTo>
                      <a:pt x="135" y="890"/>
                    </a:lnTo>
                    <a:lnTo>
                      <a:pt x="128" y="887"/>
                    </a:lnTo>
                    <a:lnTo>
                      <a:pt x="120" y="885"/>
                    </a:lnTo>
                    <a:lnTo>
                      <a:pt x="122" y="875"/>
                    </a:lnTo>
                    <a:lnTo>
                      <a:pt x="134" y="869"/>
                    </a:lnTo>
                    <a:lnTo>
                      <a:pt x="146" y="867"/>
                    </a:lnTo>
                    <a:lnTo>
                      <a:pt x="153" y="857"/>
                    </a:lnTo>
                    <a:lnTo>
                      <a:pt x="161" y="854"/>
                    </a:lnTo>
                    <a:lnTo>
                      <a:pt x="168" y="855"/>
                    </a:lnTo>
                    <a:lnTo>
                      <a:pt x="170" y="846"/>
                    </a:lnTo>
                    <a:lnTo>
                      <a:pt x="179" y="845"/>
                    </a:lnTo>
                    <a:lnTo>
                      <a:pt x="182" y="839"/>
                    </a:lnTo>
                    <a:lnTo>
                      <a:pt x="182" y="834"/>
                    </a:lnTo>
                    <a:lnTo>
                      <a:pt x="165" y="830"/>
                    </a:lnTo>
                    <a:lnTo>
                      <a:pt x="164" y="825"/>
                    </a:lnTo>
                    <a:lnTo>
                      <a:pt x="171" y="815"/>
                    </a:lnTo>
                    <a:lnTo>
                      <a:pt x="173" y="809"/>
                    </a:lnTo>
                    <a:lnTo>
                      <a:pt x="165" y="806"/>
                    </a:lnTo>
                    <a:lnTo>
                      <a:pt x="161" y="798"/>
                    </a:lnTo>
                    <a:lnTo>
                      <a:pt x="155" y="797"/>
                    </a:lnTo>
                    <a:lnTo>
                      <a:pt x="153" y="789"/>
                    </a:lnTo>
                    <a:lnTo>
                      <a:pt x="150" y="786"/>
                    </a:lnTo>
                    <a:lnTo>
                      <a:pt x="147" y="789"/>
                    </a:lnTo>
                    <a:lnTo>
                      <a:pt x="141" y="789"/>
                    </a:lnTo>
                    <a:lnTo>
                      <a:pt x="143" y="783"/>
                    </a:lnTo>
                    <a:lnTo>
                      <a:pt x="147" y="768"/>
                    </a:lnTo>
                    <a:lnTo>
                      <a:pt x="156" y="770"/>
                    </a:lnTo>
                    <a:lnTo>
                      <a:pt x="159" y="765"/>
                    </a:lnTo>
                    <a:lnTo>
                      <a:pt x="167" y="750"/>
                    </a:lnTo>
                    <a:lnTo>
                      <a:pt x="173" y="749"/>
                    </a:lnTo>
                    <a:lnTo>
                      <a:pt x="176" y="743"/>
                    </a:lnTo>
                    <a:lnTo>
                      <a:pt x="167" y="737"/>
                    </a:lnTo>
                    <a:lnTo>
                      <a:pt x="159" y="731"/>
                    </a:lnTo>
                    <a:lnTo>
                      <a:pt x="159" y="723"/>
                    </a:lnTo>
                    <a:lnTo>
                      <a:pt x="165" y="716"/>
                    </a:lnTo>
                    <a:lnTo>
                      <a:pt x="162" y="714"/>
                    </a:lnTo>
                    <a:lnTo>
                      <a:pt x="150" y="713"/>
                    </a:lnTo>
                    <a:lnTo>
                      <a:pt x="138" y="705"/>
                    </a:lnTo>
                    <a:lnTo>
                      <a:pt x="135" y="708"/>
                    </a:lnTo>
                    <a:lnTo>
                      <a:pt x="117" y="698"/>
                    </a:lnTo>
                    <a:lnTo>
                      <a:pt x="111" y="692"/>
                    </a:lnTo>
                    <a:lnTo>
                      <a:pt x="119" y="689"/>
                    </a:lnTo>
                    <a:lnTo>
                      <a:pt x="122" y="681"/>
                    </a:lnTo>
                    <a:lnTo>
                      <a:pt x="134" y="666"/>
                    </a:lnTo>
                    <a:lnTo>
                      <a:pt x="129" y="660"/>
                    </a:lnTo>
                    <a:lnTo>
                      <a:pt x="120" y="647"/>
                    </a:lnTo>
                    <a:lnTo>
                      <a:pt x="116" y="645"/>
                    </a:lnTo>
                    <a:lnTo>
                      <a:pt x="105" y="638"/>
                    </a:lnTo>
                    <a:lnTo>
                      <a:pt x="96" y="639"/>
                    </a:lnTo>
                    <a:lnTo>
                      <a:pt x="93" y="629"/>
                    </a:lnTo>
                    <a:lnTo>
                      <a:pt x="89" y="629"/>
                    </a:lnTo>
                    <a:lnTo>
                      <a:pt x="77" y="621"/>
                    </a:lnTo>
                    <a:lnTo>
                      <a:pt x="65" y="608"/>
                    </a:lnTo>
                    <a:lnTo>
                      <a:pt x="66" y="599"/>
                    </a:lnTo>
                    <a:lnTo>
                      <a:pt x="59" y="594"/>
                    </a:lnTo>
                    <a:lnTo>
                      <a:pt x="45" y="602"/>
                    </a:lnTo>
                    <a:lnTo>
                      <a:pt x="36" y="603"/>
                    </a:lnTo>
                    <a:lnTo>
                      <a:pt x="27" y="596"/>
                    </a:lnTo>
                    <a:lnTo>
                      <a:pt x="38" y="570"/>
                    </a:lnTo>
                    <a:lnTo>
                      <a:pt x="44" y="558"/>
                    </a:lnTo>
                    <a:lnTo>
                      <a:pt x="54" y="561"/>
                    </a:lnTo>
                    <a:lnTo>
                      <a:pt x="62" y="557"/>
                    </a:lnTo>
                    <a:lnTo>
                      <a:pt x="59" y="552"/>
                    </a:lnTo>
                    <a:lnTo>
                      <a:pt x="47" y="534"/>
                    </a:lnTo>
                    <a:lnTo>
                      <a:pt x="35" y="528"/>
                    </a:lnTo>
                    <a:lnTo>
                      <a:pt x="32" y="528"/>
                    </a:lnTo>
                    <a:lnTo>
                      <a:pt x="32" y="524"/>
                    </a:lnTo>
                    <a:lnTo>
                      <a:pt x="36" y="516"/>
                    </a:lnTo>
                    <a:lnTo>
                      <a:pt x="38" y="509"/>
                    </a:lnTo>
                    <a:lnTo>
                      <a:pt x="35" y="504"/>
                    </a:lnTo>
                    <a:lnTo>
                      <a:pt x="35" y="497"/>
                    </a:lnTo>
                    <a:lnTo>
                      <a:pt x="33" y="492"/>
                    </a:lnTo>
                    <a:lnTo>
                      <a:pt x="36" y="476"/>
                    </a:lnTo>
                    <a:lnTo>
                      <a:pt x="47" y="468"/>
                    </a:lnTo>
                    <a:lnTo>
                      <a:pt x="47" y="464"/>
                    </a:lnTo>
                    <a:lnTo>
                      <a:pt x="42" y="464"/>
                    </a:lnTo>
                    <a:lnTo>
                      <a:pt x="33" y="458"/>
                    </a:lnTo>
                    <a:lnTo>
                      <a:pt x="29" y="461"/>
                    </a:lnTo>
                    <a:lnTo>
                      <a:pt x="8" y="465"/>
                    </a:lnTo>
                    <a:lnTo>
                      <a:pt x="0" y="461"/>
                    </a:lnTo>
                    <a:lnTo>
                      <a:pt x="2" y="449"/>
                    </a:lnTo>
                    <a:lnTo>
                      <a:pt x="9" y="440"/>
                    </a:lnTo>
                    <a:lnTo>
                      <a:pt x="12" y="431"/>
                    </a:lnTo>
                    <a:lnTo>
                      <a:pt x="21" y="432"/>
                    </a:lnTo>
                    <a:lnTo>
                      <a:pt x="26" y="429"/>
                    </a:lnTo>
                    <a:lnTo>
                      <a:pt x="35" y="431"/>
                    </a:lnTo>
                    <a:lnTo>
                      <a:pt x="36" y="428"/>
                    </a:lnTo>
                    <a:lnTo>
                      <a:pt x="45" y="429"/>
                    </a:lnTo>
                    <a:lnTo>
                      <a:pt x="50" y="423"/>
                    </a:lnTo>
                    <a:lnTo>
                      <a:pt x="50" y="419"/>
                    </a:lnTo>
                    <a:lnTo>
                      <a:pt x="48" y="408"/>
                    </a:lnTo>
                    <a:lnTo>
                      <a:pt x="69" y="410"/>
                    </a:lnTo>
                    <a:lnTo>
                      <a:pt x="75" y="414"/>
                    </a:lnTo>
                    <a:lnTo>
                      <a:pt x="86" y="411"/>
                    </a:lnTo>
                    <a:lnTo>
                      <a:pt x="99" y="407"/>
                    </a:lnTo>
                    <a:lnTo>
                      <a:pt x="110" y="408"/>
                    </a:lnTo>
                    <a:lnTo>
                      <a:pt x="114" y="411"/>
                    </a:lnTo>
                    <a:lnTo>
                      <a:pt x="123" y="410"/>
                    </a:lnTo>
                    <a:lnTo>
                      <a:pt x="129" y="401"/>
                    </a:lnTo>
                    <a:lnTo>
                      <a:pt x="129" y="389"/>
                    </a:lnTo>
                    <a:lnTo>
                      <a:pt x="134" y="386"/>
                    </a:lnTo>
                    <a:lnTo>
                      <a:pt x="150" y="386"/>
                    </a:lnTo>
                    <a:lnTo>
                      <a:pt x="171" y="387"/>
                    </a:lnTo>
                    <a:lnTo>
                      <a:pt x="177" y="389"/>
                    </a:lnTo>
                    <a:lnTo>
                      <a:pt x="174" y="398"/>
                    </a:lnTo>
                    <a:lnTo>
                      <a:pt x="179" y="398"/>
                    </a:lnTo>
                    <a:lnTo>
                      <a:pt x="183" y="401"/>
                    </a:lnTo>
                    <a:lnTo>
                      <a:pt x="185" y="407"/>
                    </a:lnTo>
                    <a:lnTo>
                      <a:pt x="191" y="422"/>
                    </a:lnTo>
                    <a:lnTo>
                      <a:pt x="195" y="422"/>
                    </a:lnTo>
                    <a:lnTo>
                      <a:pt x="201" y="420"/>
                    </a:lnTo>
                    <a:lnTo>
                      <a:pt x="212" y="411"/>
                    </a:lnTo>
                    <a:lnTo>
                      <a:pt x="225" y="404"/>
                    </a:lnTo>
                    <a:lnTo>
                      <a:pt x="233" y="407"/>
                    </a:lnTo>
                    <a:lnTo>
                      <a:pt x="237" y="404"/>
                    </a:lnTo>
                    <a:lnTo>
                      <a:pt x="242" y="405"/>
                    </a:lnTo>
                    <a:lnTo>
                      <a:pt x="237" y="413"/>
                    </a:lnTo>
                    <a:lnTo>
                      <a:pt x="242" y="417"/>
                    </a:lnTo>
                    <a:lnTo>
                      <a:pt x="252" y="404"/>
                    </a:lnTo>
                    <a:lnTo>
                      <a:pt x="242" y="395"/>
                    </a:lnTo>
                    <a:lnTo>
                      <a:pt x="243" y="393"/>
                    </a:lnTo>
                    <a:lnTo>
                      <a:pt x="251" y="390"/>
                    </a:lnTo>
                    <a:lnTo>
                      <a:pt x="257" y="378"/>
                    </a:lnTo>
                    <a:lnTo>
                      <a:pt x="257" y="366"/>
                    </a:lnTo>
                    <a:lnTo>
                      <a:pt x="252" y="353"/>
                    </a:lnTo>
                    <a:lnTo>
                      <a:pt x="255" y="341"/>
                    </a:lnTo>
                    <a:lnTo>
                      <a:pt x="258" y="336"/>
                    </a:lnTo>
                    <a:lnTo>
                      <a:pt x="270" y="335"/>
                    </a:lnTo>
                    <a:lnTo>
                      <a:pt x="267" y="330"/>
                    </a:lnTo>
                    <a:lnTo>
                      <a:pt x="270" y="326"/>
                    </a:lnTo>
                    <a:lnTo>
                      <a:pt x="278" y="315"/>
                    </a:lnTo>
                    <a:lnTo>
                      <a:pt x="263" y="303"/>
                    </a:lnTo>
                    <a:lnTo>
                      <a:pt x="261" y="288"/>
                    </a:lnTo>
                    <a:lnTo>
                      <a:pt x="254" y="290"/>
                    </a:lnTo>
                    <a:lnTo>
                      <a:pt x="249" y="276"/>
                    </a:lnTo>
                    <a:lnTo>
                      <a:pt x="261" y="266"/>
                    </a:lnTo>
                    <a:lnTo>
                      <a:pt x="257" y="260"/>
                    </a:lnTo>
                    <a:lnTo>
                      <a:pt x="249" y="257"/>
                    </a:lnTo>
                    <a:lnTo>
                      <a:pt x="246" y="258"/>
                    </a:lnTo>
                    <a:lnTo>
                      <a:pt x="243" y="255"/>
                    </a:lnTo>
                    <a:lnTo>
                      <a:pt x="246" y="249"/>
                    </a:lnTo>
                    <a:lnTo>
                      <a:pt x="248" y="242"/>
                    </a:lnTo>
                    <a:lnTo>
                      <a:pt x="284" y="239"/>
                    </a:lnTo>
                    <a:lnTo>
                      <a:pt x="288" y="243"/>
                    </a:lnTo>
                    <a:lnTo>
                      <a:pt x="291" y="240"/>
                    </a:lnTo>
                    <a:lnTo>
                      <a:pt x="293" y="228"/>
                    </a:lnTo>
                    <a:lnTo>
                      <a:pt x="297" y="221"/>
                    </a:lnTo>
                    <a:lnTo>
                      <a:pt x="296" y="216"/>
                    </a:lnTo>
                    <a:lnTo>
                      <a:pt x="291" y="213"/>
                    </a:lnTo>
                    <a:lnTo>
                      <a:pt x="288" y="207"/>
                    </a:lnTo>
                    <a:lnTo>
                      <a:pt x="284" y="209"/>
                    </a:lnTo>
                    <a:lnTo>
                      <a:pt x="282" y="197"/>
                    </a:lnTo>
                    <a:lnTo>
                      <a:pt x="300" y="183"/>
                    </a:lnTo>
                    <a:lnTo>
                      <a:pt x="312" y="183"/>
                    </a:lnTo>
                    <a:lnTo>
                      <a:pt x="317" y="176"/>
                    </a:lnTo>
                    <a:lnTo>
                      <a:pt x="324" y="174"/>
                    </a:lnTo>
                    <a:lnTo>
                      <a:pt x="333" y="168"/>
                    </a:lnTo>
                    <a:lnTo>
                      <a:pt x="332" y="164"/>
                    </a:lnTo>
                    <a:lnTo>
                      <a:pt x="324" y="164"/>
                    </a:lnTo>
                    <a:lnTo>
                      <a:pt x="320" y="161"/>
                    </a:lnTo>
                    <a:lnTo>
                      <a:pt x="326" y="155"/>
                    </a:lnTo>
                    <a:lnTo>
                      <a:pt x="329" y="144"/>
                    </a:lnTo>
                    <a:lnTo>
                      <a:pt x="336" y="138"/>
                    </a:lnTo>
                    <a:lnTo>
                      <a:pt x="345" y="126"/>
                    </a:lnTo>
                    <a:lnTo>
                      <a:pt x="348" y="123"/>
                    </a:lnTo>
                    <a:lnTo>
                      <a:pt x="341" y="111"/>
                    </a:lnTo>
                    <a:lnTo>
                      <a:pt x="339" y="99"/>
                    </a:lnTo>
                    <a:lnTo>
                      <a:pt x="347" y="96"/>
                    </a:lnTo>
                    <a:lnTo>
                      <a:pt x="357" y="95"/>
                    </a:lnTo>
                    <a:lnTo>
                      <a:pt x="371" y="90"/>
                    </a:lnTo>
                    <a:lnTo>
                      <a:pt x="383" y="99"/>
                    </a:lnTo>
                    <a:lnTo>
                      <a:pt x="389" y="87"/>
                    </a:lnTo>
                    <a:lnTo>
                      <a:pt x="401" y="80"/>
                    </a:lnTo>
                    <a:lnTo>
                      <a:pt x="408" y="80"/>
                    </a:lnTo>
                    <a:lnTo>
                      <a:pt x="413" y="75"/>
                    </a:lnTo>
                    <a:lnTo>
                      <a:pt x="408" y="69"/>
                    </a:lnTo>
                    <a:lnTo>
                      <a:pt x="419" y="56"/>
                    </a:lnTo>
                    <a:lnTo>
                      <a:pt x="431" y="53"/>
                    </a:lnTo>
                    <a:lnTo>
                      <a:pt x="438" y="54"/>
                    </a:lnTo>
                    <a:lnTo>
                      <a:pt x="444" y="51"/>
                    </a:lnTo>
                    <a:lnTo>
                      <a:pt x="441" y="44"/>
                    </a:lnTo>
                    <a:lnTo>
                      <a:pt x="446" y="41"/>
                    </a:lnTo>
                    <a:lnTo>
                      <a:pt x="453" y="48"/>
                    </a:lnTo>
                    <a:lnTo>
                      <a:pt x="461" y="47"/>
                    </a:lnTo>
                    <a:lnTo>
                      <a:pt x="474" y="42"/>
                    </a:lnTo>
                    <a:lnTo>
                      <a:pt x="479" y="45"/>
                    </a:lnTo>
                    <a:lnTo>
                      <a:pt x="483" y="45"/>
                    </a:lnTo>
                    <a:lnTo>
                      <a:pt x="491" y="51"/>
                    </a:lnTo>
                    <a:lnTo>
                      <a:pt x="498" y="63"/>
                    </a:lnTo>
                    <a:lnTo>
                      <a:pt x="503" y="68"/>
                    </a:lnTo>
                    <a:lnTo>
                      <a:pt x="509" y="59"/>
                    </a:lnTo>
                    <a:lnTo>
                      <a:pt x="521" y="50"/>
                    </a:lnTo>
                    <a:lnTo>
                      <a:pt x="531" y="47"/>
                    </a:lnTo>
                    <a:lnTo>
                      <a:pt x="545" y="54"/>
                    </a:lnTo>
                    <a:lnTo>
                      <a:pt x="554" y="59"/>
                    </a:lnTo>
                    <a:lnTo>
                      <a:pt x="564" y="65"/>
                    </a:lnTo>
                    <a:lnTo>
                      <a:pt x="569" y="66"/>
                    </a:lnTo>
                    <a:lnTo>
                      <a:pt x="572" y="74"/>
                    </a:lnTo>
                    <a:lnTo>
                      <a:pt x="585" y="81"/>
                    </a:lnTo>
                    <a:lnTo>
                      <a:pt x="588" y="90"/>
                    </a:lnTo>
                    <a:lnTo>
                      <a:pt x="599" y="87"/>
                    </a:lnTo>
                    <a:lnTo>
                      <a:pt x="608" y="90"/>
                    </a:lnTo>
                    <a:lnTo>
                      <a:pt x="618" y="86"/>
                    </a:lnTo>
                    <a:lnTo>
                      <a:pt x="639" y="84"/>
                    </a:lnTo>
                    <a:lnTo>
                      <a:pt x="647" y="83"/>
                    </a:lnTo>
                    <a:lnTo>
                      <a:pt x="656" y="81"/>
                    </a:lnTo>
                    <a:lnTo>
                      <a:pt x="669" y="87"/>
                    </a:lnTo>
                    <a:lnTo>
                      <a:pt x="677" y="83"/>
                    </a:lnTo>
                    <a:lnTo>
                      <a:pt x="684" y="86"/>
                    </a:lnTo>
                    <a:lnTo>
                      <a:pt x="693" y="102"/>
                    </a:lnTo>
                    <a:lnTo>
                      <a:pt x="704" y="105"/>
                    </a:lnTo>
                    <a:lnTo>
                      <a:pt x="708" y="102"/>
                    </a:lnTo>
                    <a:lnTo>
                      <a:pt x="720" y="105"/>
                    </a:lnTo>
                    <a:lnTo>
                      <a:pt x="732" y="95"/>
                    </a:lnTo>
                    <a:lnTo>
                      <a:pt x="735" y="83"/>
                    </a:lnTo>
                    <a:lnTo>
                      <a:pt x="743" y="81"/>
                    </a:lnTo>
                    <a:lnTo>
                      <a:pt x="744" y="71"/>
                    </a:lnTo>
                    <a:lnTo>
                      <a:pt x="744" y="59"/>
                    </a:lnTo>
                    <a:lnTo>
                      <a:pt x="720" y="59"/>
                    </a:lnTo>
                    <a:lnTo>
                      <a:pt x="717" y="42"/>
                    </a:lnTo>
                    <a:lnTo>
                      <a:pt x="723" y="35"/>
                    </a:lnTo>
                    <a:lnTo>
                      <a:pt x="731" y="33"/>
                    </a:lnTo>
                    <a:lnTo>
                      <a:pt x="735" y="26"/>
                    </a:lnTo>
                    <a:lnTo>
                      <a:pt x="738" y="11"/>
                    </a:lnTo>
                    <a:lnTo>
                      <a:pt x="750" y="11"/>
                    </a:lnTo>
                    <a:lnTo>
                      <a:pt x="758" y="5"/>
                    </a:lnTo>
                    <a:lnTo>
                      <a:pt x="768" y="8"/>
                    </a:lnTo>
                    <a:lnTo>
                      <a:pt x="768" y="12"/>
                    </a:lnTo>
                    <a:lnTo>
                      <a:pt x="765" y="18"/>
                    </a:lnTo>
                    <a:lnTo>
                      <a:pt x="767" y="23"/>
                    </a:lnTo>
                    <a:lnTo>
                      <a:pt x="777" y="27"/>
                    </a:lnTo>
                    <a:lnTo>
                      <a:pt x="791" y="45"/>
                    </a:lnTo>
                    <a:lnTo>
                      <a:pt x="791" y="54"/>
                    </a:lnTo>
                    <a:lnTo>
                      <a:pt x="797" y="60"/>
                    </a:lnTo>
                    <a:lnTo>
                      <a:pt x="809" y="56"/>
                    </a:lnTo>
                    <a:lnTo>
                      <a:pt x="816" y="68"/>
                    </a:lnTo>
                    <a:lnTo>
                      <a:pt x="824" y="68"/>
                    </a:lnTo>
                    <a:lnTo>
                      <a:pt x="833" y="69"/>
                    </a:lnTo>
                    <a:lnTo>
                      <a:pt x="837" y="77"/>
                    </a:lnTo>
                    <a:lnTo>
                      <a:pt x="849" y="72"/>
                    </a:lnTo>
                    <a:lnTo>
                      <a:pt x="848" y="57"/>
                    </a:lnTo>
                    <a:lnTo>
                      <a:pt x="857" y="54"/>
                    </a:lnTo>
                    <a:lnTo>
                      <a:pt x="872" y="57"/>
                    </a:lnTo>
                    <a:lnTo>
                      <a:pt x="882" y="51"/>
                    </a:lnTo>
                    <a:lnTo>
                      <a:pt x="888" y="53"/>
                    </a:lnTo>
                    <a:lnTo>
                      <a:pt x="894" y="48"/>
                    </a:lnTo>
                    <a:lnTo>
                      <a:pt x="908" y="50"/>
                    </a:lnTo>
                    <a:lnTo>
                      <a:pt x="911" y="41"/>
                    </a:lnTo>
                    <a:lnTo>
                      <a:pt x="900" y="33"/>
                    </a:lnTo>
                    <a:lnTo>
                      <a:pt x="909" y="21"/>
                    </a:lnTo>
                    <a:lnTo>
                      <a:pt x="918" y="17"/>
                    </a:lnTo>
                    <a:lnTo>
                      <a:pt x="927" y="9"/>
                    </a:lnTo>
                    <a:lnTo>
                      <a:pt x="929" y="0"/>
                    </a:lnTo>
                    <a:lnTo>
                      <a:pt x="944" y="6"/>
                    </a:lnTo>
                    <a:lnTo>
                      <a:pt x="953" y="2"/>
                    </a:lnTo>
                    <a:lnTo>
                      <a:pt x="972" y="8"/>
                    </a:lnTo>
                    <a:lnTo>
                      <a:pt x="983" y="8"/>
                    </a:lnTo>
                    <a:lnTo>
                      <a:pt x="992" y="8"/>
                    </a:lnTo>
                    <a:lnTo>
                      <a:pt x="996" y="9"/>
                    </a:lnTo>
                    <a:lnTo>
                      <a:pt x="1002" y="2"/>
                    </a:lnTo>
                    <a:lnTo>
                      <a:pt x="1008" y="5"/>
                    </a:lnTo>
                    <a:lnTo>
                      <a:pt x="1016" y="14"/>
                    </a:lnTo>
                    <a:lnTo>
                      <a:pt x="1008" y="18"/>
                    </a:lnTo>
                    <a:lnTo>
                      <a:pt x="1008" y="27"/>
                    </a:lnTo>
                    <a:lnTo>
                      <a:pt x="1020" y="32"/>
                    </a:lnTo>
                    <a:lnTo>
                      <a:pt x="1023" y="44"/>
                    </a:lnTo>
                    <a:lnTo>
                      <a:pt x="1022" y="57"/>
                    </a:lnTo>
                    <a:lnTo>
                      <a:pt x="1011" y="75"/>
                    </a:lnTo>
                    <a:lnTo>
                      <a:pt x="1020" y="80"/>
                    </a:lnTo>
                    <a:lnTo>
                      <a:pt x="1017" y="87"/>
                    </a:lnTo>
                    <a:lnTo>
                      <a:pt x="1008" y="93"/>
                    </a:lnTo>
                    <a:lnTo>
                      <a:pt x="1008" y="101"/>
                    </a:lnTo>
                    <a:lnTo>
                      <a:pt x="1035" y="117"/>
                    </a:lnTo>
                    <a:lnTo>
                      <a:pt x="1043" y="123"/>
                    </a:lnTo>
                    <a:lnTo>
                      <a:pt x="1050" y="141"/>
                    </a:lnTo>
                    <a:lnTo>
                      <a:pt x="1064" y="123"/>
                    </a:lnTo>
                    <a:lnTo>
                      <a:pt x="1074" y="131"/>
                    </a:lnTo>
                    <a:lnTo>
                      <a:pt x="1079" y="141"/>
                    </a:lnTo>
                    <a:lnTo>
                      <a:pt x="1097" y="150"/>
                    </a:lnTo>
                    <a:lnTo>
                      <a:pt x="1091" y="161"/>
                    </a:lnTo>
                    <a:lnTo>
                      <a:pt x="1095" y="168"/>
                    </a:lnTo>
                    <a:lnTo>
                      <a:pt x="1104" y="168"/>
                    </a:lnTo>
                    <a:lnTo>
                      <a:pt x="1103" y="180"/>
                    </a:lnTo>
                    <a:lnTo>
                      <a:pt x="1107" y="188"/>
                    </a:lnTo>
                    <a:lnTo>
                      <a:pt x="1113" y="192"/>
                    </a:lnTo>
                    <a:lnTo>
                      <a:pt x="1110" y="209"/>
                    </a:lnTo>
                    <a:lnTo>
                      <a:pt x="1103" y="213"/>
                    </a:lnTo>
                    <a:lnTo>
                      <a:pt x="1098" y="215"/>
                    </a:lnTo>
                    <a:lnTo>
                      <a:pt x="1098" y="224"/>
                    </a:lnTo>
                    <a:lnTo>
                      <a:pt x="1094" y="227"/>
                    </a:lnTo>
                    <a:lnTo>
                      <a:pt x="1091" y="236"/>
                    </a:lnTo>
                    <a:lnTo>
                      <a:pt x="1082" y="234"/>
                    </a:lnTo>
                    <a:lnTo>
                      <a:pt x="1080" y="239"/>
                    </a:lnTo>
                    <a:lnTo>
                      <a:pt x="1073" y="242"/>
                    </a:lnTo>
                    <a:lnTo>
                      <a:pt x="1064" y="252"/>
                    </a:lnTo>
                    <a:lnTo>
                      <a:pt x="1058" y="249"/>
                    </a:lnTo>
                    <a:lnTo>
                      <a:pt x="1047" y="257"/>
                    </a:lnTo>
                    <a:lnTo>
                      <a:pt x="1031" y="249"/>
                    </a:lnTo>
                    <a:lnTo>
                      <a:pt x="1016" y="239"/>
                    </a:lnTo>
                    <a:lnTo>
                      <a:pt x="1005" y="242"/>
                    </a:lnTo>
                    <a:lnTo>
                      <a:pt x="1010" y="254"/>
                    </a:lnTo>
                    <a:lnTo>
                      <a:pt x="1013" y="267"/>
                    </a:lnTo>
                    <a:lnTo>
                      <a:pt x="1011" y="281"/>
                    </a:lnTo>
                    <a:lnTo>
                      <a:pt x="1020" y="294"/>
                    </a:lnTo>
                    <a:lnTo>
                      <a:pt x="1010" y="311"/>
                    </a:lnTo>
                    <a:lnTo>
                      <a:pt x="1011" y="315"/>
                    </a:lnTo>
                    <a:lnTo>
                      <a:pt x="1017" y="318"/>
                    </a:lnTo>
                    <a:lnTo>
                      <a:pt x="998" y="357"/>
                    </a:lnTo>
                    <a:lnTo>
                      <a:pt x="984" y="368"/>
                    </a:lnTo>
                    <a:lnTo>
                      <a:pt x="986" y="386"/>
                    </a:lnTo>
                    <a:lnTo>
                      <a:pt x="983" y="390"/>
                    </a:lnTo>
                    <a:lnTo>
                      <a:pt x="986" y="398"/>
                    </a:lnTo>
                    <a:lnTo>
                      <a:pt x="981" y="410"/>
                    </a:lnTo>
                    <a:lnTo>
                      <a:pt x="977" y="408"/>
                    </a:lnTo>
                    <a:lnTo>
                      <a:pt x="972" y="405"/>
                    </a:lnTo>
                    <a:lnTo>
                      <a:pt x="971" y="392"/>
                    </a:lnTo>
                    <a:lnTo>
                      <a:pt x="957" y="398"/>
                    </a:lnTo>
                    <a:lnTo>
                      <a:pt x="954" y="390"/>
                    </a:lnTo>
                    <a:lnTo>
                      <a:pt x="933" y="389"/>
                    </a:lnTo>
                    <a:lnTo>
                      <a:pt x="933" y="392"/>
                    </a:lnTo>
                    <a:lnTo>
                      <a:pt x="927" y="419"/>
                    </a:lnTo>
                    <a:lnTo>
                      <a:pt x="932" y="429"/>
                    </a:lnTo>
                    <a:lnTo>
                      <a:pt x="930" y="435"/>
                    </a:lnTo>
                    <a:lnTo>
                      <a:pt x="921" y="437"/>
                    </a:lnTo>
                    <a:lnTo>
                      <a:pt x="912" y="441"/>
                    </a:lnTo>
                    <a:lnTo>
                      <a:pt x="909" y="447"/>
                    </a:lnTo>
                    <a:lnTo>
                      <a:pt x="899" y="455"/>
                    </a:lnTo>
                    <a:lnTo>
                      <a:pt x="896" y="464"/>
                    </a:lnTo>
                    <a:lnTo>
                      <a:pt x="888" y="464"/>
                    </a:lnTo>
                    <a:lnTo>
                      <a:pt x="884" y="468"/>
                    </a:lnTo>
                    <a:lnTo>
                      <a:pt x="884" y="479"/>
                    </a:lnTo>
                    <a:lnTo>
                      <a:pt x="879" y="489"/>
                    </a:lnTo>
                    <a:lnTo>
                      <a:pt x="867" y="488"/>
                    </a:lnTo>
                    <a:lnTo>
                      <a:pt x="869" y="498"/>
                    </a:lnTo>
                    <a:lnTo>
                      <a:pt x="872" y="509"/>
                    </a:lnTo>
                    <a:lnTo>
                      <a:pt x="882" y="522"/>
                    </a:lnTo>
                    <a:lnTo>
                      <a:pt x="905" y="525"/>
                    </a:lnTo>
                    <a:lnTo>
                      <a:pt x="914" y="518"/>
                    </a:lnTo>
                    <a:lnTo>
                      <a:pt x="924" y="521"/>
                    </a:lnTo>
                    <a:lnTo>
                      <a:pt x="936" y="516"/>
                    </a:lnTo>
                    <a:lnTo>
                      <a:pt x="947" y="521"/>
                    </a:lnTo>
                    <a:lnTo>
                      <a:pt x="954" y="519"/>
                    </a:lnTo>
                    <a:lnTo>
                      <a:pt x="965" y="545"/>
                    </a:lnTo>
                    <a:lnTo>
                      <a:pt x="977" y="549"/>
                    </a:lnTo>
                    <a:lnTo>
                      <a:pt x="974" y="566"/>
                    </a:lnTo>
                    <a:lnTo>
                      <a:pt x="969" y="579"/>
                    </a:lnTo>
                    <a:lnTo>
                      <a:pt x="969" y="591"/>
                    </a:lnTo>
                    <a:lnTo>
                      <a:pt x="963" y="600"/>
                    </a:lnTo>
                    <a:lnTo>
                      <a:pt x="962" y="608"/>
                    </a:lnTo>
                    <a:lnTo>
                      <a:pt x="965" y="618"/>
                    </a:lnTo>
                    <a:lnTo>
                      <a:pt x="975" y="621"/>
                    </a:lnTo>
                    <a:lnTo>
                      <a:pt x="983" y="638"/>
                    </a:lnTo>
                    <a:lnTo>
                      <a:pt x="1004" y="629"/>
                    </a:lnTo>
                    <a:lnTo>
                      <a:pt x="1011" y="656"/>
                    </a:lnTo>
                    <a:close/>
                  </a:path>
                </a:pathLst>
              </a:custGeom>
              <a:solidFill>
                <a:srgbClr val="70AD47">
                  <a:lumMod val="20000"/>
                  <a:lumOff val="80000"/>
                </a:srgbClr>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2" name="Freeform 240">
                <a:extLst>
                  <a:ext uri="{FF2B5EF4-FFF2-40B4-BE49-F238E27FC236}">
                    <a16:creationId xmlns:a16="http://schemas.microsoft.com/office/drawing/2014/main" id="{D250BDF0-9300-D15B-A1CB-214A7BEDD2A7}"/>
                  </a:ext>
                </a:extLst>
              </p:cNvPr>
              <p:cNvSpPr>
                <a:spLocks/>
              </p:cNvSpPr>
              <p:nvPr/>
            </p:nvSpPr>
            <p:spPr bwMode="auto">
              <a:xfrm>
                <a:off x="2306" y="1586"/>
                <a:ext cx="533" cy="604"/>
              </a:xfrm>
              <a:custGeom>
                <a:avLst/>
                <a:gdLst>
                  <a:gd name="T0" fmla="*/ 0 w 1599"/>
                  <a:gd name="T1" fmla="*/ 0 h 1813"/>
                  <a:gd name="T2" fmla="*/ 0 w 1599"/>
                  <a:gd name="T3" fmla="*/ 0 h 1813"/>
                  <a:gd name="T4" fmla="*/ 0 w 1599"/>
                  <a:gd name="T5" fmla="*/ 0 h 1813"/>
                  <a:gd name="T6" fmla="*/ 0 w 1599"/>
                  <a:gd name="T7" fmla="*/ 0 h 1813"/>
                  <a:gd name="T8" fmla="*/ 0 w 1599"/>
                  <a:gd name="T9" fmla="*/ 0 h 1813"/>
                  <a:gd name="T10" fmla="*/ 0 w 1599"/>
                  <a:gd name="T11" fmla="*/ 0 h 1813"/>
                  <a:gd name="T12" fmla="*/ 0 w 1599"/>
                  <a:gd name="T13" fmla="*/ 0 h 1813"/>
                  <a:gd name="T14" fmla="*/ 0 w 1599"/>
                  <a:gd name="T15" fmla="*/ 0 h 1813"/>
                  <a:gd name="T16" fmla="*/ 0 w 1599"/>
                  <a:gd name="T17" fmla="*/ 0 h 1813"/>
                  <a:gd name="T18" fmla="*/ 0 w 1599"/>
                  <a:gd name="T19" fmla="*/ 0 h 1813"/>
                  <a:gd name="T20" fmla="*/ 0 w 1599"/>
                  <a:gd name="T21" fmla="*/ 0 h 1813"/>
                  <a:gd name="T22" fmla="*/ 0 w 1599"/>
                  <a:gd name="T23" fmla="*/ 0 h 1813"/>
                  <a:gd name="T24" fmla="*/ 0 w 1599"/>
                  <a:gd name="T25" fmla="*/ 0 h 1813"/>
                  <a:gd name="T26" fmla="*/ 0 w 1599"/>
                  <a:gd name="T27" fmla="*/ 0 h 1813"/>
                  <a:gd name="T28" fmla="*/ 0 w 1599"/>
                  <a:gd name="T29" fmla="*/ 0 h 1813"/>
                  <a:gd name="T30" fmla="*/ 0 w 1599"/>
                  <a:gd name="T31" fmla="*/ 0 h 1813"/>
                  <a:gd name="T32" fmla="*/ 0 w 1599"/>
                  <a:gd name="T33" fmla="*/ 0 h 1813"/>
                  <a:gd name="T34" fmla="*/ 0 w 1599"/>
                  <a:gd name="T35" fmla="*/ 0 h 1813"/>
                  <a:gd name="T36" fmla="*/ 0 w 1599"/>
                  <a:gd name="T37" fmla="*/ 0 h 1813"/>
                  <a:gd name="T38" fmla="*/ 0 w 1599"/>
                  <a:gd name="T39" fmla="*/ 0 h 1813"/>
                  <a:gd name="T40" fmla="*/ 0 w 1599"/>
                  <a:gd name="T41" fmla="*/ 0 h 1813"/>
                  <a:gd name="T42" fmla="*/ 0 w 1599"/>
                  <a:gd name="T43" fmla="*/ 0 h 1813"/>
                  <a:gd name="T44" fmla="*/ 0 w 1599"/>
                  <a:gd name="T45" fmla="*/ 0 h 1813"/>
                  <a:gd name="T46" fmla="*/ 0 w 1599"/>
                  <a:gd name="T47" fmla="*/ 0 h 1813"/>
                  <a:gd name="T48" fmla="*/ 0 w 1599"/>
                  <a:gd name="T49" fmla="*/ 0 h 1813"/>
                  <a:gd name="T50" fmla="*/ 0 w 1599"/>
                  <a:gd name="T51" fmla="*/ 0 h 1813"/>
                  <a:gd name="T52" fmla="*/ 0 w 1599"/>
                  <a:gd name="T53" fmla="*/ 0 h 1813"/>
                  <a:gd name="T54" fmla="*/ 0 w 1599"/>
                  <a:gd name="T55" fmla="*/ 0 h 1813"/>
                  <a:gd name="T56" fmla="*/ 0 w 1599"/>
                  <a:gd name="T57" fmla="*/ 0 h 1813"/>
                  <a:gd name="T58" fmla="*/ 0 w 1599"/>
                  <a:gd name="T59" fmla="*/ 0 h 1813"/>
                  <a:gd name="T60" fmla="*/ 0 w 1599"/>
                  <a:gd name="T61" fmla="*/ 0 h 1813"/>
                  <a:gd name="T62" fmla="*/ 0 w 1599"/>
                  <a:gd name="T63" fmla="*/ 0 h 1813"/>
                  <a:gd name="T64" fmla="*/ 0 w 1599"/>
                  <a:gd name="T65" fmla="*/ 0 h 1813"/>
                  <a:gd name="T66" fmla="*/ 0 w 1599"/>
                  <a:gd name="T67" fmla="*/ 0 h 1813"/>
                  <a:gd name="T68" fmla="*/ 0 w 1599"/>
                  <a:gd name="T69" fmla="*/ 0 h 1813"/>
                  <a:gd name="T70" fmla="*/ 0 w 1599"/>
                  <a:gd name="T71" fmla="*/ 0 h 1813"/>
                  <a:gd name="T72" fmla="*/ 0 w 1599"/>
                  <a:gd name="T73" fmla="*/ 0 h 1813"/>
                  <a:gd name="T74" fmla="*/ 0 w 1599"/>
                  <a:gd name="T75" fmla="*/ 0 h 1813"/>
                  <a:gd name="T76" fmla="*/ 0 w 1599"/>
                  <a:gd name="T77" fmla="*/ 0 h 1813"/>
                  <a:gd name="T78" fmla="*/ 0 w 1599"/>
                  <a:gd name="T79" fmla="*/ 0 h 1813"/>
                  <a:gd name="T80" fmla="*/ 0 w 1599"/>
                  <a:gd name="T81" fmla="*/ 0 h 1813"/>
                  <a:gd name="T82" fmla="*/ 0 w 1599"/>
                  <a:gd name="T83" fmla="*/ 0 h 1813"/>
                  <a:gd name="T84" fmla="*/ 0 w 1599"/>
                  <a:gd name="T85" fmla="*/ 0 h 1813"/>
                  <a:gd name="T86" fmla="*/ 0 w 1599"/>
                  <a:gd name="T87" fmla="*/ 0 h 1813"/>
                  <a:gd name="T88" fmla="*/ 0 w 1599"/>
                  <a:gd name="T89" fmla="*/ 0 h 1813"/>
                  <a:gd name="T90" fmla="*/ 0 w 1599"/>
                  <a:gd name="T91" fmla="*/ 0 h 1813"/>
                  <a:gd name="T92" fmla="*/ 0 w 1599"/>
                  <a:gd name="T93" fmla="*/ 0 h 1813"/>
                  <a:gd name="T94" fmla="*/ 0 w 1599"/>
                  <a:gd name="T95" fmla="*/ 0 h 1813"/>
                  <a:gd name="T96" fmla="*/ 0 w 1599"/>
                  <a:gd name="T97" fmla="*/ 0 h 1813"/>
                  <a:gd name="T98" fmla="*/ 0 w 1599"/>
                  <a:gd name="T99" fmla="*/ 0 h 1813"/>
                  <a:gd name="T100" fmla="*/ 0 w 1599"/>
                  <a:gd name="T101" fmla="*/ 0 h 1813"/>
                  <a:gd name="T102" fmla="*/ 0 w 1599"/>
                  <a:gd name="T103" fmla="*/ 0 h 1813"/>
                  <a:gd name="T104" fmla="*/ 0 w 1599"/>
                  <a:gd name="T105" fmla="*/ 0 h 1813"/>
                  <a:gd name="T106" fmla="*/ 0 w 1599"/>
                  <a:gd name="T107" fmla="*/ 0 h 1813"/>
                  <a:gd name="T108" fmla="*/ 0 w 1599"/>
                  <a:gd name="T109" fmla="*/ 0 h 1813"/>
                  <a:gd name="T110" fmla="*/ 0 w 1599"/>
                  <a:gd name="T111" fmla="*/ 0 h 1813"/>
                  <a:gd name="T112" fmla="*/ 0 w 1599"/>
                  <a:gd name="T113" fmla="*/ 0 h 1813"/>
                  <a:gd name="T114" fmla="*/ 0 w 1599"/>
                  <a:gd name="T115" fmla="*/ 0 h 1813"/>
                  <a:gd name="T116" fmla="*/ 0 w 1599"/>
                  <a:gd name="T117" fmla="*/ 0 h 1813"/>
                  <a:gd name="T118" fmla="*/ 0 w 1599"/>
                  <a:gd name="T119" fmla="*/ 0 h 181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599" h="1813">
                    <a:moveTo>
                      <a:pt x="1022" y="1776"/>
                    </a:moveTo>
                    <a:lnTo>
                      <a:pt x="1014" y="1774"/>
                    </a:lnTo>
                    <a:lnTo>
                      <a:pt x="996" y="1774"/>
                    </a:lnTo>
                    <a:lnTo>
                      <a:pt x="989" y="1753"/>
                    </a:lnTo>
                    <a:lnTo>
                      <a:pt x="969" y="1734"/>
                    </a:lnTo>
                    <a:lnTo>
                      <a:pt x="953" y="1725"/>
                    </a:lnTo>
                    <a:lnTo>
                      <a:pt x="947" y="1722"/>
                    </a:lnTo>
                    <a:lnTo>
                      <a:pt x="869" y="1729"/>
                    </a:lnTo>
                    <a:lnTo>
                      <a:pt x="860" y="1725"/>
                    </a:lnTo>
                    <a:lnTo>
                      <a:pt x="858" y="1707"/>
                    </a:lnTo>
                    <a:lnTo>
                      <a:pt x="852" y="1696"/>
                    </a:lnTo>
                    <a:lnTo>
                      <a:pt x="845" y="1678"/>
                    </a:lnTo>
                    <a:lnTo>
                      <a:pt x="828" y="1660"/>
                    </a:lnTo>
                    <a:lnTo>
                      <a:pt x="806" y="1654"/>
                    </a:lnTo>
                    <a:lnTo>
                      <a:pt x="786" y="1654"/>
                    </a:lnTo>
                    <a:lnTo>
                      <a:pt x="776" y="1656"/>
                    </a:lnTo>
                    <a:lnTo>
                      <a:pt x="752" y="1648"/>
                    </a:lnTo>
                    <a:lnTo>
                      <a:pt x="741" y="1648"/>
                    </a:lnTo>
                    <a:lnTo>
                      <a:pt x="732" y="1642"/>
                    </a:lnTo>
                    <a:lnTo>
                      <a:pt x="719" y="1635"/>
                    </a:lnTo>
                    <a:lnTo>
                      <a:pt x="725" y="1630"/>
                    </a:lnTo>
                    <a:lnTo>
                      <a:pt x="731" y="1632"/>
                    </a:lnTo>
                    <a:lnTo>
                      <a:pt x="741" y="1630"/>
                    </a:lnTo>
                    <a:lnTo>
                      <a:pt x="741" y="1626"/>
                    </a:lnTo>
                    <a:lnTo>
                      <a:pt x="729" y="1621"/>
                    </a:lnTo>
                    <a:lnTo>
                      <a:pt x="713" y="1626"/>
                    </a:lnTo>
                    <a:lnTo>
                      <a:pt x="684" y="1611"/>
                    </a:lnTo>
                    <a:lnTo>
                      <a:pt x="666" y="1596"/>
                    </a:lnTo>
                    <a:lnTo>
                      <a:pt x="663" y="1596"/>
                    </a:lnTo>
                    <a:lnTo>
                      <a:pt x="642" y="1582"/>
                    </a:lnTo>
                    <a:lnTo>
                      <a:pt x="624" y="1566"/>
                    </a:lnTo>
                    <a:lnTo>
                      <a:pt x="617" y="1558"/>
                    </a:lnTo>
                    <a:lnTo>
                      <a:pt x="606" y="1555"/>
                    </a:lnTo>
                    <a:lnTo>
                      <a:pt x="603" y="1563"/>
                    </a:lnTo>
                    <a:lnTo>
                      <a:pt x="599" y="1564"/>
                    </a:lnTo>
                    <a:lnTo>
                      <a:pt x="584" y="1551"/>
                    </a:lnTo>
                    <a:lnTo>
                      <a:pt x="582" y="1528"/>
                    </a:lnTo>
                    <a:lnTo>
                      <a:pt x="563" y="1452"/>
                    </a:lnTo>
                    <a:lnTo>
                      <a:pt x="567" y="1446"/>
                    </a:lnTo>
                    <a:lnTo>
                      <a:pt x="567" y="1441"/>
                    </a:lnTo>
                    <a:lnTo>
                      <a:pt x="564" y="1441"/>
                    </a:lnTo>
                    <a:lnTo>
                      <a:pt x="560" y="1441"/>
                    </a:lnTo>
                    <a:lnTo>
                      <a:pt x="549" y="1422"/>
                    </a:lnTo>
                    <a:lnTo>
                      <a:pt x="533" y="1398"/>
                    </a:lnTo>
                    <a:lnTo>
                      <a:pt x="521" y="1383"/>
                    </a:lnTo>
                    <a:lnTo>
                      <a:pt x="504" y="1354"/>
                    </a:lnTo>
                    <a:lnTo>
                      <a:pt x="489" y="1333"/>
                    </a:lnTo>
                    <a:lnTo>
                      <a:pt x="483" y="1323"/>
                    </a:lnTo>
                    <a:lnTo>
                      <a:pt x="470" y="1327"/>
                    </a:lnTo>
                    <a:lnTo>
                      <a:pt x="464" y="1320"/>
                    </a:lnTo>
                    <a:lnTo>
                      <a:pt x="459" y="1312"/>
                    </a:lnTo>
                    <a:lnTo>
                      <a:pt x="455" y="1297"/>
                    </a:lnTo>
                    <a:lnTo>
                      <a:pt x="449" y="1291"/>
                    </a:lnTo>
                    <a:lnTo>
                      <a:pt x="434" y="1270"/>
                    </a:lnTo>
                    <a:lnTo>
                      <a:pt x="395" y="1234"/>
                    </a:lnTo>
                    <a:lnTo>
                      <a:pt x="339" y="1192"/>
                    </a:lnTo>
                    <a:lnTo>
                      <a:pt x="332" y="1180"/>
                    </a:lnTo>
                    <a:lnTo>
                      <a:pt x="329" y="1171"/>
                    </a:lnTo>
                    <a:lnTo>
                      <a:pt x="326" y="1162"/>
                    </a:lnTo>
                    <a:lnTo>
                      <a:pt x="326" y="1128"/>
                    </a:lnTo>
                    <a:lnTo>
                      <a:pt x="326" y="1117"/>
                    </a:lnTo>
                    <a:lnTo>
                      <a:pt x="318" y="1098"/>
                    </a:lnTo>
                    <a:lnTo>
                      <a:pt x="338" y="1092"/>
                    </a:lnTo>
                    <a:lnTo>
                      <a:pt x="348" y="1084"/>
                    </a:lnTo>
                    <a:lnTo>
                      <a:pt x="359" y="1080"/>
                    </a:lnTo>
                    <a:lnTo>
                      <a:pt x="354" y="1075"/>
                    </a:lnTo>
                    <a:lnTo>
                      <a:pt x="354" y="1069"/>
                    </a:lnTo>
                    <a:lnTo>
                      <a:pt x="365" y="1056"/>
                    </a:lnTo>
                    <a:lnTo>
                      <a:pt x="381" y="1038"/>
                    </a:lnTo>
                    <a:lnTo>
                      <a:pt x="401" y="1030"/>
                    </a:lnTo>
                    <a:lnTo>
                      <a:pt x="411" y="1018"/>
                    </a:lnTo>
                    <a:lnTo>
                      <a:pt x="410" y="996"/>
                    </a:lnTo>
                    <a:lnTo>
                      <a:pt x="416" y="985"/>
                    </a:lnTo>
                    <a:lnTo>
                      <a:pt x="417" y="970"/>
                    </a:lnTo>
                    <a:lnTo>
                      <a:pt x="422" y="952"/>
                    </a:lnTo>
                    <a:lnTo>
                      <a:pt x="453" y="939"/>
                    </a:lnTo>
                    <a:lnTo>
                      <a:pt x="455" y="933"/>
                    </a:lnTo>
                    <a:lnTo>
                      <a:pt x="449" y="919"/>
                    </a:lnTo>
                    <a:lnTo>
                      <a:pt x="423" y="894"/>
                    </a:lnTo>
                    <a:lnTo>
                      <a:pt x="407" y="870"/>
                    </a:lnTo>
                    <a:lnTo>
                      <a:pt x="399" y="861"/>
                    </a:lnTo>
                    <a:lnTo>
                      <a:pt x="360" y="844"/>
                    </a:lnTo>
                    <a:lnTo>
                      <a:pt x="317" y="840"/>
                    </a:lnTo>
                    <a:lnTo>
                      <a:pt x="300" y="834"/>
                    </a:lnTo>
                    <a:lnTo>
                      <a:pt x="284" y="832"/>
                    </a:lnTo>
                    <a:lnTo>
                      <a:pt x="269" y="826"/>
                    </a:lnTo>
                    <a:lnTo>
                      <a:pt x="252" y="822"/>
                    </a:lnTo>
                    <a:lnTo>
                      <a:pt x="252" y="814"/>
                    </a:lnTo>
                    <a:lnTo>
                      <a:pt x="260" y="807"/>
                    </a:lnTo>
                    <a:lnTo>
                      <a:pt x="264" y="799"/>
                    </a:lnTo>
                    <a:lnTo>
                      <a:pt x="270" y="793"/>
                    </a:lnTo>
                    <a:lnTo>
                      <a:pt x="288" y="787"/>
                    </a:lnTo>
                    <a:lnTo>
                      <a:pt x="303" y="786"/>
                    </a:lnTo>
                    <a:lnTo>
                      <a:pt x="308" y="781"/>
                    </a:lnTo>
                    <a:lnTo>
                      <a:pt x="308" y="771"/>
                    </a:lnTo>
                    <a:lnTo>
                      <a:pt x="311" y="759"/>
                    </a:lnTo>
                    <a:lnTo>
                      <a:pt x="315" y="745"/>
                    </a:lnTo>
                    <a:lnTo>
                      <a:pt x="314" y="723"/>
                    </a:lnTo>
                    <a:lnTo>
                      <a:pt x="300" y="703"/>
                    </a:lnTo>
                    <a:lnTo>
                      <a:pt x="300" y="694"/>
                    </a:lnTo>
                    <a:lnTo>
                      <a:pt x="305" y="660"/>
                    </a:lnTo>
                    <a:lnTo>
                      <a:pt x="338" y="654"/>
                    </a:lnTo>
                    <a:lnTo>
                      <a:pt x="371" y="648"/>
                    </a:lnTo>
                    <a:lnTo>
                      <a:pt x="404" y="640"/>
                    </a:lnTo>
                    <a:lnTo>
                      <a:pt x="420" y="636"/>
                    </a:lnTo>
                    <a:lnTo>
                      <a:pt x="432" y="640"/>
                    </a:lnTo>
                    <a:lnTo>
                      <a:pt x="447" y="648"/>
                    </a:lnTo>
                    <a:lnTo>
                      <a:pt x="470" y="652"/>
                    </a:lnTo>
                    <a:lnTo>
                      <a:pt x="479" y="657"/>
                    </a:lnTo>
                    <a:lnTo>
                      <a:pt x="545" y="688"/>
                    </a:lnTo>
                    <a:lnTo>
                      <a:pt x="561" y="703"/>
                    </a:lnTo>
                    <a:lnTo>
                      <a:pt x="591" y="723"/>
                    </a:lnTo>
                    <a:lnTo>
                      <a:pt x="621" y="730"/>
                    </a:lnTo>
                    <a:lnTo>
                      <a:pt x="645" y="735"/>
                    </a:lnTo>
                    <a:lnTo>
                      <a:pt x="665" y="735"/>
                    </a:lnTo>
                    <a:lnTo>
                      <a:pt x="684" y="741"/>
                    </a:lnTo>
                    <a:lnTo>
                      <a:pt x="693" y="744"/>
                    </a:lnTo>
                    <a:lnTo>
                      <a:pt x="708" y="745"/>
                    </a:lnTo>
                    <a:lnTo>
                      <a:pt x="698" y="742"/>
                    </a:lnTo>
                    <a:lnTo>
                      <a:pt x="690" y="736"/>
                    </a:lnTo>
                    <a:lnTo>
                      <a:pt x="693" y="730"/>
                    </a:lnTo>
                    <a:lnTo>
                      <a:pt x="686" y="727"/>
                    </a:lnTo>
                    <a:lnTo>
                      <a:pt x="666" y="726"/>
                    </a:lnTo>
                    <a:lnTo>
                      <a:pt x="644" y="723"/>
                    </a:lnTo>
                    <a:lnTo>
                      <a:pt x="612" y="712"/>
                    </a:lnTo>
                    <a:lnTo>
                      <a:pt x="606" y="708"/>
                    </a:lnTo>
                    <a:lnTo>
                      <a:pt x="590" y="691"/>
                    </a:lnTo>
                    <a:lnTo>
                      <a:pt x="578" y="675"/>
                    </a:lnTo>
                    <a:lnTo>
                      <a:pt x="555" y="655"/>
                    </a:lnTo>
                    <a:lnTo>
                      <a:pt x="525" y="637"/>
                    </a:lnTo>
                    <a:lnTo>
                      <a:pt x="479" y="615"/>
                    </a:lnTo>
                    <a:lnTo>
                      <a:pt x="468" y="610"/>
                    </a:lnTo>
                    <a:lnTo>
                      <a:pt x="462" y="612"/>
                    </a:lnTo>
                    <a:lnTo>
                      <a:pt x="446" y="607"/>
                    </a:lnTo>
                    <a:lnTo>
                      <a:pt x="437" y="603"/>
                    </a:lnTo>
                    <a:lnTo>
                      <a:pt x="386" y="610"/>
                    </a:lnTo>
                    <a:lnTo>
                      <a:pt x="353" y="607"/>
                    </a:lnTo>
                    <a:lnTo>
                      <a:pt x="333" y="609"/>
                    </a:lnTo>
                    <a:lnTo>
                      <a:pt x="294" y="627"/>
                    </a:lnTo>
                    <a:lnTo>
                      <a:pt x="288" y="631"/>
                    </a:lnTo>
                    <a:lnTo>
                      <a:pt x="287" y="640"/>
                    </a:lnTo>
                    <a:lnTo>
                      <a:pt x="278" y="642"/>
                    </a:lnTo>
                    <a:lnTo>
                      <a:pt x="278" y="652"/>
                    </a:lnTo>
                    <a:lnTo>
                      <a:pt x="279" y="660"/>
                    </a:lnTo>
                    <a:lnTo>
                      <a:pt x="260" y="666"/>
                    </a:lnTo>
                    <a:lnTo>
                      <a:pt x="255" y="675"/>
                    </a:lnTo>
                    <a:lnTo>
                      <a:pt x="236" y="682"/>
                    </a:lnTo>
                    <a:lnTo>
                      <a:pt x="228" y="693"/>
                    </a:lnTo>
                    <a:lnTo>
                      <a:pt x="207" y="700"/>
                    </a:lnTo>
                    <a:lnTo>
                      <a:pt x="198" y="697"/>
                    </a:lnTo>
                    <a:lnTo>
                      <a:pt x="176" y="685"/>
                    </a:lnTo>
                    <a:lnTo>
                      <a:pt x="167" y="669"/>
                    </a:lnTo>
                    <a:lnTo>
                      <a:pt x="150" y="657"/>
                    </a:lnTo>
                    <a:lnTo>
                      <a:pt x="129" y="649"/>
                    </a:lnTo>
                    <a:lnTo>
                      <a:pt x="111" y="651"/>
                    </a:lnTo>
                    <a:lnTo>
                      <a:pt x="104" y="654"/>
                    </a:lnTo>
                    <a:lnTo>
                      <a:pt x="105" y="670"/>
                    </a:lnTo>
                    <a:lnTo>
                      <a:pt x="98" y="670"/>
                    </a:lnTo>
                    <a:lnTo>
                      <a:pt x="84" y="670"/>
                    </a:lnTo>
                    <a:lnTo>
                      <a:pt x="68" y="661"/>
                    </a:lnTo>
                    <a:lnTo>
                      <a:pt x="54" y="654"/>
                    </a:lnTo>
                    <a:lnTo>
                      <a:pt x="24" y="642"/>
                    </a:lnTo>
                    <a:lnTo>
                      <a:pt x="9" y="642"/>
                    </a:lnTo>
                    <a:lnTo>
                      <a:pt x="9" y="633"/>
                    </a:lnTo>
                    <a:lnTo>
                      <a:pt x="21" y="633"/>
                    </a:lnTo>
                    <a:lnTo>
                      <a:pt x="29" y="625"/>
                    </a:lnTo>
                    <a:lnTo>
                      <a:pt x="35" y="628"/>
                    </a:lnTo>
                    <a:lnTo>
                      <a:pt x="35" y="621"/>
                    </a:lnTo>
                    <a:lnTo>
                      <a:pt x="45" y="595"/>
                    </a:lnTo>
                    <a:lnTo>
                      <a:pt x="41" y="582"/>
                    </a:lnTo>
                    <a:lnTo>
                      <a:pt x="26" y="558"/>
                    </a:lnTo>
                    <a:lnTo>
                      <a:pt x="20" y="552"/>
                    </a:lnTo>
                    <a:lnTo>
                      <a:pt x="6" y="550"/>
                    </a:lnTo>
                    <a:lnTo>
                      <a:pt x="0" y="540"/>
                    </a:lnTo>
                    <a:lnTo>
                      <a:pt x="8" y="532"/>
                    </a:lnTo>
                    <a:lnTo>
                      <a:pt x="18" y="528"/>
                    </a:lnTo>
                    <a:lnTo>
                      <a:pt x="39" y="514"/>
                    </a:lnTo>
                    <a:lnTo>
                      <a:pt x="66" y="486"/>
                    </a:lnTo>
                    <a:lnTo>
                      <a:pt x="68" y="495"/>
                    </a:lnTo>
                    <a:lnTo>
                      <a:pt x="86" y="493"/>
                    </a:lnTo>
                    <a:lnTo>
                      <a:pt x="92" y="492"/>
                    </a:lnTo>
                    <a:lnTo>
                      <a:pt x="92" y="484"/>
                    </a:lnTo>
                    <a:lnTo>
                      <a:pt x="77" y="477"/>
                    </a:lnTo>
                    <a:lnTo>
                      <a:pt x="83" y="466"/>
                    </a:lnTo>
                    <a:lnTo>
                      <a:pt x="78" y="451"/>
                    </a:lnTo>
                    <a:lnTo>
                      <a:pt x="86" y="448"/>
                    </a:lnTo>
                    <a:lnTo>
                      <a:pt x="92" y="454"/>
                    </a:lnTo>
                    <a:lnTo>
                      <a:pt x="96" y="451"/>
                    </a:lnTo>
                    <a:lnTo>
                      <a:pt x="83" y="436"/>
                    </a:lnTo>
                    <a:lnTo>
                      <a:pt x="105" y="418"/>
                    </a:lnTo>
                    <a:lnTo>
                      <a:pt x="111" y="438"/>
                    </a:lnTo>
                    <a:lnTo>
                      <a:pt x="117" y="441"/>
                    </a:lnTo>
                    <a:lnTo>
                      <a:pt x="132" y="436"/>
                    </a:lnTo>
                    <a:lnTo>
                      <a:pt x="141" y="435"/>
                    </a:lnTo>
                    <a:lnTo>
                      <a:pt x="161" y="442"/>
                    </a:lnTo>
                    <a:lnTo>
                      <a:pt x="183" y="433"/>
                    </a:lnTo>
                    <a:lnTo>
                      <a:pt x="188" y="403"/>
                    </a:lnTo>
                    <a:lnTo>
                      <a:pt x="206" y="378"/>
                    </a:lnTo>
                    <a:lnTo>
                      <a:pt x="212" y="376"/>
                    </a:lnTo>
                    <a:lnTo>
                      <a:pt x="231" y="376"/>
                    </a:lnTo>
                    <a:lnTo>
                      <a:pt x="227" y="388"/>
                    </a:lnTo>
                    <a:lnTo>
                      <a:pt x="239" y="393"/>
                    </a:lnTo>
                    <a:lnTo>
                      <a:pt x="254" y="390"/>
                    </a:lnTo>
                    <a:lnTo>
                      <a:pt x="279" y="375"/>
                    </a:lnTo>
                    <a:lnTo>
                      <a:pt x="285" y="378"/>
                    </a:lnTo>
                    <a:lnTo>
                      <a:pt x="285" y="394"/>
                    </a:lnTo>
                    <a:lnTo>
                      <a:pt x="299" y="399"/>
                    </a:lnTo>
                    <a:lnTo>
                      <a:pt x="312" y="396"/>
                    </a:lnTo>
                    <a:lnTo>
                      <a:pt x="314" y="366"/>
                    </a:lnTo>
                    <a:lnTo>
                      <a:pt x="326" y="361"/>
                    </a:lnTo>
                    <a:lnTo>
                      <a:pt x="338" y="352"/>
                    </a:lnTo>
                    <a:lnTo>
                      <a:pt x="357" y="349"/>
                    </a:lnTo>
                    <a:lnTo>
                      <a:pt x="360" y="325"/>
                    </a:lnTo>
                    <a:lnTo>
                      <a:pt x="359" y="304"/>
                    </a:lnTo>
                    <a:lnTo>
                      <a:pt x="363" y="285"/>
                    </a:lnTo>
                    <a:lnTo>
                      <a:pt x="374" y="268"/>
                    </a:lnTo>
                    <a:lnTo>
                      <a:pt x="371" y="256"/>
                    </a:lnTo>
                    <a:lnTo>
                      <a:pt x="375" y="243"/>
                    </a:lnTo>
                    <a:lnTo>
                      <a:pt x="363" y="241"/>
                    </a:lnTo>
                    <a:lnTo>
                      <a:pt x="383" y="216"/>
                    </a:lnTo>
                    <a:lnTo>
                      <a:pt x="401" y="219"/>
                    </a:lnTo>
                    <a:lnTo>
                      <a:pt x="402" y="202"/>
                    </a:lnTo>
                    <a:lnTo>
                      <a:pt x="407" y="199"/>
                    </a:lnTo>
                    <a:lnTo>
                      <a:pt x="411" y="195"/>
                    </a:lnTo>
                    <a:lnTo>
                      <a:pt x="429" y="198"/>
                    </a:lnTo>
                    <a:lnTo>
                      <a:pt x="464" y="165"/>
                    </a:lnTo>
                    <a:lnTo>
                      <a:pt x="470" y="169"/>
                    </a:lnTo>
                    <a:lnTo>
                      <a:pt x="468" y="180"/>
                    </a:lnTo>
                    <a:lnTo>
                      <a:pt x="471" y="192"/>
                    </a:lnTo>
                    <a:lnTo>
                      <a:pt x="476" y="190"/>
                    </a:lnTo>
                    <a:lnTo>
                      <a:pt x="494" y="172"/>
                    </a:lnTo>
                    <a:lnTo>
                      <a:pt x="531" y="165"/>
                    </a:lnTo>
                    <a:lnTo>
                      <a:pt x="539" y="165"/>
                    </a:lnTo>
                    <a:lnTo>
                      <a:pt x="552" y="151"/>
                    </a:lnTo>
                    <a:lnTo>
                      <a:pt x="569" y="148"/>
                    </a:lnTo>
                    <a:lnTo>
                      <a:pt x="578" y="147"/>
                    </a:lnTo>
                    <a:lnTo>
                      <a:pt x="591" y="153"/>
                    </a:lnTo>
                    <a:lnTo>
                      <a:pt x="612" y="160"/>
                    </a:lnTo>
                    <a:lnTo>
                      <a:pt x="623" y="160"/>
                    </a:lnTo>
                    <a:lnTo>
                      <a:pt x="635" y="153"/>
                    </a:lnTo>
                    <a:lnTo>
                      <a:pt x="645" y="151"/>
                    </a:lnTo>
                    <a:lnTo>
                      <a:pt x="656" y="160"/>
                    </a:lnTo>
                    <a:lnTo>
                      <a:pt x="668" y="156"/>
                    </a:lnTo>
                    <a:lnTo>
                      <a:pt x="668" y="150"/>
                    </a:lnTo>
                    <a:lnTo>
                      <a:pt x="686" y="142"/>
                    </a:lnTo>
                    <a:lnTo>
                      <a:pt x="704" y="142"/>
                    </a:lnTo>
                    <a:lnTo>
                      <a:pt x="713" y="147"/>
                    </a:lnTo>
                    <a:lnTo>
                      <a:pt x="719" y="132"/>
                    </a:lnTo>
                    <a:lnTo>
                      <a:pt x="725" y="130"/>
                    </a:lnTo>
                    <a:lnTo>
                      <a:pt x="728" y="114"/>
                    </a:lnTo>
                    <a:lnTo>
                      <a:pt x="734" y="111"/>
                    </a:lnTo>
                    <a:lnTo>
                      <a:pt x="735" y="106"/>
                    </a:lnTo>
                    <a:lnTo>
                      <a:pt x="735" y="87"/>
                    </a:lnTo>
                    <a:lnTo>
                      <a:pt x="747" y="82"/>
                    </a:lnTo>
                    <a:lnTo>
                      <a:pt x="759" y="78"/>
                    </a:lnTo>
                    <a:lnTo>
                      <a:pt x="759" y="69"/>
                    </a:lnTo>
                    <a:lnTo>
                      <a:pt x="770" y="64"/>
                    </a:lnTo>
                    <a:lnTo>
                      <a:pt x="777" y="64"/>
                    </a:lnTo>
                    <a:lnTo>
                      <a:pt x="791" y="58"/>
                    </a:lnTo>
                    <a:lnTo>
                      <a:pt x="809" y="58"/>
                    </a:lnTo>
                    <a:lnTo>
                      <a:pt x="824" y="45"/>
                    </a:lnTo>
                    <a:lnTo>
                      <a:pt x="831" y="40"/>
                    </a:lnTo>
                    <a:lnTo>
                      <a:pt x="840" y="40"/>
                    </a:lnTo>
                    <a:lnTo>
                      <a:pt x="860" y="33"/>
                    </a:lnTo>
                    <a:lnTo>
                      <a:pt x="858" y="13"/>
                    </a:lnTo>
                    <a:lnTo>
                      <a:pt x="845" y="6"/>
                    </a:lnTo>
                    <a:lnTo>
                      <a:pt x="857" y="0"/>
                    </a:lnTo>
                    <a:lnTo>
                      <a:pt x="866" y="1"/>
                    </a:lnTo>
                    <a:lnTo>
                      <a:pt x="870" y="4"/>
                    </a:lnTo>
                    <a:lnTo>
                      <a:pt x="879" y="3"/>
                    </a:lnTo>
                    <a:lnTo>
                      <a:pt x="882" y="6"/>
                    </a:lnTo>
                    <a:lnTo>
                      <a:pt x="893" y="4"/>
                    </a:lnTo>
                    <a:lnTo>
                      <a:pt x="902" y="9"/>
                    </a:lnTo>
                    <a:lnTo>
                      <a:pt x="911" y="10"/>
                    </a:lnTo>
                    <a:lnTo>
                      <a:pt x="921" y="7"/>
                    </a:lnTo>
                    <a:lnTo>
                      <a:pt x="930" y="18"/>
                    </a:lnTo>
                    <a:lnTo>
                      <a:pt x="935" y="30"/>
                    </a:lnTo>
                    <a:lnTo>
                      <a:pt x="945" y="34"/>
                    </a:lnTo>
                    <a:lnTo>
                      <a:pt x="945" y="42"/>
                    </a:lnTo>
                    <a:lnTo>
                      <a:pt x="965" y="48"/>
                    </a:lnTo>
                    <a:lnTo>
                      <a:pt x="1035" y="69"/>
                    </a:lnTo>
                    <a:lnTo>
                      <a:pt x="1043" y="81"/>
                    </a:lnTo>
                    <a:lnTo>
                      <a:pt x="1044" y="93"/>
                    </a:lnTo>
                    <a:lnTo>
                      <a:pt x="1035" y="114"/>
                    </a:lnTo>
                    <a:lnTo>
                      <a:pt x="1035" y="120"/>
                    </a:lnTo>
                    <a:lnTo>
                      <a:pt x="1040" y="129"/>
                    </a:lnTo>
                    <a:lnTo>
                      <a:pt x="1064" y="135"/>
                    </a:lnTo>
                    <a:lnTo>
                      <a:pt x="1076" y="136"/>
                    </a:lnTo>
                    <a:lnTo>
                      <a:pt x="1082" y="154"/>
                    </a:lnTo>
                    <a:lnTo>
                      <a:pt x="1091" y="160"/>
                    </a:lnTo>
                    <a:lnTo>
                      <a:pt x="1091" y="163"/>
                    </a:lnTo>
                    <a:lnTo>
                      <a:pt x="1091" y="174"/>
                    </a:lnTo>
                    <a:lnTo>
                      <a:pt x="1092" y="184"/>
                    </a:lnTo>
                    <a:lnTo>
                      <a:pt x="1092" y="204"/>
                    </a:lnTo>
                    <a:lnTo>
                      <a:pt x="1097" y="210"/>
                    </a:lnTo>
                    <a:lnTo>
                      <a:pt x="1107" y="210"/>
                    </a:lnTo>
                    <a:lnTo>
                      <a:pt x="1109" y="229"/>
                    </a:lnTo>
                    <a:lnTo>
                      <a:pt x="1113" y="237"/>
                    </a:lnTo>
                    <a:lnTo>
                      <a:pt x="1115" y="240"/>
                    </a:lnTo>
                    <a:lnTo>
                      <a:pt x="1125" y="250"/>
                    </a:lnTo>
                    <a:lnTo>
                      <a:pt x="1139" y="252"/>
                    </a:lnTo>
                    <a:lnTo>
                      <a:pt x="1160" y="252"/>
                    </a:lnTo>
                    <a:lnTo>
                      <a:pt x="1167" y="264"/>
                    </a:lnTo>
                    <a:lnTo>
                      <a:pt x="1182" y="273"/>
                    </a:lnTo>
                    <a:lnTo>
                      <a:pt x="1215" y="276"/>
                    </a:lnTo>
                    <a:lnTo>
                      <a:pt x="1229" y="283"/>
                    </a:lnTo>
                    <a:lnTo>
                      <a:pt x="1229" y="289"/>
                    </a:lnTo>
                    <a:lnTo>
                      <a:pt x="1206" y="315"/>
                    </a:lnTo>
                    <a:lnTo>
                      <a:pt x="1194" y="318"/>
                    </a:lnTo>
                    <a:lnTo>
                      <a:pt x="1160" y="313"/>
                    </a:lnTo>
                    <a:lnTo>
                      <a:pt x="1118" y="307"/>
                    </a:lnTo>
                    <a:lnTo>
                      <a:pt x="1104" y="310"/>
                    </a:lnTo>
                    <a:lnTo>
                      <a:pt x="1095" y="321"/>
                    </a:lnTo>
                    <a:lnTo>
                      <a:pt x="1094" y="333"/>
                    </a:lnTo>
                    <a:lnTo>
                      <a:pt x="1119" y="343"/>
                    </a:lnTo>
                    <a:lnTo>
                      <a:pt x="1119" y="346"/>
                    </a:lnTo>
                    <a:lnTo>
                      <a:pt x="1106" y="355"/>
                    </a:lnTo>
                    <a:lnTo>
                      <a:pt x="1107" y="370"/>
                    </a:lnTo>
                    <a:lnTo>
                      <a:pt x="1119" y="382"/>
                    </a:lnTo>
                    <a:lnTo>
                      <a:pt x="1131" y="384"/>
                    </a:lnTo>
                    <a:lnTo>
                      <a:pt x="1151" y="388"/>
                    </a:lnTo>
                    <a:lnTo>
                      <a:pt x="1172" y="385"/>
                    </a:lnTo>
                    <a:lnTo>
                      <a:pt x="1193" y="382"/>
                    </a:lnTo>
                    <a:lnTo>
                      <a:pt x="1197" y="382"/>
                    </a:lnTo>
                    <a:lnTo>
                      <a:pt x="1208" y="385"/>
                    </a:lnTo>
                    <a:lnTo>
                      <a:pt x="1235" y="403"/>
                    </a:lnTo>
                    <a:lnTo>
                      <a:pt x="1254" y="397"/>
                    </a:lnTo>
                    <a:lnTo>
                      <a:pt x="1263" y="411"/>
                    </a:lnTo>
                    <a:lnTo>
                      <a:pt x="1263" y="426"/>
                    </a:lnTo>
                    <a:lnTo>
                      <a:pt x="1280" y="478"/>
                    </a:lnTo>
                    <a:lnTo>
                      <a:pt x="1281" y="490"/>
                    </a:lnTo>
                    <a:lnTo>
                      <a:pt x="1281" y="501"/>
                    </a:lnTo>
                    <a:lnTo>
                      <a:pt x="1298" y="505"/>
                    </a:lnTo>
                    <a:lnTo>
                      <a:pt x="1281" y="516"/>
                    </a:lnTo>
                    <a:lnTo>
                      <a:pt x="1257" y="532"/>
                    </a:lnTo>
                    <a:lnTo>
                      <a:pt x="1233" y="535"/>
                    </a:lnTo>
                    <a:lnTo>
                      <a:pt x="1209" y="544"/>
                    </a:lnTo>
                    <a:lnTo>
                      <a:pt x="1190" y="544"/>
                    </a:lnTo>
                    <a:lnTo>
                      <a:pt x="1163" y="547"/>
                    </a:lnTo>
                    <a:lnTo>
                      <a:pt x="1149" y="547"/>
                    </a:lnTo>
                    <a:lnTo>
                      <a:pt x="1139" y="547"/>
                    </a:lnTo>
                    <a:lnTo>
                      <a:pt x="1128" y="547"/>
                    </a:lnTo>
                    <a:lnTo>
                      <a:pt x="1112" y="547"/>
                    </a:lnTo>
                    <a:lnTo>
                      <a:pt x="1094" y="558"/>
                    </a:lnTo>
                    <a:lnTo>
                      <a:pt x="1085" y="561"/>
                    </a:lnTo>
                    <a:lnTo>
                      <a:pt x="1070" y="567"/>
                    </a:lnTo>
                    <a:lnTo>
                      <a:pt x="1062" y="568"/>
                    </a:lnTo>
                    <a:lnTo>
                      <a:pt x="1035" y="573"/>
                    </a:lnTo>
                    <a:lnTo>
                      <a:pt x="1019" y="576"/>
                    </a:lnTo>
                    <a:lnTo>
                      <a:pt x="1013" y="577"/>
                    </a:lnTo>
                    <a:lnTo>
                      <a:pt x="993" y="582"/>
                    </a:lnTo>
                    <a:lnTo>
                      <a:pt x="953" y="616"/>
                    </a:lnTo>
                    <a:lnTo>
                      <a:pt x="966" y="618"/>
                    </a:lnTo>
                    <a:lnTo>
                      <a:pt x="987" y="616"/>
                    </a:lnTo>
                    <a:lnTo>
                      <a:pt x="998" y="616"/>
                    </a:lnTo>
                    <a:lnTo>
                      <a:pt x="1007" y="621"/>
                    </a:lnTo>
                    <a:lnTo>
                      <a:pt x="1011" y="633"/>
                    </a:lnTo>
                    <a:lnTo>
                      <a:pt x="1016" y="637"/>
                    </a:lnTo>
                    <a:lnTo>
                      <a:pt x="1013" y="648"/>
                    </a:lnTo>
                    <a:lnTo>
                      <a:pt x="1020" y="666"/>
                    </a:lnTo>
                    <a:lnTo>
                      <a:pt x="1038" y="681"/>
                    </a:lnTo>
                    <a:lnTo>
                      <a:pt x="1047" y="688"/>
                    </a:lnTo>
                    <a:lnTo>
                      <a:pt x="1053" y="688"/>
                    </a:lnTo>
                    <a:lnTo>
                      <a:pt x="1064" y="684"/>
                    </a:lnTo>
                    <a:lnTo>
                      <a:pt x="1073" y="676"/>
                    </a:lnTo>
                    <a:lnTo>
                      <a:pt x="1089" y="679"/>
                    </a:lnTo>
                    <a:lnTo>
                      <a:pt x="1094" y="693"/>
                    </a:lnTo>
                    <a:lnTo>
                      <a:pt x="1089" y="712"/>
                    </a:lnTo>
                    <a:lnTo>
                      <a:pt x="1094" y="715"/>
                    </a:lnTo>
                    <a:lnTo>
                      <a:pt x="1100" y="724"/>
                    </a:lnTo>
                    <a:lnTo>
                      <a:pt x="1097" y="732"/>
                    </a:lnTo>
                    <a:lnTo>
                      <a:pt x="1101" y="744"/>
                    </a:lnTo>
                    <a:lnTo>
                      <a:pt x="1115" y="754"/>
                    </a:lnTo>
                    <a:lnTo>
                      <a:pt x="1103" y="778"/>
                    </a:lnTo>
                    <a:lnTo>
                      <a:pt x="1095" y="784"/>
                    </a:lnTo>
                    <a:lnTo>
                      <a:pt x="1070" y="805"/>
                    </a:lnTo>
                    <a:lnTo>
                      <a:pt x="1052" y="817"/>
                    </a:lnTo>
                    <a:lnTo>
                      <a:pt x="1052" y="823"/>
                    </a:lnTo>
                    <a:lnTo>
                      <a:pt x="1052" y="835"/>
                    </a:lnTo>
                    <a:lnTo>
                      <a:pt x="1053" y="843"/>
                    </a:lnTo>
                    <a:lnTo>
                      <a:pt x="1040" y="853"/>
                    </a:lnTo>
                    <a:lnTo>
                      <a:pt x="1040" y="856"/>
                    </a:lnTo>
                    <a:lnTo>
                      <a:pt x="1043" y="861"/>
                    </a:lnTo>
                    <a:lnTo>
                      <a:pt x="1056" y="855"/>
                    </a:lnTo>
                    <a:lnTo>
                      <a:pt x="1100" y="864"/>
                    </a:lnTo>
                    <a:lnTo>
                      <a:pt x="1103" y="868"/>
                    </a:lnTo>
                    <a:lnTo>
                      <a:pt x="1107" y="879"/>
                    </a:lnTo>
                    <a:lnTo>
                      <a:pt x="1121" y="892"/>
                    </a:lnTo>
                    <a:lnTo>
                      <a:pt x="1140" y="895"/>
                    </a:lnTo>
                    <a:lnTo>
                      <a:pt x="1142" y="922"/>
                    </a:lnTo>
                    <a:lnTo>
                      <a:pt x="1124" y="934"/>
                    </a:lnTo>
                    <a:lnTo>
                      <a:pt x="1122" y="942"/>
                    </a:lnTo>
                    <a:lnTo>
                      <a:pt x="1125" y="946"/>
                    </a:lnTo>
                    <a:lnTo>
                      <a:pt x="1131" y="949"/>
                    </a:lnTo>
                    <a:lnTo>
                      <a:pt x="1169" y="960"/>
                    </a:lnTo>
                    <a:lnTo>
                      <a:pt x="1176" y="955"/>
                    </a:lnTo>
                    <a:lnTo>
                      <a:pt x="1193" y="958"/>
                    </a:lnTo>
                    <a:lnTo>
                      <a:pt x="1217" y="964"/>
                    </a:lnTo>
                    <a:lnTo>
                      <a:pt x="1227" y="963"/>
                    </a:lnTo>
                    <a:lnTo>
                      <a:pt x="1236" y="963"/>
                    </a:lnTo>
                    <a:lnTo>
                      <a:pt x="1236" y="952"/>
                    </a:lnTo>
                    <a:lnTo>
                      <a:pt x="1242" y="949"/>
                    </a:lnTo>
                    <a:lnTo>
                      <a:pt x="1245" y="949"/>
                    </a:lnTo>
                    <a:lnTo>
                      <a:pt x="1254" y="952"/>
                    </a:lnTo>
                    <a:lnTo>
                      <a:pt x="1260" y="949"/>
                    </a:lnTo>
                    <a:lnTo>
                      <a:pt x="1263" y="957"/>
                    </a:lnTo>
                    <a:lnTo>
                      <a:pt x="1274" y="963"/>
                    </a:lnTo>
                    <a:lnTo>
                      <a:pt x="1286" y="963"/>
                    </a:lnTo>
                    <a:lnTo>
                      <a:pt x="1292" y="960"/>
                    </a:lnTo>
                    <a:lnTo>
                      <a:pt x="1311" y="975"/>
                    </a:lnTo>
                    <a:lnTo>
                      <a:pt x="1320" y="988"/>
                    </a:lnTo>
                    <a:lnTo>
                      <a:pt x="1319" y="996"/>
                    </a:lnTo>
                    <a:lnTo>
                      <a:pt x="1329" y="1002"/>
                    </a:lnTo>
                    <a:lnTo>
                      <a:pt x="1331" y="1009"/>
                    </a:lnTo>
                    <a:lnTo>
                      <a:pt x="1337" y="1009"/>
                    </a:lnTo>
                    <a:lnTo>
                      <a:pt x="1346" y="1035"/>
                    </a:lnTo>
                    <a:lnTo>
                      <a:pt x="1362" y="1033"/>
                    </a:lnTo>
                    <a:lnTo>
                      <a:pt x="1368" y="1051"/>
                    </a:lnTo>
                    <a:lnTo>
                      <a:pt x="1379" y="1054"/>
                    </a:lnTo>
                    <a:lnTo>
                      <a:pt x="1379" y="1065"/>
                    </a:lnTo>
                    <a:lnTo>
                      <a:pt x="1374" y="1075"/>
                    </a:lnTo>
                    <a:lnTo>
                      <a:pt x="1376" y="1093"/>
                    </a:lnTo>
                    <a:lnTo>
                      <a:pt x="1385" y="1107"/>
                    </a:lnTo>
                    <a:lnTo>
                      <a:pt x="1400" y="1131"/>
                    </a:lnTo>
                    <a:lnTo>
                      <a:pt x="1406" y="1138"/>
                    </a:lnTo>
                    <a:lnTo>
                      <a:pt x="1415" y="1149"/>
                    </a:lnTo>
                    <a:lnTo>
                      <a:pt x="1424" y="1155"/>
                    </a:lnTo>
                    <a:lnTo>
                      <a:pt x="1428" y="1158"/>
                    </a:lnTo>
                    <a:lnTo>
                      <a:pt x="1449" y="1168"/>
                    </a:lnTo>
                    <a:lnTo>
                      <a:pt x="1466" y="1171"/>
                    </a:lnTo>
                    <a:lnTo>
                      <a:pt x="1473" y="1177"/>
                    </a:lnTo>
                    <a:lnTo>
                      <a:pt x="1475" y="1192"/>
                    </a:lnTo>
                    <a:lnTo>
                      <a:pt x="1464" y="1197"/>
                    </a:lnTo>
                    <a:lnTo>
                      <a:pt x="1457" y="1204"/>
                    </a:lnTo>
                    <a:lnTo>
                      <a:pt x="1452" y="1218"/>
                    </a:lnTo>
                    <a:lnTo>
                      <a:pt x="1457" y="1245"/>
                    </a:lnTo>
                    <a:lnTo>
                      <a:pt x="1461" y="1254"/>
                    </a:lnTo>
                    <a:lnTo>
                      <a:pt x="1472" y="1252"/>
                    </a:lnTo>
                    <a:lnTo>
                      <a:pt x="1476" y="1260"/>
                    </a:lnTo>
                    <a:lnTo>
                      <a:pt x="1476" y="1270"/>
                    </a:lnTo>
                    <a:lnTo>
                      <a:pt x="1484" y="1278"/>
                    </a:lnTo>
                    <a:lnTo>
                      <a:pt x="1500" y="1300"/>
                    </a:lnTo>
                    <a:lnTo>
                      <a:pt x="1509" y="1317"/>
                    </a:lnTo>
                    <a:lnTo>
                      <a:pt x="1499" y="1329"/>
                    </a:lnTo>
                    <a:lnTo>
                      <a:pt x="1505" y="1339"/>
                    </a:lnTo>
                    <a:lnTo>
                      <a:pt x="1517" y="1348"/>
                    </a:lnTo>
                    <a:lnTo>
                      <a:pt x="1521" y="1357"/>
                    </a:lnTo>
                    <a:lnTo>
                      <a:pt x="1512" y="1374"/>
                    </a:lnTo>
                    <a:lnTo>
                      <a:pt x="1509" y="1384"/>
                    </a:lnTo>
                    <a:lnTo>
                      <a:pt x="1520" y="1381"/>
                    </a:lnTo>
                    <a:lnTo>
                      <a:pt x="1524" y="1384"/>
                    </a:lnTo>
                    <a:lnTo>
                      <a:pt x="1539" y="1408"/>
                    </a:lnTo>
                    <a:lnTo>
                      <a:pt x="1535" y="1425"/>
                    </a:lnTo>
                    <a:lnTo>
                      <a:pt x="1539" y="1440"/>
                    </a:lnTo>
                    <a:lnTo>
                      <a:pt x="1539" y="1447"/>
                    </a:lnTo>
                    <a:lnTo>
                      <a:pt x="1535" y="1453"/>
                    </a:lnTo>
                    <a:lnTo>
                      <a:pt x="1536" y="1464"/>
                    </a:lnTo>
                    <a:lnTo>
                      <a:pt x="1541" y="1471"/>
                    </a:lnTo>
                    <a:lnTo>
                      <a:pt x="1545" y="1471"/>
                    </a:lnTo>
                    <a:lnTo>
                      <a:pt x="1547" y="1498"/>
                    </a:lnTo>
                    <a:lnTo>
                      <a:pt x="1547" y="1510"/>
                    </a:lnTo>
                    <a:lnTo>
                      <a:pt x="1533" y="1516"/>
                    </a:lnTo>
                    <a:lnTo>
                      <a:pt x="1520" y="1519"/>
                    </a:lnTo>
                    <a:lnTo>
                      <a:pt x="1517" y="1536"/>
                    </a:lnTo>
                    <a:lnTo>
                      <a:pt x="1536" y="1555"/>
                    </a:lnTo>
                    <a:lnTo>
                      <a:pt x="1535" y="1566"/>
                    </a:lnTo>
                    <a:lnTo>
                      <a:pt x="1542" y="1590"/>
                    </a:lnTo>
                    <a:lnTo>
                      <a:pt x="1541" y="1602"/>
                    </a:lnTo>
                    <a:lnTo>
                      <a:pt x="1541" y="1612"/>
                    </a:lnTo>
                    <a:lnTo>
                      <a:pt x="1530" y="1629"/>
                    </a:lnTo>
                    <a:lnTo>
                      <a:pt x="1533" y="1665"/>
                    </a:lnTo>
                    <a:lnTo>
                      <a:pt x="1542" y="1663"/>
                    </a:lnTo>
                    <a:lnTo>
                      <a:pt x="1550" y="1644"/>
                    </a:lnTo>
                    <a:lnTo>
                      <a:pt x="1557" y="1642"/>
                    </a:lnTo>
                    <a:lnTo>
                      <a:pt x="1575" y="1659"/>
                    </a:lnTo>
                    <a:lnTo>
                      <a:pt x="1584" y="1668"/>
                    </a:lnTo>
                    <a:lnTo>
                      <a:pt x="1596" y="1668"/>
                    </a:lnTo>
                    <a:lnTo>
                      <a:pt x="1599" y="1675"/>
                    </a:lnTo>
                    <a:lnTo>
                      <a:pt x="1595" y="1696"/>
                    </a:lnTo>
                    <a:lnTo>
                      <a:pt x="1590" y="1701"/>
                    </a:lnTo>
                    <a:lnTo>
                      <a:pt x="1586" y="1707"/>
                    </a:lnTo>
                    <a:lnTo>
                      <a:pt x="1560" y="1708"/>
                    </a:lnTo>
                    <a:lnTo>
                      <a:pt x="1553" y="1720"/>
                    </a:lnTo>
                    <a:lnTo>
                      <a:pt x="1547" y="1728"/>
                    </a:lnTo>
                    <a:lnTo>
                      <a:pt x="1532" y="1732"/>
                    </a:lnTo>
                    <a:lnTo>
                      <a:pt x="1523" y="1752"/>
                    </a:lnTo>
                    <a:lnTo>
                      <a:pt x="1517" y="1753"/>
                    </a:lnTo>
                    <a:lnTo>
                      <a:pt x="1503" y="1758"/>
                    </a:lnTo>
                    <a:lnTo>
                      <a:pt x="1494" y="1762"/>
                    </a:lnTo>
                    <a:lnTo>
                      <a:pt x="1487" y="1768"/>
                    </a:lnTo>
                    <a:lnTo>
                      <a:pt x="1484" y="1770"/>
                    </a:lnTo>
                    <a:lnTo>
                      <a:pt x="1470" y="1771"/>
                    </a:lnTo>
                    <a:lnTo>
                      <a:pt x="1463" y="1770"/>
                    </a:lnTo>
                    <a:lnTo>
                      <a:pt x="1439" y="1764"/>
                    </a:lnTo>
                    <a:lnTo>
                      <a:pt x="1431" y="1764"/>
                    </a:lnTo>
                    <a:lnTo>
                      <a:pt x="1421" y="1761"/>
                    </a:lnTo>
                    <a:lnTo>
                      <a:pt x="1389" y="1752"/>
                    </a:lnTo>
                    <a:lnTo>
                      <a:pt x="1385" y="1747"/>
                    </a:lnTo>
                    <a:lnTo>
                      <a:pt x="1397" y="1732"/>
                    </a:lnTo>
                    <a:lnTo>
                      <a:pt x="1385" y="1732"/>
                    </a:lnTo>
                    <a:lnTo>
                      <a:pt x="1374" y="1731"/>
                    </a:lnTo>
                    <a:lnTo>
                      <a:pt x="1365" y="1735"/>
                    </a:lnTo>
                    <a:lnTo>
                      <a:pt x="1352" y="1746"/>
                    </a:lnTo>
                    <a:lnTo>
                      <a:pt x="1350" y="1753"/>
                    </a:lnTo>
                    <a:lnTo>
                      <a:pt x="1349" y="1764"/>
                    </a:lnTo>
                    <a:lnTo>
                      <a:pt x="1340" y="1759"/>
                    </a:lnTo>
                    <a:lnTo>
                      <a:pt x="1341" y="1750"/>
                    </a:lnTo>
                    <a:lnTo>
                      <a:pt x="1334" y="1747"/>
                    </a:lnTo>
                    <a:lnTo>
                      <a:pt x="1331" y="1758"/>
                    </a:lnTo>
                    <a:lnTo>
                      <a:pt x="1320" y="1753"/>
                    </a:lnTo>
                    <a:lnTo>
                      <a:pt x="1316" y="1762"/>
                    </a:lnTo>
                    <a:lnTo>
                      <a:pt x="1304" y="1767"/>
                    </a:lnTo>
                    <a:lnTo>
                      <a:pt x="1290" y="1765"/>
                    </a:lnTo>
                    <a:lnTo>
                      <a:pt x="1283" y="1771"/>
                    </a:lnTo>
                    <a:lnTo>
                      <a:pt x="1263" y="1755"/>
                    </a:lnTo>
                    <a:lnTo>
                      <a:pt x="1281" y="1735"/>
                    </a:lnTo>
                    <a:lnTo>
                      <a:pt x="1287" y="1705"/>
                    </a:lnTo>
                    <a:lnTo>
                      <a:pt x="1286" y="1699"/>
                    </a:lnTo>
                    <a:lnTo>
                      <a:pt x="1278" y="1705"/>
                    </a:lnTo>
                    <a:lnTo>
                      <a:pt x="1272" y="1704"/>
                    </a:lnTo>
                    <a:lnTo>
                      <a:pt x="1268" y="1704"/>
                    </a:lnTo>
                    <a:lnTo>
                      <a:pt x="1257" y="1719"/>
                    </a:lnTo>
                    <a:lnTo>
                      <a:pt x="1238" y="1723"/>
                    </a:lnTo>
                    <a:lnTo>
                      <a:pt x="1230" y="1719"/>
                    </a:lnTo>
                    <a:lnTo>
                      <a:pt x="1223" y="1726"/>
                    </a:lnTo>
                    <a:lnTo>
                      <a:pt x="1217" y="1720"/>
                    </a:lnTo>
                    <a:lnTo>
                      <a:pt x="1209" y="1725"/>
                    </a:lnTo>
                    <a:lnTo>
                      <a:pt x="1205" y="1723"/>
                    </a:lnTo>
                    <a:lnTo>
                      <a:pt x="1197" y="1725"/>
                    </a:lnTo>
                    <a:lnTo>
                      <a:pt x="1190" y="1729"/>
                    </a:lnTo>
                    <a:lnTo>
                      <a:pt x="1173" y="1752"/>
                    </a:lnTo>
                    <a:lnTo>
                      <a:pt x="1149" y="1756"/>
                    </a:lnTo>
                    <a:lnTo>
                      <a:pt x="1133" y="1764"/>
                    </a:lnTo>
                    <a:lnTo>
                      <a:pt x="1122" y="1765"/>
                    </a:lnTo>
                    <a:lnTo>
                      <a:pt x="1115" y="1762"/>
                    </a:lnTo>
                    <a:lnTo>
                      <a:pt x="1104" y="1761"/>
                    </a:lnTo>
                    <a:lnTo>
                      <a:pt x="1079" y="1764"/>
                    </a:lnTo>
                    <a:lnTo>
                      <a:pt x="1073" y="1767"/>
                    </a:lnTo>
                    <a:lnTo>
                      <a:pt x="1065" y="1782"/>
                    </a:lnTo>
                    <a:lnTo>
                      <a:pt x="1067" y="1791"/>
                    </a:lnTo>
                    <a:lnTo>
                      <a:pt x="1061" y="1791"/>
                    </a:lnTo>
                    <a:lnTo>
                      <a:pt x="1059" y="1792"/>
                    </a:lnTo>
                    <a:lnTo>
                      <a:pt x="1067" y="1798"/>
                    </a:lnTo>
                    <a:lnTo>
                      <a:pt x="1068" y="1807"/>
                    </a:lnTo>
                    <a:lnTo>
                      <a:pt x="1073" y="1813"/>
                    </a:lnTo>
                    <a:lnTo>
                      <a:pt x="1050" y="1798"/>
                    </a:lnTo>
                    <a:lnTo>
                      <a:pt x="1028" y="1785"/>
                    </a:lnTo>
                    <a:lnTo>
                      <a:pt x="1022" y="1776"/>
                    </a:lnTo>
                    <a:close/>
                  </a:path>
                </a:pathLst>
              </a:custGeom>
              <a:solidFill>
                <a:srgbClr val="99CC00"/>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3" name="Freeform 243">
                <a:extLst>
                  <a:ext uri="{FF2B5EF4-FFF2-40B4-BE49-F238E27FC236}">
                    <a16:creationId xmlns:a16="http://schemas.microsoft.com/office/drawing/2014/main" id="{2A068193-E11F-B44C-D51A-7CF673A854E3}"/>
                  </a:ext>
                </a:extLst>
              </p:cNvPr>
              <p:cNvSpPr>
                <a:spLocks/>
              </p:cNvSpPr>
              <p:nvPr/>
            </p:nvSpPr>
            <p:spPr bwMode="auto">
              <a:xfrm>
                <a:off x="2015" y="1185"/>
                <a:ext cx="462" cy="324"/>
              </a:xfrm>
              <a:custGeom>
                <a:avLst/>
                <a:gdLst>
                  <a:gd name="T0" fmla="*/ 0 w 1386"/>
                  <a:gd name="T1" fmla="*/ 0 h 971"/>
                  <a:gd name="T2" fmla="*/ 0 w 1386"/>
                  <a:gd name="T3" fmla="*/ 0 h 971"/>
                  <a:gd name="T4" fmla="*/ 0 w 1386"/>
                  <a:gd name="T5" fmla="*/ 0 h 971"/>
                  <a:gd name="T6" fmla="*/ 0 w 1386"/>
                  <a:gd name="T7" fmla="*/ 0 h 971"/>
                  <a:gd name="T8" fmla="*/ 0 w 1386"/>
                  <a:gd name="T9" fmla="*/ 0 h 971"/>
                  <a:gd name="T10" fmla="*/ 0 w 1386"/>
                  <a:gd name="T11" fmla="*/ 0 h 971"/>
                  <a:gd name="T12" fmla="*/ 0 w 1386"/>
                  <a:gd name="T13" fmla="*/ 0 h 971"/>
                  <a:gd name="T14" fmla="*/ 0 w 1386"/>
                  <a:gd name="T15" fmla="*/ 0 h 971"/>
                  <a:gd name="T16" fmla="*/ 0 w 1386"/>
                  <a:gd name="T17" fmla="*/ 0 h 971"/>
                  <a:gd name="T18" fmla="*/ 0 w 1386"/>
                  <a:gd name="T19" fmla="*/ 0 h 971"/>
                  <a:gd name="T20" fmla="*/ 0 w 1386"/>
                  <a:gd name="T21" fmla="*/ 0 h 971"/>
                  <a:gd name="T22" fmla="*/ 0 w 1386"/>
                  <a:gd name="T23" fmla="*/ 0 h 971"/>
                  <a:gd name="T24" fmla="*/ 0 w 1386"/>
                  <a:gd name="T25" fmla="*/ 0 h 971"/>
                  <a:gd name="T26" fmla="*/ 0 w 1386"/>
                  <a:gd name="T27" fmla="*/ 0 h 971"/>
                  <a:gd name="T28" fmla="*/ 0 w 1386"/>
                  <a:gd name="T29" fmla="*/ 0 h 971"/>
                  <a:gd name="T30" fmla="*/ 0 w 1386"/>
                  <a:gd name="T31" fmla="*/ 0 h 971"/>
                  <a:gd name="T32" fmla="*/ 0 w 1386"/>
                  <a:gd name="T33" fmla="*/ 0 h 971"/>
                  <a:gd name="T34" fmla="*/ 0 w 1386"/>
                  <a:gd name="T35" fmla="*/ 0 h 971"/>
                  <a:gd name="T36" fmla="*/ 0 w 1386"/>
                  <a:gd name="T37" fmla="*/ 0 h 971"/>
                  <a:gd name="T38" fmla="*/ 0 w 1386"/>
                  <a:gd name="T39" fmla="*/ 0 h 971"/>
                  <a:gd name="T40" fmla="*/ 0 w 1386"/>
                  <a:gd name="T41" fmla="*/ 0 h 971"/>
                  <a:gd name="T42" fmla="*/ 0 w 1386"/>
                  <a:gd name="T43" fmla="*/ 0 h 971"/>
                  <a:gd name="T44" fmla="*/ 0 w 1386"/>
                  <a:gd name="T45" fmla="*/ 0 h 971"/>
                  <a:gd name="T46" fmla="*/ 0 w 1386"/>
                  <a:gd name="T47" fmla="*/ 0 h 971"/>
                  <a:gd name="T48" fmla="*/ 0 w 1386"/>
                  <a:gd name="T49" fmla="*/ 0 h 971"/>
                  <a:gd name="T50" fmla="*/ 0 w 1386"/>
                  <a:gd name="T51" fmla="*/ 0 h 971"/>
                  <a:gd name="T52" fmla="*/ 0 w 1386"/>
                  <a:gd name="T53" fmla="*/ 0 h 971"/>
                  <a:gd name="T54" fmla="*/ 0 w 1386"/>
                  <a:gd name="T55" fmla="*/ 0 h 971"/>
                  <a:gd name="T56" fmla="*/ 0 w 1386"/>
                  <a:gd name="T57" fmla="*/ 0 h 971"/>
                  <a:gd name="T58" fmla="*/ 0 w 1386"/>
                  <a:gd name="T59" fmla="*/ 0 h 971"/>
                  <a:gd name="T60" fmla="*/ 0 w 1386"/>
                  <a:gd name="T61" fmla="*/ 0 h 971"/>
                  <a:gd name="T62" fmla="*/ 0 w 1386"/>
                  <a:gd name="T63" fmla="*/ 0 h 971"/>
                  <a:gd name="T64" fmla="*/ 0 w 1386"/>
                  <a:gd name="T65" fmla="*/ 0 h 971"/>
                  <a:gd name="T66" fmla="*/ 0 w 1386"/>
                  <a:gd name="T67" fmla="*/ 0 h 971"/>
                  <a:gd name="T68" fmla="*/ 0 w 1386"/>
                  <a:gd name="T69" fmla="*/ 0 h 971"/>
                  <a:gd name="T70" fmla="*/ 0 w 1386"/>
                  <a:gd name="T71" fmla="*/ 0 h 971"/>
                  <a:gd name="T72" fmla="*/ 0 w 1386"/>
                  <a:gd name="T73" fmla="*/ 0 h 971"/>
                  <a:gd name="T74" fmla="*/ 0 w 1386"/>
                  <a:gd name="T75" fmla="*/ 0 h 971"/>
                  <a:gd name="T76" fmla="*/ 0 w 1386"/>
                  <a:gd name="T77" fmla="*/ 0 h 971"/>
                  <a:gd name="T78" fmla="*/ 0 w 1386"/>
                  <a:gd name="T79" fmla="*/ 0 h 971"/>
                  <a:gd name="T80" fmla="*/ 0 w 1386"/>
                  <a:gd name="T81" fmla="*/ 0 h 971"/>
                  <a:gd name="T82" fmla="*/ 0 w 1386"/>
                  <a:gd name="T83" fmla="*/ 0 h 971"/>
                  <a:gd name="T84" fmla="*/ 0 w 1386"/>
                  <a:gd name="T85" fmla="*/ 0 h 971"/>
                  <a:gd name="T86" fmla="*/ 0 w 1386"/>
                  <a:gd name="T87" fmla="*/ 0 h 971"/>
                  <a:gd name="T88" fmla="*/ 0 w 1386"/>
                  <a:gd name="T89" fmla="*/ 0 h 971"/>
                  <a:gd name="T90" fmla="*/ 0 w 1386"/>
                  <a:gd name="T91" fmla="*/ 0 h 971"/>
                  <a:gd name="T92" fmla="*/ 0 w 1386"/>
                  <a:gd name="T93" fmla="*/ 0 h 971"/>
                  <a:gd name="T94" fmla="*/ 0 w 1386"/>
                  <a:gd name="T95" fmla="*/ 0 h 971"/>
                  <a:gd name="T96" fmla="*/ 0 w 1386"/>
                  <a:gd name="T97" fmla="*/ 0 h 971"/>
                  <a:gd name="T98" fmla="*/ 0 w 1386"/>
                  <a:gd name="T99" fmla="*/ 0 h 971"/>
                  <a:gd name="T100" fmla="*/ 0 w 1386"/>
                  <a:gd name="T101" fmla="*/ 0 h 971"/>
                  <a:gd name="T102" fmla="*/ 0 w 1386"/>
                  <a:gd name="T103" fmla="*/ 0 h 971"/>
                  <a:gd name="T104" fmla="*/ 0 w 1386"/>
                  <a:gd name="T105" fmla="*/ 0 h 971"/>
                  <a:gd name="T106" fmla="*/ 0 w 1386"/>
                  <a:gd name="T107" fmla="*/ 0 h 971"/>
                  <a:gd name="T108" fmla="*/ 0 w 1386"/>
                  <a:gd name="T109" fmla="*/ 0 h 971"/>
                  <a:gd name="T110" fmla="*/ 0 w 1386"/>
                  <a:gd name="T111" fmla="*/ 0 h 971"/>
                  <a:gd name="T112" fmla="*/ 0 w 1386"/>
                  <a:gd name="T113" fmla="*/ 0 h 971"/>
                  <a:gd name="T114" fmla="*/ 0 w 1386"/>
                  <a:gd name="T115" fmla="*/ 0 h 971"/>
                  <a:gd name="T116" fmla="*/ 0 w 1386"/>
                  <a:gd name="T117" fmla="*/ 0 h 971"/>
                  <a:gd name="T118" fmla="*/ 0 w 1386"/>
                  <a:gd name="T119" fmla="*/ 0 h 9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386" h="971">
                    <a:moveTo>
                      <a:pt x="775" y="443"/>
                    </a:moveTo>
                    <a:lnTo>
                      <a:pt x="768" y="435"/>
                    </a:lnTo>
                    <a:lnTo>
                      <a:pt x="756" y="413"/>
                    </a:lnTo>
                    <a:lnTo>
                      <a:pt x="747" y="410"/>
                    </a:lnTo>
                    <a:lnTo>
                      <a:pt x="747" y="396"/>
                    </a:lnTo>
                    <a:lnTo>
                      <a:pt x="730" y="399"/>
                    </a:lnTo>
                    <a:lnTo>
                      <a:pt x="739" y="396"/>
                    </a:lnTo>
                    <a:lnTo>
                      <a:pt x="747" y="389"/>
                    </a:lnTo>
                    <a:lnTo>
                      <a:pt x="742" y="375"/>
                    </a:lnTo>
                    <a:lnTo>
                      <a:pt x="751" y="368"/>
                    </a:lnTo>
                    <a:lnTo>
                      <a:pt x="736" y="360"/>
                    </a:lnTo>
                    <a:lnTo>
                      <a:pt x="723" y="360"/>
                    </a:lnTo>
                    <a:lnTo>
                      <a:pt x="702" y="350"/>
                    </a:lnTo>
                    <a:lnTo>
                      <a:pt x="702" y="339"/>
                    </a:lnTo>
                    <a:lnTo>
                      <a:pt x="697" y="332"/>
                    </a:lnTo>
                    <a:lnTo>
                      <a:pt x="682" y="330"/>
                    </a:lnTo>
                    <a:lnTo>
                      <a:pt x="676" y="324"/>
                    </a:lnTo>
                    <a:lnTo>
                      <a:pt x="663" y="320"/>
                    </a:lnTo>
                    <a:lnTo>
                      <a:pt x="663" y="314"/>
                    </a:lnTo>
                    <a:lnTo>
                      <a:pt x="666" y="311"/>
                    </a:lnTo>
                    <a:lnTo>
                      <a:pt x="669" y="300"/>
                    </a:lnTo>
                    <a:lnTo>
                      <a:pt x="666" y="291"/>
                    </a:lnTo>
                    <a:lnTo>
                      <a:pt x="661" y="270"/>
                    </a:lnTo>
                    <a:lnTo>
                      <a:pt x="661" y="261"/>
                    </a:lnTo>
                    <a:lnTo>
                      <a:pt x="657" y="249"/>
                    </a:lnTo>
                    <a:lnTo>
                      <a:pt x="649" y="242"/>
                    </a:lnTo>
                    <a:lnTo>
                      <a:pt x="640" y="234"/>
                    </a:lnTo>
                    <a:lnTo>
                      <a:pt x="636" y="224"/>
                    </a:lnTo>
                    <a:lnTo>
                      <a:pt x="628" y="228"/>
                    </a:lnTo>
                    <a:lnTo>
                      <a:pt x="627" y="224"/>
                    </a:lnTo>
                    <a:lnTo>
                      <a:pt x="616" y="225"/>
                    </a:lnTo>
                    <a:lnTo>
                      <a:pt x="613" y="213"/>
                    </a:lnTo>
                    <a:lnTo>
                      <a:pt x="615" y="207"/>
                    </a:lnTo>
                    <a:lnTo>
                      <a:pt x="607" y="197"/>
                    </a:lnTo>
                    <a:lnTo>
                      <a:pt x="598" y="198"/>
                    </a:lnTo>
                    <a:lnTo>
                      <a:pt x="591" y="192"/>
                    </a:lnTo>
                    <a:lnTo>
                      <a:pt x="580" y="186"/>
                    </a:lnTo>
                    <a:lnTo>
                      <a:pt x="576" y="174"/>
                    </a:lnTo>
                    <a:lnTo>
                      <a:pt x="565" y="171"/>
                    </a:lnTo>
                    <a:lnTo>
                      <a:pt x="565" y="164"/>
                    </a:lnTo>
                    <a:lnTo>
                      <a:pt x="571" y="161"/>
                    </a:lnTo>
                    <a:lnTo>
                      <a:pt x="573" y="153"/>
                    </a:lnTo>
                    <a:lnTo>
                      <a:pt x="570" y="149"/>
                    </a:lnTo>
                    <a:lnTo>
                      <a:pt x="567" y="143"/>
                    </a:lnTo>
                    <a:lnTo>
                      <a:pt x="579" y="132"/>
                    </a:lnTo>
                    <a:lnTo>
                      <a:pt x="567" y="129"/>
                    </a:lnTo>
                    <a:lnTo>
                      <a:pt x="561" y="122"/>
                    </a:lnTo>
                    <a:lnTo>
                      <a:pt x="561" y="116"/>
                    </a:lnTo>
                    <a:lnTo>
                      <a:pt x="559" y="116"/>
                    </a:lnTo>
                    <a:lnTo>
                      <a:pt x="553" y="123"/>
                    </a:lnTo>
                    <a:lnTo>
                      <a:pt x="531" y="123"/>
                    </a:lnTo>
                    <a:lnTo>
                      <a:pt x="510" y="120"/>
                    </a:lnTo>
                    <a:lnTo>
                      <a:pt x="501" y="107"/>
                    </a:lnTo>
                    <a:lnTo>
                      <a:pt x="513" y="104"/>
                    </a:lnTo>
                    <a:lnTo>
                      <a:pt x="487" y="99"/>
                    </a:lnTo>
                    <a:lnTo>
                      <a:pt x="486" y="96"/>
                    </a:lnTo>
                    <a:lnTo>
                      <a:pt x="490" y="93"/>
                    </a:lnTo>
                    <a:lnTo>
                      <a:pt x="502" y="90"/>
                    </a:lnTo>
                    <a:lnTo>
                      <a:pt x="505" y="83"/>
                    </a:lnTo>
                    <a:lnTo>
                      <a:pt x="519" y="81"/>
                    </a:lnTo>
                    <a:lnTo>
                      <a:pt x="522" y="75"/>
                    </a:lnTo>
                    <a:lnTo>
                      <a:pt x="511" y="77"/>
                    </a:lnTo>
                    <a:lnTo>
                      <a:pt x="510" y="68"/>
                    </a:lnTo>
                    <a:lnTo>
                      <a:pt x="516" y="59"/>
                    </a:lnTo>
                    <a:lnTo>
                      <a:pt x="510" y="54"/>
                    </a:lnTo>
                    <a:lnTo>
                      <a:pt x="495" y="57"/>
                    </a:lnTo>
                    <a:lnTo>
                      <a:pt x="478" y="62"/>
                    </a:lnTo>
                    <a:lnTo>
                      <a:pt x="480" y="56"/>
                    </a:lnTo>
                    <a:lnTo>
                      <a:pt x="472" y="54"/>
                    </a:lnTo>
                    <a:lnTo>
                      <a:pt x="460" y="60"/>
                    </a:lnTo>
                    <a:lnTo>
                      <a:pt x="456" y="71"/>
                    </a:lnTo>
                    <a:lnTo>
                      <a:pt x="447" y="102"/>
                    </a:lnTo>
                    <a:lnTo>
                      <a:pt x="439" y="105"/>
                    </a:lnTo>
                    <a:lnTo>
                      <a:pt x="447" y="116"/>
                    </a:lnTo>
                    <a:lnTo>
                      <a:pt x="441" y="117"/>
                    </a:lnTo>
                    <a:lnTo>
                      <a:pt x="432" y="122"/>
                    </a:lnTo>
                    <a:lnTo>
                      <a:pt x="427" y="132"/>
                    </a:lnTo>
                    <a:lnTo>
                      <a:pt x="409" y="143"/>
                    </a:lnTo>
                    <a:lnTo>
                      <a:pt x="406" y="141"/>
                    </a:lnTo>
                    <a:lnTo>
                      <a:pt x="411" y="137"/>
                    </a:lnTo>
                    <a:lnTo>
                      <a:pt x="421" y="134"/>
                    </a:lnTo>
                    <a:lnTo>
                      <a:pt x="424" y="125"/>
                    </a:lnTo>
                    <a:lnTo>
                      <a:pt x="424" y="114"/>
                    </a:lnTo>
                    <a:lnTo>
                      <a:pt x="427" y="111"/>
                    </a:lnTo>
                    <a:lnTo>
                      <a:pt x="441" y="96"/>
                    </a:lnTo>
                    <a:lnTo>
                      <a:pt x="444" y="77"/>
                    </a:lnTo>
                    <a:lnTo>
                      <a:pt x="453" y="68"/>
                    </a:lnTo>
                    <a:lnTo>
                      <a:pt x="454" y="56"/>
                    </a:lnTo>
                    <a:lnTo>
                      <a:pt x="454" y="51"/>
                    </a:lnTo>
                    <a:lnTo>
                      <a:pt x="454" y="44"/>
                    </a:lnTo>
                    <a:lnTo>
                      <a:pt x="447" y="42"/>
                    </a:lnTo>
                    <a:lnTo>
                      <a:pt x="456" y="29"/>
                    </a:lnTo>
                    <a:lnTo>
                      <a:pt x="451" y="18"/>
                    </a:lnTo>
                    <a:lnTo>
                      <a:pt x="450" y="12"/>
                    </a:lnTo>
                    <a:lnTo>
                      <a:pt x="454" y="8"/>
                    </a:lnTo>
                    <a:lnTo>
                      <a:pt x="460" y="14"/>
                    </a:lnTo>
                    <a:lnTo>
                      <a:pt x="459" y="8"/>
                    </a:lnTo>
                    <a:lnTo>
                      <a:pt x="454" y="3"/>
                    </a:lnTo>
                    <a:lnTo>
                      <a:pt x="433" y="3"/>
                    </a:lnTo>
                    <a:lnTo>
                      <a:pt x="420" y="8"/>
                    </a:lnTo>
                    <a:lnTo>
                      <a:pt x="417" y="12"/>
                    </a:lnTo>
                    <a:lnTo>
                      <a:pt x="397" y="21"/>
                    </a:lnTo>
                    <a:lnTo>
                      <a:pt x="390" y="20"/>
                    </a:lnTo>
                    <a:lnTo>
                      <a:pt x="385" y="32"/>
                    </a:lnTo>
                    <a:lnTo>
                      <a:pt x="379" y="32"/>
                    </a:lnTo>
                    <a:lnTo>
                      <a:pt x="370" y="39"/>
                    </a:lnTo>
                    <a:lnTo>
                      <a:pt x="364" y="56"/>
                    </a:lnTo>
                    <a:lnTo>
                      <a:pt x="361" y="66"/>
                    </a:lnTo>
                    <a:lnTo>
                      <a:pt x="354" y="80"/>
                    </a:lnTo>
                    <a:lnTo>
                      <a:pt x="343" y="83"/>
                    </a:lnTo>
                    <a:lnTo>
                      <a:pt x="358" y="66"/>
                    </a:lnTo>
                    <a:lnTo>
                      <a:pt x="363" y="42"/>
                    </a:lnTo>
                    <a:lnTo>
                      <a:pt x="358" y="39"/>
                    </a:lnTo>
                    <a:lnTo>
                      <a:pt x="354" y="39"/>
                    </a:lnTo>
                    <a:lnTo>
                      <a:pt x="349" y="41"/>
                    </a:lnTo>
                    <a:lnTo>
                      <a:pt x="355" y="27"/>
                    </a:lnTo>
                    <a:lnTo>
                      <a:pt x="349" y="5"/>
                    </a:lnTo>
                    <a:lnTo>
                      <a:pt x="340" y="0"/>
                    </a:lnTo>
                    <a:lnTo>
                      <a:pt x="328" y="14"/>
                    </a:lnTo>
                    <a:lnTo>
                      <a:pt x="319" y="30"/>
                    </a:lnTo>
                    <a:lnTo>
                      <a:pt x="309" y="41"/>
                    </a:lnTo>
                    <a:lnTo>
                      <a:pt x="304" y="35"/>
                    </a:lnTo>
                    <a:lnTo>
                      <a:pt x="304" y="32"/>
                    </a:lnTo>
                    <a:lnTo>
                      <a:pt x="297" y="32"/>
                    </a:lnTo>
                    <a:lnTo>
                      <a:pt x="291" y="44"/>
                    </a:lnTo>
                    <a:lnTo>
                      <a:pt x="283" y="38"/>
                    </a:lnTo>
                    <a:lnTo>
                      <a:pt x="264" y="36"/>
                    </a:lnTo>
                    <a:lnTo>
                      <a:pt x="256" y="47"/>
                    </a:lnTo>
                    <a:lnTo>
                      <a:pt x="244" y="53"/>
                    </a:lnTo>
                    <a:lnTo>
                      <a:pt x="243" y="56"/>
                    </a:lnTo>
                    <a:lnTo>
                      <a:pt x="232" y="54"/>
                    </a:lnTo>
                    <a:lnTo>
                      <a:pt x="234" y="59"/>
                    </a:lnTo>
                    <a:lnTo>
                      <a:pt x="214" y="60"/>
                    </a:lnTo>
                    <a:lnTo>
                      <a:pt x="213" y="77"/>
                    </a:lnTo>
                    <a:lnTo>
                      <a:pt x="174" y="83"/>
                    </a:lnTo>
                    <a:lnTo>
                      <a:pt x="172" y="75"/>
                    </a:lnTo>
                    <a:lnTo>
                      <a:pt x="177" y="72"/>
                    </a:lnTo>
                    <a:lnTo>
                      <a:pt x="177" y="66"/>
                    </a:lnTo>
                    <a:lnTo>
                      <a:pt x="183" y="57"/>
                    </a:lnTo>
                    <a:lnTo>
                      <a:pt x="175" y="57"/>
                    </a:lnTo>
                    <a:lnTo>
                      <a:pt x="160" y="62"/>
                    </a:lnTo>
                    <a:lnTo>
                      <a:pt x="156" y="60"/>
                    </a:lnTo>
                    <a:lnTo>
                      <a:pt x="156" y="54"/>
                    </a:lnTo>
                    <a:lnTo>
                      <a:pt x="150" y="50"/>
                    </a:lnTo>
                    <a:lnTo>
                      <a:pt x="144" y="36"/>
                    </a:lnTo>
                    <a:lnTo>
                      <a:pt x="138" y="36"/>
                    </a:lnTo>
                    <a:lnTo>
                      <a:pt x="133" y="44"/>
                    </a:lnTo>
                    <a:lnTo>
                      <a:pt x="139" y="50"/>
                    </a:lnTo>
                    <a:lnTo>
                      <a:pt x="135" y="51"/>
                    </a:lnTo>
                    <a:lnTo>
                      <a:pt x="127" y="45"/>
                    </a:lnTo>
                    <a:lnTo>
                      <a:pt x="126" y="47"/>
                    </a:lnTo>
                    <a:lnTo>
                      <a:pt x="126" y="51"/>
                    </a:lnTo>
                    <a:lnTo>
                      <a:pt x="117" y="48"/>
                    </a:lnTo>
                    <a:lnTo>
                      <a:pt x="126" y="38"/>
                    </a:lnTo>
                    <a:lnTo>
                      <a:pt x="124" y="35"/>
                    </a:lnTo>
                    <a:lnTo>
                      <a:pt x="112" y="41"/>
                    </a:lnTo>
                    <a:lnTo>
                      <a:pt x="108" y="48"/>
                    </a:lnTo>
                    <a:lnTo>
                      <a:pt x="109" y="57"/>
                    </a:lnTo>
                    <a:lnTo>
                      <a:pt x="97" y="51"/>
                    </a:lnTo>
                    <a:lnTo>
                      <a:pt x="93" y="53"/>
                    </a:lnTo>
                    <a:lnTo>
                      <a:pt x="94" y="60"/>
                    </a:lnTo>
                    <a:lnTo>
                      <a:pt x="88" y="63"/>
                    </a:lnTo>
                    <a:lnTo>
                      <a:pt x="88" y="69"/>
                    </a:lnTo>
                    <a:lnTo>
                      <a:pt x="96" y="68"/>
                    </a:lnTo>
                    <a:lnTo>
                      <a:pt x="99" y="77"/>
                    </a:lnTo>
                    <a:lnTo>
                      <a:pt x="93" y="78"/>
                    </a:lnTo>
                    <a:lnTo>
                      <a:pt x="91" y="84"/>
                    </a:lnTo>
                    <a:lnTo>
                      <a:pt x="81" y="89"/>
                    </a:lnTo>
                    <a:lnTo>
                      <a:pt x="72" y="83"/>
                    </a:lnTo>
                    <a:lnTo>
                      <a:pt x="70" y="90"/>
                    </a:lnTo>
                    <a:lnTo>
                      <a:pt x="61" y="95"/>
                    </a:lnTo>
                    <a:lnTo>
                      <a:pt x="67" y="104"/>
                    </a:lnTo>
                    <a:lnTo>
                      <a:pt x="63" y="102"/>
                    </a:lnTo>
                    <a:lnTo>
                      <a:pt x="58" y="105"/>
                    </a:lnTo>
                    <a:lnTo>
                      <a:pt x="58" y="114"/>
                    </a:lnTo>
                    <a:lnTo>
                      <a:pt x="64" y="123"/>
                    </a:lnTo>
                    <a:lnTo>
                      <a:pt x="57" y="126"/>
                    </a:lnTo>
                    <a:lnTo>
                      <a:pt x="58" y="131"/>
                    </a:lnTo>
                    <a:lnTo>
                      <a:pt x="75" y="126"/>
                    </a:lnTo>
                    <a:lnTo>
                      <a:pt x="88" y="143"/>
                    </a:lnTo>
                    <a:lnTo>
                      <a:pt x="85" y="155"/>
                    </a:lnTo>
                    <a:lnTo>
                      <a:pt x="87" y="158"/>
                    </a:lnTo>
                    <a:lnTo>
                      <a:pt x="94" y="155"/>
                    </a:lnTo>
                    <a:lnTo>
                      <a:pt x="100" y="156"/>
                    </a:lnTo>
                    <a:lnTo>
                      <a:pt x="105" y="153"/>
                    </a:lnTo>
                    <a:lnTo>
                      <a:pt x="108" y="158"/>
                    </a:lnTo>
                    <a:lnTo>
                      <a:pt x="115" y="155"/>
                    </a:lnTo>
                    <a:lnTo>
                      <a:pt x="121" y="155"/>
                    </a:lnTo>
                    <a:lnTo>
                      <a:pt x="133" y="153"/>
                    </a:lnTo>
                    <a:lnTo>
                      <a:pt x="141" y="150"/>
                    </a:lnTo>
                    <a:lnTo>
                      <a:pt x="145" y="155"/>
                    </a:lnTo>
                    <a:lnTo>
                      <a:pt x="144" y="156"/>
                    </a:lnTo>
                    <a:lnTo>
                      <a:pt x="136" y="156"/>
                    </a:lnTo>
                    <a:lnTo>
                      <a:pt x="132" y="158"/>
                    </a:lnTo>
                    <a:lnTo>
                      <a:pt x="126" y="158"/>
                    </a:lnTo>
                    <a:lnTo>
                      <a:pt x="118" y="161"/>
                    </a:lnTo>
                    <a:lnTo>
                      <a:pt x="111" y="159"/>
                    </a:lnTo>
                    <a:lnTo>
                      <a:pt x="109" y="161"/>
                    </a:lnTo>
                    <a:lnTo>
                      <a:pt x="102" y="161"/>
                    </a:lnTo>
                    <a:lnTo>
                      <a:pt x="97" y="164"/>
                    </a:lnTo>
                    <a:lnTo>
                      <a:pt x="93" y="161"/>
                    </a:lnTo>
                    <a:lnTo>
                      <a:pt x="84" y="162"/>
                    </a:lnTo>
                    <a:lnTo>
                      <a:pt x="76" y="161"/>
                    </a:lnTo>
                    <a:lnTo>
                      <a:pt x="66" y="170"/>
                    </a:lnTo>
                    <a:lnTo>
                      <a:pt x="60" y="168"/>
                    </a:lnTo>
                    <a:lnTo>
                      <a:pt x="64" y="197"/>
                    </a:lnTo>
                    <a:lnTo>
                      <a:pt x="58" y="209"/>
                    </a:lnTo>
                    <a:lnTo>
                      <a:pt x="69" y="212"/>
                    </a:lnTo>
                    <a:lnTo>
                      <a:pt x="73" y="216"/>
                    </a:lnTo>
                    <a:lnTo>
                      <a:pt x="69" y="225"/>
                    </a:lnTo>
                    <a:lnTo>
                      <a:pt x="63" y="230"/>
                    </a:lnTo>
                    <a:lnTo>
                      <a:pt x="51" y="233"/>
                    </a:lnTo>
                    <a:lnTo>
                      <a:pt x="39" y="231"/>
                    </a:lnTo>
                    <a:lnTo>
                      <a:pt x="34" y="215"/>
                    </a:lnTo>
                    <a:lnTo>
                      <a:pt x="24" y="218"/>
                    </a:lnTo>
                    <a:lnTo>
                      <a:pt x="18" y="218"/>
                    </a:lnTo>
                    <a:lnTo>
                      <a:pt x="21" y="228"/>
                    </a:lnTo>
                    <a:lnTo>
                      <a:pt x="12" y="236"/>
                    </a:lnTo>
                    <a:lnTo>
                      <a:pt x="0" y="251"/>
                    </a:lnTo>
                    <a:lnTo>
                      <a:pt x="10" y="293"/>
                    </a:lnTo>
                    <a:lnTo>
                      <a:pt x="12" y="302"/>
                    </a:lnTo>
                    <a:lnTo>
                      <a:pt x="19" y="302"/>
                    </a:lnTo>
                    <a:lnTo>
                      <a:pt x="24" y="324"/>
                    </a:lnTo>
                    <a:lnTo>
                      <a:pt x="31" y="329"/>
                    </a:lnTo>
                    <a:lnTo>
                      <a:pt x="37" y="327"/>
                    </a:lnTo>
                    <a:lnTo>
                      <a:pt x="51" y="333"/>
                    </a:lnTo>
                    <a:lnTo>
                      <a:pt x="61" y="339"/>
                    </a:lnTo>
                    <a:lnTo>
                      <a:pt x="63" y="347"/>
                    </a:lnTo>
                    <a:lnTo>
                      <a:pt x="55" y="363"/>
                    </a:lnTo>
                    <a:lnTo>
                      <a:pt x="57" y="368"/>
                    </a:lnTo>
                    <a:lnTo>
                      <a:pt x="67" y="369"/>
                    </a:lnTo>
                    <a:lnTo>
                      <a:pt x="70" y="363"/>
                    </a:lnTo>
                    <a:lnTo>
                      <a:pt x="81" y="377"/>
                    </a:lnTo>
                    <a:lnTo>
                      <a:pt x="94" y="389"/>
                    </a:lnTo>
                    <a:lnTo>
                      <a:pt x="76" y="408"/>
                    </a:lnTo>
                    <a:lnTo>
                      <a:pt x="57" y="431"/>
                    </a:lnTo>
                    <a:lnTo>
                      <a:pt x="46" y="438"/>
                    </a:lnTo>
                    <a:lnTo>
                      <a:pt x="46" y="455"/>
                    </a:lnTo>
                    <a:lnTo>
                      <a:pt x="57" y="464"/>
                    </a:lnTo>
                    <a:lnTo>
                      <a:pt x="58" y="474"/>
                    </a:lnTo>
                    <a:lnTo>
                      <a:pt x="66" y="476"/>
                    </a:lnTo>
                    <a:lnTo>
                      <a:pt x="78" y="485"/>
                    </a:lnTo>
                    <a:lnTo>
                      <a:pt x="87" y="488"/>
                    </a:lnTo>
                    <a:lnTo>
                      <a:pt x="87" y="495"/>
                    </a:lnTo>
                    <a:lnTo>
                      <a:pt x="55" y="515"/>
                    </a:lnTo>
                    <a:lnTo>
                      <a:pt x="49" y="524"/>
                    </a:lnTo>
                    <a:lnTo>
                      <a:pt x="48" y="545"/>
                    </a:lnTo>
                    <a:lnTo>
                      <a:pt x="45" y="561"/>
                    </a:lnTo>
                    <a:lnTo>
                      <a:pt x="75" y="572"/>
                    </a:lnTo>
                    <a:lnTo>
                      <a:pt x="85" y="575"/>
                    </a:lnTo>
                    <a:lnTo>
                      <a:pt x="85" y="585"/>
                    </a:lnTo>
                    <a:lnTo>
                      <a:pt x="85" y="596"/>
                    </a:lnTo>
                    <a:lnTo>
                      <a:pt x="78" y="606"/>
                    </a:lnTo>
                    <a:lnTo>
                      <a:pt x="85" y="612"/>
                    </a:lnTo>
                    <a:lnTo>
                      <a:pt x="91" y="647"/>
                    </a:lnTo>
                    <a:lnTo>
                      <a:pt x="108" y="636"/>
                    </a:lnTo>
                    <a:lnTo>
                      <a:pt x="112" y="641"/>
                    </a:lnTo>
                    <a:lnTo>
                      <a:pt x="108" y="642"/>
                    </a:lnTo>
                    <a:lnTo>
                      <a:pt x="97" y="663"/>
                    </a:lnTo>
                    <a:lnTo>
                      <a:pt x="87" y="666"/>
                    </a:lnTo>
                    <a:lnTo>
                      <a:pt x="97" y="678"/>
                    </a:lnTo>
                    <a:lnTo>
                      <a:pt x="114" y="684"/>
                    </a:lnTo>
                    <a:lnTo>
                      <a:pt x="109" y="692"/>
                    </a:lnTo>
                    <a:lnTo>
                      <a:pt x="109" y="713"/>
                    </a:lnTo>
                    <a:lnTo>
                      <a:pt x="100" y="716"/>
                    </a:lnTo>
                    <a:lnTo>
                      <a:pt x="84" y="740"/>
                    </a:lnTo>
                    <a:lnTo>
                      <a:pt x="97" y="771"/>
                    </a:lnTo>
                    <a:lnTo>
                      <a:pt x="111" y="774"/>
                    </a:lnTo>
                    <a:lnTo>
                      <a:pt x="111" y="791"/>
                    </a:lnTo>
                    <a:lnTo>
                      <a:pt x="96" y="786"/>
                    </a:lnTo>
                    <a:lnTo>
                      <a:pt x="78" y="788"/>
                    </a:lnTo>
                    <a:lnTo>
                      <a:pt x="78" y="794"/>
                    </a:lnTo>
                    <a:lnTo>
                      <a:pt x="79" y="801"/>
                    </a:lnTo>
                    <a:lnTo>
                      <a:pt x="94" y="806"/>
                    </a:lnTo>
                    <a:lnTo>
                      <a:pt x="117" y="806"/>
                    </a:lnTo>
                    <a:lnTo>
                      <a:pt x="130" y="801"/>
                    </a:lnTo>
                    <a:lnTo>
                      <a:pt x="142" y="798"/>
                    </a:lnTo>
                    <a:lnTo>
                      <a:pt x="151" y="807"/>
                    </a:lnTo>
                    <a:lnTo>
                      <a:pt x="157" y="804"/>
                    </a:lnTo>
                    <a:lnTo>
                      <a:pt x="166" y="806"/>
                    </a:lnTo>
                    <a:lnTo>
                      <a:pt x="174" y="800"/>
                    </a:lnTo>
                    <a:lnTo>
                      <a:pt x="190" y="809"/>
                    </a:lnTo>
                    <a:lnTo>
                      <a:pt x="187" y="815"/>
                    </a:lnTo>
                    <a:lnTo>
                      <a:pt x="177" y="825"/>
                    </a:lnTo>
                    <a:lnTo>
                      <a:pt x="180" y="836"/>
                    </a:lnTo>
                    <a:lnTo>
                      <a:pt x="193" y="845"/>
                    </a:lnTo>
                    <a:lnTo>
                      <a:pt x="207" y="833"/>
                    </a:lnTo>
                    <a:lnTo>
                      <a:pt x="214" y="836"/>
                    </a:lnTo>
                    <a:lnTo>
                      <a:pt x="228" y="822"/>
                    </a:lnTo>
                    <a:lnTo>
                      <a:pt x="243" y="822"/>
                    </a:lnTo>
                    <a:lnTo>
                      <a:pt x="255" y="813"/>
                    </a:lnTo>
                    <a:lnTo>
                      <a:pt x="267" y="827"/>
                    </a:lnTo>
                    <a:lnTo>
                      <a:pt x="265" y="837"/>
                    </a:lnTo>
                    <a:lnTo>
                      <a:pt x="271" y="842"/>
                    </a:lnTo>
                    <a:lnTo>
                      <a:pt x="276" y="834"/>
                    </a:lnTo>
                    <a:lnTo>
                      <a:pt x="280" y="833"/>
                    </a:lnTo>
                    <a:lnTo>
                      <a:pt x="295" y="840"/>
                    </a:lnTo>
                    <a:lnTo>
                      <a:pt x="298" y="849"/>
                    </a:lnTo>
                    <a:lnTo>
                      <a:pt x="312" y="851"/>
                    </a:lnTo>
                    <a:lnTo>
                      <a:pt x="312" y="845"/>
                    </a:lnTo>
                    <a:lnTo>
                      <a:pt x="322" y="843"/>
                    </a:lnTo>
                    <a:lnTo>
                      <a:pt x="334" y="839"/>
                    </a:lnTo>
                    <a:lnTo>
                      <a:pt x="357" y="846"/>
                    </a:lnTo>
                    <a:lnTo>
                      <a:pt x="352" y="834"/>
                    </a:lnTo>
                    <a:lnTo>
                      <a:pt x="372" y="822"/>
                    </a:lnTo>
                    <a:lnTo>
                      <a:pt x="384" y="827"/>
                    </a:lnTo>
                    <a:lnTo>
                      <a:pt x="390" y="827"/>
                    </a:lnTo>
                    <a:lnTo>
                      <a:pt x="399" y="818"/>
                    </a:lnTo>
                    <a:lnTo>
                      <a:pt x="402" y="828"/>
                    </a:lnTo>
                    <a:lnTo>
                      <a:pt x="415" y="821"/>
                    </a:lnTo>
                    <a:lnTo>
                      <a:pt x="420" y="806"/>
                    </a:lnTo>
                    <a:lnTo>
                      <a:pt x="415" y="789"/>
                    </a:lnTo>
                    <a:lnTo>
                      <a:pt x="423" y="782"/>
                    </a:lnTo>
                    <a:lnTo>
                      <a:pt x="429" y="780"/>
                    </a:lnTo>
                    <a:lnTo>
                      <a:pt x="433" y="774"/>
                    </a:lnTo>
                    <a:lnTo>
                      <a:pt x="447" y="774"/>
                    </a:lnTo>
                    <a:lnTo>
                      <a:pt x="451" y="779"/>
                    </a:lnTo>
                    <a:lnTo>
                      <a:pt x="457" y="776"/>
                    </a:lnTo>
                    <a:lnTo>
                      <a:pt x="459" y="770"/>
                    </a:lnTo>
                    <a:lnTo>
                      <a:pt x="462" y="770"/>
                    </a:lnTo>
                    <a:lnTo>
                      <a:pt x="468" y="776"/>
                    </a:lnTo>
                    <a:lnTo>
                      <a:pt x="483" y="774"/>
                    </a:lnTo>
                    <a:lnTo>
                      <a:pt x="496" y="779"/>
                    </a:lnTo>
                    <a:lnTo>
                      <a:pt x="502" y="786"/>
                    </a:lnTo>
                    <a:lnTo>
                      <a:pt x="510" y="783"/>
                    </a:lnTo>
                    <a:lnTo>
                      <a:pt x="507" y="789"/>
                    </a:lnTo>
                    <a:lnTo>
                      <a:pt x="513" y="797"/>
                    </a:lnTo>
                    <a:lnTo>
                      <a:pt x="513" y="813"/>
                    </a:lnTo>
                    <a:lnTo>
                      <a:pt x="523" y="815"/>
                    </a:lnTo>
                    <a:lnTo>
                      <a:pt x="522" y="821"/>
                    </a:lnTo>
                    <a:lnTo>
                      <a:pt x="526" y="827"/>
                    </a:lnTo>
                    <a:lnTo>
                      <a:pt x="537" y="827"/>
                    </a:lnTo>
                    <a:lnTo>
                      <a:pt x="550" y="816"/>
                    </a:lnTo>
                    <a:lnTo>
                      <a:pt x="568" y="815"/>
                    </a:lnTo>
                    <a:lnTo>
                      <a:pt x="594" y="821"/>
                    </a:lnTo>
                    <a:lnTo>
                      <a:pt x="612" y="824"/>
                    </a:lnTo>
                    <a:lnTo>
                      <a:pt x="621" y="836"/>
                    </a:lnTo>
                    <a:lnTo>
                      <a:pt x="643" y="851"/>
                    </a:lnTo>
                    <a:lnTo>
                      <a:pt x="664" y="843"/>
                    </a:lnTo>
                    <a:lnTo>
                      <a:pt x="673" y="842"/>
                    </a:lnTo>
                    <a:lnTo>
                      <a:pt x="691" y="866"/>
                    </a:lnTo>
                    <a:lnTo>
                      <a:pt x="696" y="875"/>
                    </a:lnTo>
                    <a:lnTo>
                      <a:pt x="696" y="882"/>
                    </a:lnTo>
                    <a:lnTo>
                      <a:pt x="700" y="888"/>
                    </a:lnTo>
                    <a:lnTo>
                      <a:pt x="700" y="899"/>
                    </a:lnTo>
                    <a:lnTo>
                      <a:pt x="702" y="912"/>
                    </a:lnTo>
                    <a:lnTo>
                      <a:pt x="708" y="908"/>
                    </a:lnTo>
                    <a:lnTo>
                      <a:pt x="720" y="876"/>
                    </a:lnTo>
                    <a:lnTo>
                      <a:pt x="726" y="879"/>
                    </a:lnTo>
                    <a:lnTo>
                      <a:pt x="742" y="875"/>
                    </a:lnTo>
                    <a:lnTo>
                      <a:pt x="745" y="879"/>
                    </a:lnTo>
                    <a:lnTo>
                      <a:pt x="756" y="879"/>
                    </a:lnTo>
                    <a:lnTo>
                      <a:pt x="759" y="872"/>
                    </a:lnTo>
                    <a:lnTo>
                      <a:pt x="774" y="861"/>
                    </a:lnTo>
                    <a:lnTo>
                      <a:pt x="784" y="855"/>
                    </a:lnTo>
                    <a:lnTo>
                      <a:pt x="790" y="857"/>
                    </a:lnTo>
                    <a:lnTo>
                      <a:pt x="795" y="866"/>
                    </a:lnTo>
                    <a:lnTo>
                      <a:pt x="799" y="872"/>
                    </a:lnTo>
                    <a:lnTo>
                      <a:pt x="799" y="881"/>
                    </a:lnTo>
                    <a:lnTo>
                      <a:pt x="796" y="888"/>
                    </a:lnTo>
                    <a:lnTo>
                      <a:pt x="799" y="896"/>
                    </a:lnTo>
                    <a:lnTo>
                      <a:pt x="796" y="903"/>
                    </a:lnTo>
                    <a:lnTo>
                      <a:pt x="798" y="908"/>
                    </a:lnTo>
                    <a:lnTo>
                      <a:pt x="792" y="917"/>
                    </a:lnTo>
                    <a:lnTo>
                      <a:pt x="789" y="927"/>
                    </a:lnTo>
                    <a:lnTo>
                      <a:pt x="783" y="938"/>
                    </a:lnTo>
                    <a:lnTo>
                      <a:pt x="789" y="948"/>
                    </a:lnTo>
                    <a:lnTo>
                      <a:pt x="784" y="957"/>
                    </a:lnTo>
                    <a:lnTo>
                      <a:pt x="792" y="959"/>
                    </a:lnTo>
                    <a:lnTo>
                      <a:pt x="792" y="971"/>
                    </a:lnTo>
                    <a:lnTo>
                      <a:pt x="801" y="966"/>
                    </a:lnTo>
                    <a:lnTo>
                      <a:pt x="817" y="969"/>
                    </a:lnTo>
                    <a:lnTo>
                      <a:pt x="835" y="953"/>
                    </a:lnTo>
                    <a:lnTo>
                      <a:pt x="849" y="944"/>
                    </a:lnTo>
                    <a:lnTo>
                      <a:pt x="853" y="930"/>
                    </a:lnTo>
                    <a:lnTo>
                      <a:pt x="853" y="929"/>
                    </a:lnTo>
                    <a:lnTo>
                      <a:pt x="868" y="932"/>
                    </a:lnTo>
                    <a:lnTo>
                      <a:pt x="868" y="927"/>
                    </a:lnTo>
                    <a:lnTo>
                      <a:pt x="879" y="923"/>
                    </a:lnTo>
                    <a:lnTo>
                      <a:pt x="880" y="893"/>
                    </a:lnTo>
                    <a:lnTo>
                      <a:pt x="894" y="885"/>
                    </a:lnTo>
                    <a:lnTo>
                      <a:pt x="907" y="860"/>
                    </a:lnTo>
                    <a:lnTo>
                      <a:pt x="907" y="846"/>
                    </a:lnTo>
                    <a:lnTo>
                      <a:pt x="894" y="836"/>
                    </a:lnTo>
                    <a:lnTo>
                      <a:pt x="892" y="828"/>
                    </a:lnTo>
                    <a:lnTo>
                      <a:pt x="909" y="827"/>
                    </a:lnTo>
                    <a:lnTo>
                      <a:pt x="930" y="830"/>
                    </a:lnTo>
                    <a:lnTo>
                      <a:pt x="927" y="818"/>
                    </a:lnTo>
                    <a:lnTo>
                      <a:pt x="934" y="818"/>
                    </a:lnTo>
                    <a:lnTo>
                      <a:pt x="940" y="824"/>
                    </a:lnTo>
                    <a:lnTo>
                      <a:pt x="954" y="819"/>
                    </a:lnTo>
                    <a:lnTo>
                      <a:pt x="958" y="810"/>
                    </a:lnTo>
                    <a:lnTo>
                      <a:pt x="979" y="810"/>
                    </a:lnTo>
                    <a:lnTo>
                      <a:pt x="990" y="816"/>
                    </a:lnTo>
                    <a:lnTo>
                      <a:pt x="993" y="830"/>
                    </a:lnTo>
                    <a:lnTo>
                      <a:pt x="1014" y="846"/>
                    </a:lnTo>
                    <a:lnTo>
                      <a:pt x="1014" y="867"/>
                    </a:lnTo>
                    <a:lnTo>
                      <a:pt x="1032" y="881"/>
                    </a:lnTo>
                    <a:lnTo>
                      <a:pt x="1033" y="866"/>
                    </a:lnTo>
                    <a:lnTo>
                      <a:pt x="1039" y="863"/>
                    </a:lnTo>
                    <a:lnTo>
                      <a:pt x="1048" y="870"/>
                    </a:lnTo>
                    <a:lnTo>
                      <a:pt x="1054" y="869"/>
                    </a:lnTo>
                    <a:lnTo>
                      <a:pt x="1060" y="855"/>
                    </a:lnTo>
                    <a:lnTo>
                      <a:pt x="1078" y="857"/>
                    </a:lnTo>
                    <a:lnTo>
                      <a:pt x="1090" y="854"/>
                    </a:lnTo>
                    <a:lnTo>
                      <a:pt x="1098" y="845"/>
                    </a:lnTo>
                    <a:lnTo>
                      <a:pt x="1108" y="839"/>
                    </a:lnTo>
                    <a:lnTo>
                      <a:pt x="1119" y="845"/>
                    </a:lnTo>
                    <a:lnTo>
                      <a:pt x="1131" y="842"/>
                    </a:lnTo>
                    <a:lnTo>
                      <a:pt x="1120" y="833"/>
                    </a:lnTo>
                    <a:lnTo>
                      <a:pt x="1123" y="827"/>
                    </a:lnTo>
                    <a:lnTo>
                      <a:pt x="1134" y="824"/>
                    </a:lnTo>
                    <a:lnTo>
                      <a:pt x="1140" y="816"/>
                    </a:lnTo>
                    <a:lnTo>
                      <a:pt x="1143" y="777"/>
                    </a:lnTo>
                    <a:lnTo>
                      <a:pt x="1134" y="765"/>
                    </a:lnTo>
                    <a:lnTo>
                      <a:pt x="1146" y="762"/>
                    </a:lnTo>
                    <a:lnTo>
                      <a:pt x="1158" y="770"/>
                    </a:lnTo>
                    <a:lnTo>
                      <a:pt x="1173" y="765"/>
                    </a:lnTo>
                    <a:lnTo>
                      <a:pt x="1170" y="756"/>
                    </a:lnTo>
                    <a:lnTo>
                      <a:pt x="1168" y="726"/>
                    </a:lnTo>
                    <a:lnTo>
                      <a:pt x="1176" y="720"/>
                    </a:lnTo>
                    <a:lnTo>
                      <a:pt x="1191" y="711"/>
                    </a:lnTo>
                    <a:lnTo>
                      <a:pt x="1225" y="714"/>
                    </a:lnTo>
                    <a:lnTo>
                      <a:pt x="1236" y="710"/>
                    </a:lnTo>
                    <a:lnTo>
                      <a:pt x="1233" y="702"/>
                    </a:lnTo>
                    <a:lnTo>
                      <a:pt x="1230" y="695"/>
                    </a:lnTo>
                    <a:lnTo>
                      <a:pt x="1230" y="692"/>
                    </a:lnTo>
                    <a:lnTo>
                      <a:pt x="1240" y="693"/>
                    </a:lnTo>
                    <a:lnTo>
                      <a:pt x="1254" y="687"/>
                    </a:lnTo>
                    <a:lnTo>
                      <a:pt x="1254" y="674"/>
                    </a:lnTo>
                    <a:lnTo>
                      <a:pt x="1273" y="666"/>
                    </a:lnTo>
                    <a:lnTo>
                      <a:pt x="1281" y="671"/>
                    </a:lnTo>
                    <a:lnTo>
                      <a:pt x="1278" y="675"/>
                    </a:lnTo>
                    <a:lnTo>
                      <a:pt x="1296" y="681"/>
                    </a:lnTo>
                    <a:lnTo>
                      <a:pt x="1305" y="686"/>
                    </a:lnTo>
                    <a:lnTo>
                      <a:pt x="1314" y="683"/>
                    </a:lnTo>
                    <a:lnTo>
                      <a:pt x="1315" y="674"/>
                    </a:lnTo>
                    <a:lnTo>
                      <a:pt x="1320" y="669"/>
                    </a:lnTo>
                    <a:lnTo>
                      <a:pt x="1330" y="665"/>
                    </a:lnTo>
                    <a:lnTo>
                      <a:pt x="1339" y="668"/>
                    </a:lnTo>
                    <a:lnTo>
                      <a:pt x="1350" y="674"/>
                    </a:lnTo>
                    <a:lnTo>
                      <a:pt x="1344" y="660"/>
                    </a:lnTo>
                    <a:lnTo>
                      <a:pt x="1351" y="656"/>
                    </a:lnTo>
                    <a:lnTo>
                      <a:pt x="1353" y="644"/>
                    </a:lnTo>
                    <a:lnTo>
                      <a:pt x="1344" y="617"/>
                    </a:lnTo>
                    <a:lnTo>
                      <a:pt x="1350" y="612"/>
                    </a:lnTo>
                    <a:lnTo>
                      <a:pt x="1359" y="614"/>
                    </a:lnTo>
                    <a:lnTo>
                      <a:pt x="1374" y="608"/>
                    </a:lnTo>
                    <a:lnTo>
                      <a:pt x="1366" y="596"/>
                    </a:lnTo>
                    <a:lnTo>
                      <a:pt x="1360" y="585"/>
                    </a:lnTo>
                    <a:lnTo>
                      <a:pt x="1360" y="570"/>
                    </a:lnTo>
                    <a:lnTo>
                      <a:pt x="1368" y="557"/>
                    </a:lnTo>
                    <a:lnTo>
                      <a:pt x="1365" y="551"/>
                    </a:lnTo>
                    <a:lnTo>
                      <a:pt x="1365" y="543"/>
                    </a:lnTo>
                    <a:lnTo>
                      <a:pt x="1365" y="531"/>
                    </a:lnTo>
                    <a:lnTo>
                      <a:pt x="1363" y="522"/>
                    </a:lnTo>
                    <a:lnTo>
                      <a:pt x="1354" y="509"/>
                    </a:lnTo>
                    <a:lnTo>
                      <a:pt x="1357" y="494"/>
                    </a:lnTo>
                    <a:lnTo>
                      <a:pt x="1365" y="489"/>
                    </a:lnTo>
                    <a:lnTo>
                      <a:pt x="1372" y="482"/>
                    </a:lnTo>
                    <a:lnTo>
                      <a:pt x="1374" y="470"/>
                    </a:lnTo>
                    <a:lnTo>
                      <a:pt x="1374" y="464"/>
                    </a:lnTo>
                    <a:lnTo>
                      <a:pt x="1374" y="456"/>
                    </a:lnTo>
                    <a:lnTo>
                      <a:pt x="1386" y="452"/>
                    </a:lnTo>
                    <a:lnTo>
                      <a:pt x="1383" y="444"/>
                    </a:lnTo>
                    <a:lnTo>
                      <a:pt x="1377" y="435"/>
                    </a:lnTo>
                    <a:lnTo>
                      <a:pt x="1378" y="423"/>
                    </a:lnTo>
                    <a:lnTo>
                      <a:pt x="1386" y="420"/>
                    </a:lnTo>
                    <a:lnTo>
                      <a:pt x="1386" y="408"/>
                    </a:lnTo>
                    <a:lnTo>
                      <a:pt x="1378" y="390"/>
                    </a:lnTo>
                    <a:lnTo>
                      <a:pt x="1378" y="383"/>
                    </a:lnTo>
                    <a:lnTo>
                      <a:pt x="1374" y="377"/>
                    </a:lnTo>
                    <a:lnTo>
                      <a:pt x="1359" y="389"/>
                    </a:lnTo>
                    <a:lnTo>
                      <a:pt x="1345" y="390"/>
                    </a:lnTo>
                    <a:lnTo>
                      <a:pt x="1344" y="399"/>
                    </a:lnTo>
                    <a:lnTo>
                      <a:pt x="1341" y="411"/>
                    </a:lnTo>
                    <a:lnTo>
                      <a:pt x="1330" y="417"/>
                    </a:lnTo>
                    <a:lnTo>
                      <a:pt x="1332" y="428"/>
                    </a:lnTo>
                    <a:lnTo>
                      <a:pt x="1326" y="431"/>
                    </a:lnTo>
                    <a:lnTo>
                      <a:pt x="1315" y="440"/>
                    </a:lnTo>
                    <a:lnTo>
                      <a:pt x="1315" y="450"/>
                    </a:lnTo>
                    <a:lnTo>
                      <a:pt x="1317" y="455"/>
                    </a:lnTo>
                    <a:lnTo>
                      <a:pt x="1311" y="461"/>
                    </a:lnTo>
                    <a:lnTo>
                      <a:pt x="1306" y="461"/>
                    </a:lnTo>
                    <a:lnTo>
                      <a:pt x="1308" y="455"/>
                    </a:lnTo>
                    <a:lnTo>
                      <a:pt x="1312" y="444"/>
                    </a:lnTo>
                    <a:lnTo>
                      <a:pt x="1309" y="441"/>
                    </a:lnTo>
                    <a:lnTo>
                      <a:pt x="1317" y="431"/>
                    </a:lnTo>
                    <a:lnTo>
                      <a:pt x="1327" y="428"/>
                    </a:lnTo>
                    <a:lnTo>
                      <a:pt x="1323" y="402"/>
                    </a:lnTo>
                    <a:lnTo>
                      <a:pt x="1336" y="390"/>
                    </a:lnTo>
                    <a:lnTo>
                      <a:pt x="1335" y="381"/>
                    </a:lnTo>
                    <a:lnTo>
                      <a:pt x="1327" y="380"/>
                    </a:lnTo>
                    <a:lnTo>
                      <a:pt x="1329" y="374"/>
                    </a:lnTo>
                    <a:lnTo>
                      <a:pt x="1323" y="372"/>
                    </a:lnTo>
                    <a:lnTo>
                      <a:pt x="1317" y="356"/>
                    </a:lnTo>
                    <a:lnTo>
                      <a:pt x="1303" y="365"/>
                    </a:lnTo>
                    <a:lnTo>
                      <a:pt x="1296" y="371"/>
                    </a:lnTo>
                    <a:lnTo>
                      <a:pt x="1285" y="381"/>
                    </a:lnTo>
                    <a:lnTo>
                      <a:pt x="1275" y="368"/>
                    </a:lnTo>
                    <a:lnTo>
                      <a:pt x="1282" y="363"/>
                    </a:lnTo>
                    <a:lnTo>
                      <a:pt x="1278" y="356"/>
                    </a:lnTo>
                    <a:lnTo>
                      <a:pt x="1269" y="351"/>
                    </a:lnTo>
                    <a:lnTo>
                      <a:pt x="1258" y="354"/>
                    </a:lnTo>
                    <a:lnTo>
                      <a:pt x="1249" y="350"/>
                    </a:lnTo>
                    <a:lnTo>
                      <a:pt x="1240" y="345"/>
                    </a:lnTo>
                    <a:lnTo>
                      <a:pt x="1231" y="335"/>
                    </a:lnTo>
                    <a:lnTo>
                      <a:pt x="1227" y="330"/>
                    </a:lnTo>
                    <a:lnTo>
                      <a:pt x="1225" y="327"/>
                    </a:lnTo>
                    <a:lnTo>
                      <a:pt x="1224" y="324"/>
                    </a:lnTo>
                    <a:lnTo>
                      <a:pt x="1224" y="312"/>
                    </a:lnTo>
                    <a:lnTo>
                      <a:pt x="1219" y="305"/>
                    </a:lnTo>
                    <a:lnTo>
                      <a:pt x="1213" y="300"/>
                    </a:lnTo>
                    <a:lnTo>
                      <a:pt x="1209" y="290"/>
                    </a:lnTo>
                    <a:lnTo>
                      <a:pt x="1195" y="291"/>
                    </a:lnTo>
                    <a:lnTo>
                      <a:pt x="1192" y="294"/>
                    </a:lnTo>
                    <a:lnTo>
                      <a:pt x="1192" y="302"/>
                    </a:lnTo>
                    <a:lnTo>
                      <a:pt x="1183" y="306"/>
                    </a:lnTo>
                    <a:lnTo>
                      <a:pt x="1180" y="318"/>
                    </a:lnTo>
                    <a:lnTo>
                      <a:pt x="1185" y="320"/>
                    </a:lnTo>
                    <a:lnTo>
                      <a:pt x="1176" y="324"/>
                    </a:lnTo>
                    <a:lnTo>
                      <a:pt x="1168" y="323"/>
                    </a:lnTo>
                    <a:lnTo>
                      <a:pt x="1170" y="318"/>
                    </a:lnTo>
                    <a:lnTo>
                      <a:pt x="1171" y="314"/>
                    </a:lnTo>
                    <a:lnTo>
                      <a:pt x="1168" y="305"/>
                    </a:lnTo>
                    <a:lnTo>
                      <a:pt x="1159" y="300"/>
                    </a:lnTo>
                    <a:lnTo>
                      <a:pt x="1162" y="308"/>
                    </a:lnTo>
                    <a:lnTo>
                      <a:pt x="1161" y="314"/>
                    </a:lnTo>
                    <a:lnTo>
                      <a:pt x="1164" y="320"/>
                    </a:lnTo>
                    <a:lnTo>
                      <a:pt x="1153" y="336"/>
                    </a:lnTo>
                    <a:lnTo>
                      <a:pt x="1152" y="342"/>
                    </a:lnTo>
                    <a:lnTo>
                      <a:pt x="1146" y="344"/>
                    </a:lnTo>
                    <a:lnTo>
                      <a:pt x="1149" y="329"/>
                    </a:lnTo>
                    <a:lnTo>
                      <a:pt x="1144" y="321"/>
                    </a:lnTo>
                    <a:lnTo>
                      <a:pt x="1137" y="318"/>
                    </a:lnTo>
                    <a:lnTo>
                      <a:pt x="1137" y="306"/>
                    </a:lnTo>
                    <a:lnTo>
                      <a:pt x="1132" y="300"/>
                    </a:lnTo>
                    <a:lnTo>
                      <a:pt x="1120" y="294"/>
                    </a:lnTo>
                    <a:lnTo>
                      <a:pt x="1125" y="284"/>
                    </a:lnTo>
                    <a:lnTo>
                      <a:pt x="1117" y="282"/>
                    </a:lnTo>
                    <a:lnTo>
                      <a:pt x="1114" y="272"/>
                    </a:lnTo>
                    <a:lnTo>
                      <a:pt x="1116" y="266"/>
                    </a:lnTo>
                    <a:lnTo>
                      <a:pt x="1122" y="261"/>
                    </a:lnTo>
                    <a:lnTo>
                      <a:pt x="1116" y="258"/>
                    </a:lnTo>
                    <a:lnTo>
                      <a:pt x="1105" y="260"/>
                    </a:lnTo>
                    <a:lnTo>
                      <a:pt x="1095" y="270"/>
                    </a:lnTo>
                    <a:lnTo>
                      <a:pt x="1086" y="279"/>
                    </a:lnTo>
                    <a:lnTo>
                      <a:pt x="1077" y="284"/>
                    </a:lnTo>
                    <a:lnTo>
                      <a:pt x="1075" y="288"/>
                    </a:lnTo>
                    <a:lnTo>
                      <a:pt x="1066" y="300"/>
                    </a:lnTo>
                    <a:lnTo>
                      <a:pt x="1063" y="302"/>
                    </a:lnTo>
                    <a:lnTo>
                      <a:pt x="1063" y="297"/>
                    </a:lnTo>
                    <a:lnTo>
                      <a:pt x="1057" y="290"/>
                    </a:lnTo>
                    <a:lnTo>
                      <a:pt x="1048" y="290"/>
                    </a:lnTo>
                    <a:lnTo>
                      <a:pt x="1060" y="279"/>
                    </a:lnTo>
                    <a:lnTo>
                      <a:pt x="1069" y="266"/>
                    </a:lnTo>
                    <a:lnTo>
                      <a:pt x="1078" y="252"/>
                    </a:lnTo>
                    <a:lnTo>
                      <a:pt x="1090" y="231"/>
                    </a:lnTo>
                    <a:lnTo>
                      <a:pt x="1072" y="231"/>
                    </a:lnTo>
                    <a:lnTo>
                      <a:pt x="1066" y="227"/>
                    </a:lnTo>
                    <a:lnTo>
                      <a:pt x="1068" y="218"/>
                    </a:lnTo>
                    <a:lnTo>
                      <a:pt x="1065" y="210"/>
                    </a:lnTo>
                    <a:lnTo>
                      <a:pt x="1057" y="216"/>
                    </a:lnTo>
                    <a:lnTo>
                      <a:pt x="1054" y="230"/>
                    </a:lnTo>
                    <a:lnTo>
                      <a:pt x="1027" y="248"/>
                    </a:lnTo>
                    <a:lnTo>
                      <a:pt x="1021" y="246"/>
                    </a:lnTo>
                    <a:lnTo>
                      <a:pt x="1017" y="252"/>
                    </a:lnTo>
                    <a:lnTo>
                      <a:pt x="1008" y="252"/>
                    </a:lnTo>
                    <a:lnTo>
                      <a:pt x="1002" y="263"/>
                    </a:lnTo>
                    <a:lnTo>
                      <a:pt x="987" y="266"/>
                    </a:lnTo>
                    <a:lnTo>
                      <a:pt x="990" y="270"/>
                    </a:lnTo>
                    <a:lnTo>
                      <a:pt x="984" y="275"/>
                    </a:lnTo>
                    <a:lnTo>
                      <a:pt x="984" y="270"/>
                    </a:lnTo>
                    <a:lnTo>
                      <a:pt x="981" y="263"/>
                    </a:lnTo>
                    <a:lnTo>
                      <a:pt x="982" y="258"/>
                    </a:lnTo>
                    <a:lnTo>
                      <a:pt x="969" y="252"/>
                    </a:lnTo>
                    <a:lnTo>
                      <a:pt x="955" y="257"/>
                    </a:lnTo>
                    <a:lnTo>
                      <a:pt x="945" y="255"/>
                    </a:lnTo>
                    <a:lnTo>
                      <a:pt x="936" y="261"/>
                    </a:lnTo>
                    <a:lnTo>
                      <a:pt x="928" y="261"/>
                    </a:lnTo>
                    <a:lnTo>
                      <a:pt x="934" y="269"/>
                    </a:lnTo>
                    <a:lnTo>
                      <a:pt x="946" y="273"/>
                    </a:lnTo>
                    <a:lnTo>
                      <a:pt x="940" y="287"/>
                    </a:lnTo>
                    <a:lnTo>
                      <a:pt x="921" y="305"/>
                    </a:lnTo>
                    <a:lnTo>
                      <a:pt x="895" y="317"/>
                    </a:lnTo>
                    <a:lnTo>
                      <a:pt x="877" y="317"/>
                    </a:lnTo>
                    <a:lnTo>
                      <a:pt x="868" y="332"/>
                    </a:lnTo>
                    <a:lnTo>
                      <a:pt x="864" y="332"/>
                    </a:lnTo>
                    <a:lnTo>
                      <a:pt x="861" y="344"/>
                    </a:lnTo>
                    <a:lnTo>
                      <a:pt x="834" y="372"/>
                    </a:lnTo>
                    <a:lnTo>
                      <a:pt x="814" y="387"/>
                    </a:lnTo>
                    <a:lnTo>
                      <a:pt x="816" y="401"/>
                    </a:lnTo>
                    <a:lnTo>
                      <a:pt x="808" y="404"/>
                    </a:lnTo>
                    <a:lnTo>
                      <a:pt x="795" y="402"/>
                    </a:lnTo>
                    <a:lnTo>
                      <a:pt x="786" y="390"/>
                    </a:lnTo>
                    <a:lnTo>
                      <a:pt x="775" y="395"/>
                    </a:lnTo>
                    <a:lnTo>
                      <a:pt x="780" y="411"/>
                    </a:lnTo>
                    <a:lnTo>
                      <a:pt x="777" y="428"/>
                    </a:lnTo>
                    <a:lnTo>
                      <a:pt x="774" y="435"/>
                    </a:lnTo>
                    <a:lnTo>
                      <a:pt x="781" y="443"/>
                    </a:lnTo>
                    <a:lnTo>
                      <a:pt x="775" y="443"/>
                    </a:lnTo>
                    <a:close/>
                  </a:path>
                </a:pathLst>
              </a:custGeom>
              <a:solidFill>
                <a:srgbClr val="70AD47">
                  <a:lumMod val="20000"/>
                  <a:lumOff val="80000"/>
                </a:srgbClr>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4" name="Freeform 249">
                <a:extLst>
                  <a:ext uri="{FF2B5EF4-FFF2-40B4-BE49-F238E27FC236}">
                    <a16:creationId xmlns:a16="http://schemas.microsoft.com/office/drawing/2014/main" id="{42CEEF40-4E8D-9194-CD78-8AB1C526BA73}"/>
                  </a:ext>
                </a:extLst>
              </p:cNvPr>
              <p:cNvSpPr>
                <a:spLocks/>
              </p:cNvSpPr>
              <p:nvPr/>
            </p:nvSpPr>
            <p:spPr bwMode="auto">
              <a:xfrm>
                <a:off x="2184" y="1195"/>
                <a:ext cx="1" cy="1"/>
              </a:xfrm>
              <a:custGeom>
                <a:avLst/>
                <a:gdLst>
                  <a:gd name="T0" fmla="*/ 0 w 3"/>
                  <a:gd name="T1" fmla="*/ 0 h 4"/>
                  <a:gd name="T2" fmla="*/ 0 w 3"/>
                  <a:gd name="T3" fmla="*/ 0 h 4"/>
                  <a:gd name="T4" fmla="*/ 0 w 3"/>
                  <a:gd name="T5" fmla="*/ 0 h 4"/>
                  <a:gd name="T6" fmla="*/ 0 w 3"/>
                  <a:gd name="T7" fmla="*/ 0 h 4"/>
                  <a:gd name="T8" fmla="*/ 0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0" y="4"/>
                    </a:moveTo>
                    <a:lnTo>
                      <a:pt x="1" y="4"/>
                    </a:lnTo>
                    <a:lnTo>
                      <a:pt x="3" y="0"/>
                    </a:lnTo>
                    <a:lnTo>
                      <a:pt x="0" y="0"/>
                    </a:lnTo>
                    <a:lnTo>
                      <a:pt x="0" y="4"/>
                    </a:lnTo>
                    <a:close/>
                  </a:path>
                </a:pathLst>
              </a:custGeom>
              <a:grpFill/>
              <a:ln w="1587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5" name="Freeform 250">
                <a:extLst>
                  <a:ext uri="{FF2B5EF4-FFF2-40B4-BE49-F238E27FC236}">
                    <a16:creationId xmlns:a16="http://schemas.microsoft.com/office/drawing/2014/main" id="{22341F1E-5B1D-BEDA-AA95-D2428CA979A0}"/>
                  </a:ext>
                </a:extLst>
              </p:cNvPr>
              <p:cNvSpPr>
                <a:spLocks/>
              </p:cNvSpPr>
              <p:nvPr/>
            </p:nvSpPr>
            <p:spPr bwMode="auto">
              <a:xfrm>
                <a:off x="2183" y="1198"/>
                <a:ext cx="1" cy="1"/>
              </a:xfrm>
              <a:custGeom>
                <a:avLst/>
                <a:gdLst>
                  <a:gd name="T0" fmla="*/ 0 w 4"/>
                  <a:gd name="T1" fmla="*/ 0 h 4"/>
                  <a:gd name="T2" fmla="*/ 0 w 4"/>
                  <a:gd name="T3" fmla="*/ 0 h 4"/>
                  <a:gd name="T4" fmla="*/ 0 w 4"/>
                  <a:gd name="T5" fmla="*/ 0 h 4"/>
                  <a:gd name="T6" fmla="*/ 0 w 4"/>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0" y="0"/>
                    </a:moveTo>
                    <a:lnTo>
                      <a:pt x="0" y="4"/>
                    </a:lnTo>
                    <a:lnTo>
                      <a:pt x="4" y="1"/>
                    </a:lnTo>
                    <a:lnTo>
                      <a:pt x="0" y="0"/>
                    </a:lnTo>
                    <a:close/>
                  </a:path>
                </a:pathLst>
              </a:custGeom>
              <a:grpFill/>
              <a:ln w="1587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6" name="Freeform 251">
                <a:extLst>
                  <a:ext uri="{FF2B5EF4-FFF2-40B4-BE49-F238E27FC236}">
                    <a16:creationId xmlns:a16="http://schemas.microsoft.com/office/drawing/2014/main" id="{CAC585D1-326F-4A65-54A8-2F77035A6751}"/>
                  </a:ext>
                </a:extLst>
              </p:cNvPr>
              <p:cNvSpPr>
                <a:spLocks/>
              </p:cNvSpPr>
              <p:nvPr/>
            </p:nvSpPr>
            <p:spPr bwMode="auto">
              <a:xfrm>
                <a:off x="1715" y="1241"/>
                <a:ext cx="370" cy="372"/>
              </a:xfrm>
              <a:custGeom>
                <a:avLst/>
                <a:gdLst>
                  <a:gd name="T0" fmla="*/ 0 w 1111"/>
                  <a:gd name="T1" fmla="*/ 0 h 1115"/>
                  <a:gd name="T2" fmla="*/ 0 w 1111"/>
                  <a:gd name="T3" fmla="*/ 0 h 1115"/>
                  <a:gd name="T4" fmla="*/ 0 w 1111"/>
                  <a:gd name="T5" fmla="*/ 0 h 1115"/>
                  <a:gd name="T6" fmla="*/ 0 w 1111"/>
                  <a:gd name="T7" fmla="*/ 0 h 1115"/>
                  <a:gd name="T8" fmla="*/ 0 w 1111"/>
                  <a:gd name="T9" fmla="*/ 0 h 1115"/>
                  <a:gd name="T10" fmla="*/ 0 w 1111"/>
                  <a:gd name="T11" fmla="*/ 0 h 1115"/>
                  <a:gd name="T12" fmla="*/ 0 w 1111"/>
                  <a:gd name="T13" fmla="*/ 0 h 1115"/>
                  <a:gd name="T14" fmla="*/ 0 w 1111"/>
                  <a:gd name="T15" fmla="*/ 0 h 1115"/>
                  <a:gd name="T16" fmla="*/ 0 w 1111"/>
                  <a:gd name="T17" fmla="*/ 0 h 1115"/>
                  <a:gd name="T18" fmla="*/ 0 w 1111"/>
                  <a:gd name="T19" fmla="*/ 0 h 1115"/>
                  <a:gd name="T20" fmla="*/ 0 w 1111"/>
                  <a:gd name="T21" fmla="*/ 0 h 1115"/>
                  <a:gd name="T22" fmla="*/ 0 w 1111"/>
                  <a:gd name="T23" fmla="*/ 0 h 1115"/>
                  <a:gd name="T24" fmla="*/ 0 w 1111"/>
                  <a:gd name="T25" fmla="*/ 0 h 1115"/>
                  <a:gd name="T26" fmla="*/ 0 w 1111"/>
                  <a:gd name="T27" fmla="*/ 0 h 1115"/>
                  <a:gd name="T28" fmla="*/ 0 w 1111"/>
                  <a:gd name="T29" fmla="*/ 0 h 1115"/>
                  <a:gd name="T30" fmla="*/ 0 w 1111"/>
                  <a:gd name="T31" fmla="*/ 0 h 1115"/>
                  <a:gd name="T32" fmla="*/ 0 w 1111"/>
                  <a:gd name="T33" fmla="*/ 0 h 1115"/>
                  <a:gd name="T34" fmla="*/ 0 w 1111"/>
                  <a:gd name="T35" fmla="*/ 0 h 1115"/>
                  <a:gd name="T36" fmla="*/ 0 w 1111"/>
                  <a:gd name="T37" fmla="*/ 0 h 1115"/>
                  <a:gd name="T38" fmla="*/ 0 w 1111"/>
                  <a:gd name="T39" fmla="*/ 0 h 1115"/>
                  <a:gd name="T40" fmla="*/ 0 w 1111"/>
                  <a:gd name="T41" fmla="*/ 0 h 1115"/>
                  <a:gd name="T42" fmla="*/ 0 w 1111"/>
                  <a:gd name="T43" fmla="*/ 0 h 1115"/>
                  <a:gd name="T44" fmla="*/ 0 w 1111"/>
                  <a:gd name="T45" fmla="*/ 0 h 1115"/>
                  <a:gd name="T46" fmla="*/ 0 w 1111"/>
                  <a:gd name="T47" fmla="*/ 0 h 1115"/>
                  <a:gd name="T48" fmla="*/ 0 w 1111"/>
                  <a:gd name="T49" fmla="*/ 0 h 1115"/>
                  <a:gd name="T50" fmla="*/ 0 w 1111"/>
                  <a:gd name="T51" fmla="*/ 0 h 1115"/>
                  <a:gd name="T52" fmla="*/ 0 w 1111"/>
                  <a:gd name="T53" fmla="*/ 0 h 1115"/>
                  <a:gd name="T54" fmla="*/ 0 w 1111"/>
                  <a:gd name="T55" fmla="*/ 0 h 1115"/>
                  <a:gd name="T56" fmla="*/ 0 w 1111"/>
                  <a:gd name="T57" fmla="*/ 0 h 1115"/>
                  <a:gd name="T58" fmla="*/ 0 w 1111"/>
                  <a:gd name="T59" fmla="*/ 0 h 1115"/>
                  <a:gd name="T60" fmla="*/ 0 w 1111"/>
                  <a:gd name="T61" fmla="*/ 0 h 1115"/>
                  <a:gd name="T62" fmla="*/ 0 w 1111"/>
                  <a:gd name="T63" fmla="*/ 0 h 1115"/>
                  <a:gd name="T64" fmla="*/ 0 w 1111"/>
                  <a:gd name="T65" fmla="*/ 0 h 1115"/>
                  <a:gd name="T66" fmla="*/ 0 w 1111"/>
                  <a:gd name="T67" fmla="*/ 0 h 1115"/>
                  <a:gd name="T68" fmla="*/ 0 w 1111"/>
                  <a:gd name="T69" fmla="*/ 0 h 1115"/>
                  <a:gd name="T70" fmla="*/ 0 w 1111"/>
                  <a:gd name="T71" fmla="*/ 0 h 1115"/>
                  <a:gd name="T72" fmla="*/ 0 w 1111"/>
                  <a:gd name="T73" fmla="*/ 0 h 1115"/>
                  <a:gd name="T74" fmla="*/ 0 w 1111"/>
                  <a:gd name="T75" fmla="*/ 0 h 1115"/>
                  <a:gd name="T76" fmla="*/ 0 w 1111"/>
                  <a:gd name="T77" fmla="*/ 0 h 1115"/>
                  <a:gd name="T78" fmla="*/ 0 w 1111"/>
                  <a:gd name="T79" fmla="*/ 0 h 1115"/>
                  <a:gd name="T80" fmla="*/ 0 w 1111"/>
                  <a:gd name="T81" fmla="*/ 0 h 1115"/>
                  <a:gd name="T82" fmla="*/ 0 w 1111"/>
                  <a:gd name="T83" fmla="*/ 0 h 1115"/>
                  <a:gd name="T84" fmla="*/ 0 w 1111"/>
                  <a:gd name="T85" fmla="*/ 0 h 1115"/>
                  <a:gd name="T86" fmla="*/ 0 w 1111"/>
                  <a:gd name="T87" fmla="*/ 0 h 1115"/>
                  <a:gd name="T88" fmla="*/ 0 w 1111"/>
                  <a:gd name="T89" fmla="*/ 0 h 1115"/>
                  <a:gd name="T90" fmla="*/ 0 w 1111"/>
                  <a:gd name="T91" fmla="*/ 0 h 1115"/>
                  <a:gd name="T92" fmla="*/ 0 w 1111"/>
                  <a:gd name="T93" fmla="*/ 0 h 1115"/>
                  <a:gd name="T94" fmla="*/ 0 w 1111"/>
                  <a:gd name="T95" fmla="*/ 0 h 1115"/>
                  <a:gd name="T96" fmla="*/ 0 w 1111"/>
                  <a:gd name="T97" fmla="*/ 0 h 1115"/>
                  <a:gd name="T98" fmla="*/ 0 w 1111"/>
                  <a:gd name="T99" fmla="*/ 0 h 1115"/>
                  <a:gd name="T100" fmla="*/ 0 w 1111"/>
                  <a:gd name="T101" fmla="*/ 0 h 1115"/>
                  <a:gd name="T102" fmla="*/ 0 w 1111"/>
                  <a:gd name="T103" fmla="*/ 0 h 1115"/>
                  <a:gd name="T104" fmla="*/ 0 w 1111"/>
                  <a:gd name="T105" fmla="*/ 0 h 1115"/>
                  <a:gd name="T106" fmla="*/ 0 w 1111"/>
                  <a:gd name="T107" fmla="*/ 0 h 1115"/>
                  <a:gd name="T108" fmla="*/ 0 w 1111"/>
                  <a:gd name="T109" fmla="*/ 0 h 1115"/>
                  <a:gd name="T110" fmla="*/ 0 w 1111"/>
                  <a:gd name="T111" fmla="*/ 0 h 1115"/>
                  <a:gd name="T112" fmla="*/ 0 w 1111"/>
                  <a:gd name="T113" fmla="*/ 0 h 1115"/>
                  <a:gd name="T114" fmla="*/ 0 w 1111"/>
                  <a:gd name="T115" fmla="*/ 0 h 1115"/>
                  <a:gd name="T116" fmla="*/ 0 w 1111"/>
                  <a:gd name="T117" fmla="*/ 0 h 1115"/>
                  <a:gd name="T118" fmla="*/ 0 w 1111"/>
                  <a:gd name="T119" fmla="*/ 0 h 1115"/>
                  <a:gd name="T120" fmla="*/ 0 w 1111"/>
                  <a:gd name="T121" fmla="*/ 0 h 11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11" h="1115">
                    <a:moveTo>
                      <a:pt x="378" y="606"/>
                    </a:moveTo>
                    <a:lnTo>
                      <a:pt x="384" y="606"/>
                    </a:lnTo>
                    <a:lnTo>
                      <a:pt x="384" y="611"/>
                    </a:lnTo>
                    <a:lnTo>
                      <a:pt x="391" y="612"/>
                    </a:lnTo>
                    <a:lnTo>
                      <a:pt x="397" y="627"/>
                    </a:lnTo>
                    <a:lnTo>
                      <a:pt x="402" y="636"/>
                    </a:lnTo>
                    <a:lnTo>
                      <a:pt x="400" y="645"/>
                    </a:lnTo>
                    <a:lnTo>
                      <a:pt x="394" y="645"/>
                    </a:lnTo>
                    <a:lnTo>
                      <a:pt x="399" y="656"/>
                    </a:lnTo>
                    <a:lnTo>
                      <a:pt x="406" y="660"/>
                    </a:lnTo>
                    <a:lnTo>
                      <a:pt x="415" y="662"/>
                    </a:lnTo>
                    <a:lnTo>
                      <a:pt x="414" y="668"/>
                    </a:lnTo>
                    <a:lnTo>
                      <a:pt x="417" y="671"/>
                    </a:lnTo>
                    <a:lnTo>
                      <a:pt x="417" y="686"/>
                    </a:lnTo>
                    <a:lnTo>
                      <a:pt x="405" y="693"/>
                    </a:lnTo>
                    <a:lnTo>
                      <a:pt x="408" y="702"/>
                    </a:lnTo>
                    <a:lnTo>
                      <a:pt x="405" y="716"/>
                    </a:lnTo>
                    <a:lnTo>
                      <a:pt x="403" y="722"/>
                    </a:lnTo>
                    <a:lnTo>
                      <a:pt x="399" y="725"/>
                    </a:lnTo>
                    <a:lnTo>
                      <a:pt x="396" y="732"/>
                    </a:lnTo>
                    <a:lnTo>
                      <a:pt x="388" y="737"/>
                    </a:lnTo>
                    <a:lnTo>
                      <a:pt x="382" y="732"/>
                    </a:lnTo>
                    <a:lnTo>
                      <a:pt x="373" y="732"/>
                    </a:lnTo>
                    <a:lnTo>
                      <a:pt x="373" y="725"/>
                    </a:lnTo>
                    <a:lnTo>
                      <a:pt x="366" y="728"/>
                    </a:lnTo>
                    <a:lnTo>
                      <a:pt x="369" y="740"/>
                    </a:lnTo>
                    <a:lnTo>
                      <a:pt x="370" y="744"/>
                    </a:lnTo>
                    <a:lnTo>
                      <a:pt x="369" y="747"/>
                    </a:lnTo>
                    <a:lnTo>
                      <a:pt x="364" y="746"/>
                    </a:lnTo>
                    <a:lnTo>
                      <a:pt x="366" y="743"/>
                    </a:lnTo>
                    <a:lnTo>
                      <a:pt x="364" y="729"/>
                    </a:lnTo>
                    <a:lnTo>
                      <a:pt x="358" y="728"/>
                    </a:lnTo>
                    <a:lnTo>
                      <a:pt x="358" y="722"/>
                    </a:lnTo>
                    <a:lnTo>
                      <a:pt x="352" y="722"/>
                    </a:lnTo>
                    <a:lnTo>
                      <a:pt x="343" y="714"/>
                    </a:lnTo>
                    <a:lnTo>
                      <a:pt x="331" y="716"/>
                    </a:lnTo>
                    <a:lnTo>
                      <a:pt x="319" y="719"/>
                    </a:lnTo>
                    <a:lnTo>
                      <a:pt x="309" y="720"/>
                    </a:lnTo>
                    <a:lnTo>
                      <a:pt x="304" y="717"/>
                    </a:lnTo>
                    <a:lnTo>
                      <a:pt x="295" y="720"/>
                    </a:lnTo>
                    <a:lnTo>
                      <a:pt x="295" y="723"/>
                    </a:lnTo>
                    <a:lnTo>
                      <a:pt x="270" y="728"/>
                    </a:lnTo>
                    <a:lnTo>
                      <a:pt x="264" y="726"/>
                    </a:lnTo>
                    <a:lnTo>
                      <a:pt x="253" y="732"/>
                    </a:lnTo>
                    <a:lnTo>
                      <a:pt x="244" y="741"/>
                    </a:lnTo>
                    <a:lnTo>
                      <a:pt x="232" y="735"/>
                    </a:lnTo>
                    <a:lnTo>
                      <a:pt x="219" y="738"/>
                    </a:lnTo>
                    <a:lnTo>
                      <a:pt x="213" y="743"/>
                    </a:lnTo>
                    <a:lnTo>
                      <a:pt x="204" y="740"/>
                    </a:lnTo>
                    <a:lnTo>
                      <a:pt x="196" y="753"/>
                    </a:lnTo>
                    <a:lnTo>
                      <a:pt x="186" y="753"/>
                    </a:lnTo>
                    <a:lnTo>
                      <a:pt x="177" y="746"/>
                    </a:lnTo>
                    <a:lnTo>
                      <a:pt x="168" y="747"/>
                    </a:lnTo>
                    <a:lnTo>
                      <a:pt x="162" y="755"/>
                    </a:lnTo>
                    <a:lnTo>
                      <a:pt x="151" y="756"/>
                    </a:lnTo>
                    <a:lnTo>
                      <a:pt x="136" y="764"/>
                    </a:lnTo>
                    <a:lnTo>
                      <a:pt x="132" y="761"/>
                    </a:lnTo>
                    <a:lnTo>
                      <a:pt x="132" y="764"/>
                    </a:lnTo>
                    <a:lnTo>
                      <a:pt x="121" y="765"/>
                    </a:lnTo>
                    <a:lnTo>
                      <a:pt x="117" y="762"/>
                    </a:lnTo>
                    <a:lnTo>
                      <a:pt x="103" y="759"/>
                    </a:lnTo>
                    <a:lnTo>
                      <a:pt x="96" y="774"/>
                    </a:lnTo>
                    <a:lnTo>
                      <a:pt x="85" y="773"/>
                    </a:lnTo>
                    <a:lnTo>
                      <a:pt x="81" y="768"/>
                    </a:lnTo>
                    <a:lnTo>
                      <a:pt x="79" y="774"/>
                    </a:lnTo>
                    <a:lnTo>
                      <a:pt x="64" y="770"/>
                    </a:lnTo>
                    <a:lnTo>
                      <a:pt x="61" y="774"/>
                    </a:lnTo>
                    <a:lnTo>
                      <a:pt x="70" y="791"/>
                    </a:lnTo>
                    <a:lnTo>
                      <a:pt x="63" y="795"/>
                    </a:lnTo>
                    <a:lnTo>
                      <a:pt x="46" y="797"/>
                    </a:lnTo>
                    <a:lnTo>
                      <a:pt x="54" y="806"/>
                    </a:lnTo>
                    <a:lnTo>
                      <a:pt x="64" y="804"/>
                    </a:lnTo>
                    <a:lnTo>
                      <a:pt x="75" y="812"/>
                    </a:lnTo>
                    <a:lnTo>
                      <a:pt x="100" y="812"/>
                    </a:lnTo>
                    <a:lnTo>
                      <a:pt x="109" y="818"/>
                    </a:lnTo>
                    <a:lnTo>
                      <a:pt x="115" y="816"/>
                    </a:lnTo>
                    <a:lnTo>
                      <a:pt x="126" y="810"/>
                    </a:lnTo>
                    <a:lnTo>
                      <a:pt x="130" y="818"/>
                    </a:lnTo>
                    <a:lnTo>
                      <a:pt x="135" y="822"/>
                    </a:lnTo>
                    <a:lnTo>
                      <a:pt x="144" y="822"/>
                    </a:lnTo>
                    <a:lnTo>
                      <a:pt x="147" y="825"/>
                    </a:lnTo>
                    <a:lnTo>
                      <a:pt x="150" y="824"/>
                    </a:lnTo>
                    <a:lnTo>
                      <a:pt x="159" y="828"/>
                    </a:lnTo>
                    <a:lnTo>
                      <a:pt x="159" y="834"/>
                    </a:lnTo>
                    <a:lnTo>
                      <a:pt x="169" y="837"/>
                    </a:lnTo>
                    <a:lnTo>
                      <a:pt x="177" y="843"/>
                    </a:lnTo>
                    <a:lnTo>
                      <a:pt x="186" y="837"/>
                    </a:lnTo>
                    <a:lnTo>
                      <a:pt x="190" y="831"/>
                    </a:lnTo>
                    <a:lnTo>
                      <a:pt x="198" y="831"/>
                    </a:lnTo>
                    <a:lnTo>
                      <a:pt x="201" y="825"/>
                    </a:lnTo>
                    <a:lnTo>
                      <a:pt x="205" y="822"/>
                    </a:lnTo>
                    <a:lnTo>
                      <a:pt x="202" y="816"/>
                    </a:lnTo>
                    <a:lnTo>
                      <a:pt x="205" y="812"/>
                    </a:lnTo>
                    <a:lnTo>
                      <a:pt x="204" y="803"/>
                    </a:lnTo>
                    <a:lnTo>
                      <a:pt x="210" y="800"/>
                    </a:lnTo>
                    <a:lnTo>
                      <a:pt x="216" y="794"/>
                    </a:lnTo>
                    <a:lnTo>
                      <a:pt x="217" y="798"/>
                    </a:lnTo>
                    <a:lnTo>
                      <a:pt x="225" y="795"/>
                    </a:lnTo>
                    <a:lnTo>
                      <a:pt x="226" y="800"/>
                    </a:lnTo>
                    <a:lnTo>
                      <a:pt x="234" y="798"/>
                    </a:lnTo>
                    <a:lnTo>
                      <a:pt x="228" y="803"/>
                    </a:lnTo>
                    <a:lnTo>
                      <a:pt x="222" y="801"/>
                    </a:lnTo>
                    <a:lnTo>
                      <a:pt x="211" y="801"/>
                    </a:lnTo>
                    <a:lnTo>
                      <a:pt x="208" y="810"/>
                    </a:lnTo>
                    <a:lnTo>
                      <a:pt x="205" y="818"/>
                    </a:lnTo>
                    <a:lnTo>
                      <a:pt x="208" y="822"/>
                    </a:lnTo>
                    <a:lnTo>
                      <a:pt x="204" y="828"/>
                    </a:lnTo>
                    <a:lnTo>
                      <a:pt x="205" y="833"/>
                    </a:lnTo>
                    <a:lnTo>
                      <a:pt x="214" y="837"/>
                    </a:lnTo>
                    <a:lnTo>
                      <a:pt x="225" y="836"/>
                    </a:lnTo>
                    <a:lnTo>
                      <a:pt x="250" y="851"/>
                    </a:lnTo>
                    <a:lnTo>
                      <a:pt x="253" y="858"/>
                    </a:lnTo>
                    <a:lnTo>
                      <a:pt x="261" y="861"/>
                    </a:lnTo>
                    <a:lnTo>
                      <a:pt x="270" y="864"/>
                    </a:lnTo>
                    <a:lnTo>
                      <a:pt x="274" y="870"/>
                    </a:lnTo>
                    <a:lnTo>
                      <a:pt x="295" y="887"/>
                    </a:lnTo>
                    <a:lnTo>
                      <a:pt x="306" y="902"/>
                    </a:lnTo>
                    <a:lnTo>
                      <a:pt x="307" y="909"/>
                    </a:lnTo>
                    <a:lnTo>
                      <a:pt x="315" y="914"/>
                    </a:lnTo>
                    <a:lnTo>
                      <a:pt x="324" y="929"/>
                    </a:lnTo>
                    <a:lnTo>
                      <a:pt x="330" y="930"/>
                    </a:lnTo>
                    <a:lnTo>
                      <a:pt x="325" y="933"/>
                    </a:lnTo>
                    <a:lnTo>
                      <a:pt x="331" y="944"/>
                    </a:lnTo>
                    <a:lnTo>
                      <a:pt x="337" y="948"/>
                    </a:lnTo>
                    <a:lnTo>
                      <a:pt x="342" y="947"/>
                    </a:lnTo>
                    <a:lnTo>
                      <a:pt x="340" y="962"/>
                    </a:lnTo>
                    <a:lnTo>
                      <a:pt x="346" y="963"/>
                    </a:lnTo>
                    <a:lnTo>
                      <a:pt x="358" y="959"/>
                    </a:lnTo>
                    <a:lnTo>
                      <a:pt x="346" y="971"/>
                    </a:lnTo>
                    <a:lnTo>
                      <a:pt x="348" y="975"/>
                    </a:lnTo>
                    <a:lnTo>
                      <a:pt x="348" y="978"/>
                    </a:lnTo>
                    <a:lnTo>
                      <a:pt x="346" y="981"/>
                    </a:lnTo>
                    <a:lnTo>
                      <a:pt x="354" y="992"/>
                    </a:lnTo>
                    <a:lnTo>
                      <a:pt x="354" y="996"/>
                    </a:lnTo>
                    <a:lnTo>
                      <a:pt x="358" y="995"/>
                    </a:lnTo>
                    <a:lnTo>
                      <a:pt x="363" y="999"/>
                    </a:lnTo>
                    <a:lnTo>
                      <a:pt x="354" y="1002"/>
                    </a:lnTo>
                    <a:lnTo>
                      <a:pt x="352" y="999"/>
                    </a:lnTo>
                    <a:lnTo>
                      <a:pt x="351" y="1002"/>
                    </a:lnTo>
                    <a:lnTo>
                      <a:pt x="357" y="1017"/>
                    </a:lnTo>
                    <a:lnTo>
                      <a:pt x="355" y="1031"/>
                    </a:lnTo>
                    <a:lnTo>
                      <a:pt x="354" y="1040"/>
                    </a:lnTo>
                    <a:lnTo>
                      <a:pt x="345" y="1044"/>
                    </a:lnTo>
                    <a:lnTo>
                      <a:pt x="345" y="1041"/>
                    </a:lnTo>
                    <a:lnTo>
                      <a:pt x="339" y="1041"/>
                    </a:lnTo>
                    <a:lnTo>
                      <a:pt x="339" y="1044"/>
                    </a:lnTo>
                    <a:lnTo>
                      <a:pt x="328" y="1050"/>
                    </a:lnTo>
                    <a:lnTo>
                      <a:pt x="328" y="1055"/>
                    </a:lnTo>
                    <a:lnTo>
                      <a:pt x="333" y="1053"/>
                    </a:lnTo>
                    <a:lnTo>
                      <a:pt x="333" y="1061"/>
                    </a:lnTo>
                    <a:lnTo>
                      <a:pt x="334" y="1062"/>
                    </a:lnTo>
                    <a:lnTo>
                      <a:pt x="334" y="1068"/>
                    </a:lnTo>
                    <a:lnTo>
                      <a:pt x="334" y="1077"/>
                    </a:lnTo>
                    <a:lnTo>
                      <a:pt x="343" y="1079"/>
                    </a:lnTo>
                    <a:lnTo>
                      <a:pt x="351" y="1077"/>
                    </a:lnTo>
                    <a:lnTo>
                      <a:pt x="357" y="1074"/>
                    </a:lnTo>
                    <a:lnTo>
                      <a:pt x="370" y="1076"/>
                    </a:lnTo>
                    <a:lnTo>
                      <a:pt x="381" y="1073"/>
                    </a:lnTo>
                    <a:lnTo>
                      <a:pt x="391" y="1074"/>
                    </a:lnTo>
                    <a:lnTo>
                      <a:pt x="399" y="1079"/>
                    </a:lnTo>
                    <a:lnTo>
                      <a:pt x="402" y="1083"/>
                    </a:lnTo>
                    <a:lnTo>
                      <a:pt x="409" y="1079"/>
                    </a:lnTo>
                    <a:lnTo>
                      <a:pt x="418" y="1085"/>
                    </a:lnTo>
                    <a:lnTo>
                      <a:pt x="442" y="1083"/>
                    </a:lnTo>
                    <a:lnTo>
                      <a:pt x="448" y="1079"/>
                    </a:lnTo>
                    <a:lnTo>
                      <a:pt x="450" y="1082"/>
                    </a:lnTo>
                    <a:lnTo>
                      <a:pt x="459" y="1080"/>
                    </a:lnTo>
                    <a:lnTo>
                      <a:pt x="459" y="1076"/>
                    </a:lnTo>
                    <a:lnTo>
                      <a:pt x="459" y="1065"/>
                    </a:lnTo>
                    <a:lnTo>
                      <a:pt x="451" y="1062"/>
                    </a:lnTo>
                    <a:lnTo>
                      <a:pt x="456" y="1059"/>
                    </a:lnTo>
                    <a:lnTo>
                      <a:pt x="457" y="1056"/>
                    </a:lnTo>
                    <a:lnTo>
                      <a:pt x="465" y="1074"/>
                    </a:lnTo>
                    <a:lnTo>
                      <a:pt x="468" y="1076"/>
                    </a:lnTo>
                    <a:lnTo>
                      <a:pt x="475" y="1079"/>
                    </a:lnTo>
                    <a:lnTo>
                      <a:pt x="483" y="1074"/>
                    </a:lnTo>
                    <a:lnTo>
                      <a:pt x="490" y="1067"/>
                    </a:lnTo>
                    <a:lnTo>
                      <a:pt x="492" y="1058"/>
                    </a:lnTo>
                    <a:lnTo>
                      <a:pt x="498" y="1058"/>
                    </a:lnTo>
                    <a:lnTo>
                      <a:pt x="496" y="1053"/>
                    </a:lnTo>
                    <a:lnTo>
                      <a:pt x="501" y="1047"/>
                    </a:lnTo>
                    <a:lnTo>
                      <a:pt x="502" y="1040"/>
                    </a:lnTo>
                    <a:lnTo>
                      <a:pt x="498" y="1034"/>
                    </a:lnTo>
                    <a:lnTo>
                      <a:pt x="490" y="1035"/>
                    </a:lnTo>
                    <a:lnTo>
                      <a:pt x="480" y="1031"/>
                    </a:lnTo>
                    <a:lnTo>
                      <a:pt x="489" y="1026"/>
                    </a:lnTo>
                    <a:lnTo>
                      <a:pt x="484" y="1020"/>
                    </a:lnTo>
                    <a:lnTo>
                      <a:pt x="483" y="1025"/>
                    </a:lnTo>
                    <a:lnTo>
                      <a:pt x="480" y="1022"/>
                    </a:lnTo>
                    <a:lnTo>
                      <a:pt x="480" y="1016"/>
                    </a:lnTo>
                    <a:lnTo>
                      <a:pt x="475" y="1013"/>
                    </a:lnTo>
                    <a:lnTo>
                      <a:pt x="474" y="998"/>
                    </a:lnTo>
                    <a:lnTo>
                      <a:pt x="477" y="996"/>
                    </a:lnTo>
                    <a:lnTo>
                      <a:pt x="478" y="987"/>
                    </a:lnTo>
                    <a:lnTo>
                      <a:pt x="483" y="986"/>
                    </a:lnTo>
                    <a:lnTo>
                      <a:pt x="480" y="978"/>
                    </a:lnTo>
                    <a:lnTo>
                      <a:pt x="492" y="987"/>
                    </a:lnTo>
                    <a:lnTo>
                      <a:pt x="492" y="990"/>
                    </a:lnTo>
                    <a:lnTo>
                      <a:pt x="498" y="1007"/>
                    </a:lnTo>
                    <a:lnTo>
                      <a:pt x="502" y="1004"/>
                    </a:lnTo>
                    <a:lnTo>
                      <a:pt x="504" y="1010"/>
                    </a:lnTo>
                    <a:lnTo>
                      <a:pt x="495" y="1016"/>
                    </a:lnTo>
                    <a:lnTo>
                      <a:pt x="495" y="1026"/>
                    </a:lnTo>
                    <a:lnTo>
                      <a:pt x="499" y="1026"/>
                    </a:lnTo>
                    <a:lnTo>
                      <a:pt x="499" y="1017"/>
                    </a:lnTo>
                    <a:lnTo>
                      <a:pt x="513" y="1007"/>
                    </a:lnTo>
                    <a:lnTo>
                      <a:pt x="534" y="999"/>
                    </a:lnTo>
                    <a:lnTo>
                      <a:pt x="540" y="1001"/>
                    </a:lnTo>
                    <a:lnTo>
                      <a:pt x="540" y="995"/>
                    </a:lnTo>
                    <a:lnTo>
                      <a:pt x="534" y="987"/>
                    </a:lnTo>
                    <a:lnTo>
                      <a:pt x="534" y="978"/>
                    </a:lnTo>
                    <a:lnTo>
                      <a:pt x="517" y="965"/>
                    </a:lnTo>
                    <a:lnTo>
                      <a:pt x="507" y="968"/>
                    </a:lnTo>
                    <a:lnTo>
                      <a:pt x="495" y="966"/>
                    </a:lnTo>
                    <a:lnTo>
                      <a:pt x="490" y="951"/>
                    </a:lnTo>
                    <a:lnTo>
                      <a:pt x="498" y="962"/>
                    </a:lnTo>
                    <a:lnTo>
                      <a:pt x="514" y="960"/>
                    </a:lnTo>
                    <a:lnTo>
                      <a:pt x="514" y="954"/>
                    </a:lnTo>
                    <a:lnTo>
                      <a:pt x="510" y="947"/>
                    </a:lnTo>
                    <a:lnTo>
                      <a:pt x="517" y="936"/>
                    </a:lnTo>
                    <a:lnTo>
                      <a:pt x="517" y="929"/>
                    </a:lnTo>
                    <a:lnTo>
                      <a:pt x="538" y="920"/>
                    </a:lnTo>
                    <a:lnTo>
                      <a:pt x="538" y="909"/>
                    </a:lnTo>
                    <a:lnTo>
                      <a:pt x="538" y="897"/>
                    </a:lnTo>
                    <a:lnTo>
                      <a:pt x="535" y="897"/>
                    </a:lnTo>
                    <a:lnTo>
                      <a:pt x="540" y="893"/>
                    </a:lnTo>
                    <a:lnTo>
                      <a:pt x="537" y="887"/>
                    </a:lnTo>
                    <a:lnTo>
                      <a:pt x="535" y="882"/>
                    </a:lnTo>
                    <a:lnTo>
                      <a:pt x="543" y="884"/>
                    </a:lnTo>
                    <a:lnTo>
                      <a:pt x="547" y="881"/>
                    </a:lnTo>
                    <a:lnTo>
                      <a:pt x="547" y="876"/>
                    </a:lnTo>
                    <a:lnTo>
                      <a:pt x="535" y="870"/>
                    </a:lnTo>
                    <a:lnTo>
                      <a:pt x="537" y="863"/>
                    </a:lnTo>
                    <a:lnTo>
                      <a:pt x="541" y="854"/>
                    </a:lnTo>
                    <a:lnTo>
                      <a:pt x="538" y="866"/>
                    </a:lnTo>
                    <a:lnTo>
                      <a:pt x="541" y="872"/>
                    </a:lnTo>
                    <a:lnTo>
                      <a:pt x="550" y="872"/>
                    </a:lnTo>
                    <a:lnTo>
                      <a:pt x="555" y="879"/>
                    </a:lnTo>
                    <a:lnTo>
                      <a:pt x="553" y="894"/>
                    </a:lnTo>
                    <a:lnTo>
                      <a:pt x="547" y="900"/>
                    </a:lnTo>
                    <a:lnTo>
                      <a:pt x="544" y="902"/>
                    </a:lnTo>
                    <a:lnTo>
                      <a:pt x="544" y="906"/>
                    </a:lnTo>
                    <a:lnTo>
                      <a:pt x="555" y="908"/>
                    </a:lnTo>
                    <a:lnTo>
                      <a:pt x="565" y="896"/>
                    </a:lnTo>
                    <a:lnTo>
                      <a:pt x="570" y="903"/>
                    </a:lnTo>
                    <a:lnTo>
                      <a:pt x="562" y="903"/>
                    </a:lnTo>
                    <a:lnTo>
                      <a:pt x="564" y="906"/>
                    </a:lnTo>
                    <a:lnTo>
                      <a:pt x="559" y="911"/>
                    </a:lnTo>
                    <a:lnTo>
                      <a:pt x="564" y="914"/>
                    </a:lnTo>
                    <a:lnTo>
                      <a:pt x="570" y="914"/>
                    </a:lnTo>
                    <a:lnTo>
                      <a:pt x="568" y="918"/>
                    </a:lnTo>
                    <a:lnTo>
                      <a:pt x="547" y="909"/>
                    </a:lnTo>
                    <a:lnTo>
                      <a:pt x="541" y="920"/>
                    </a:lnTo>
                    <a:lnTo>
                      <a:pt x="537" y="924"/>
                    </a:lnTo>
                    <a:lnTo>
                      <a:pt x="528" y="924"/>
                    </a:lnTo>
                    <a:lnTo>
                      <a:pt x="522" y="932"/>
                    </a:lnTo>
                    <a:lnTo>
                      <a:pt x="519" y="947"/>
                    </a:lnTo>
                    <a:lnTo>
                      <a:pt x="519" y="957"/>
                    </a:lnTo>
                    <a:lnTo>
                      <a:pt x="529" y="963"/>
                    </a:lnTo>
                    <a:lnTo>
                      <a:pt x="537" y="965"/>
                    </a:lnTo>
                    <a:lnTo>
                      <a:pt x="532" y="971"/>
                    </a:lnTo>
                    <a:lnTo>
                      <a:pt x="540" y="977"/>
                    </a:lnTo>
                    <a:lnTo>
                      <a:pt x="538" y="986"/>
                    </a:lnTo>
                    <a:lnTo>
                      <a:pt x="549" y="992"/>
                    </a:lnTo>
                    <a:lnTo>
                      <a:pt x="553" y="1002"/>
                    </a:lnTo>
                    <a:lnTo>
                      <a:pt x="567" y="996"/>
                    </a:lnTo>
                    <a:lnTo>
                      <a:pt x="562" y="989"/>
                    </a:lnTo>
                    <a:lnTo>
                      <a:pt x="568" y="986"/>
                    </a:lnTo>
                    <a:lnTo>
                      <a:pt x="568" y="993"/>
                    </a:lnTo>
                    <a:lnTo>
                      <a:pt x="574" y="995"/>
                    </a:lnTo>
                    <a:lnTo>
                      <a:pt x="573" y="999"/>
                    </a:lnTo>
                    <a:lnTo>
                      <a:pt x="579" y="996"/>
                    </a:lnTo>
                    <a:lnTo>
                      <a:pt x="579" y="1001"/>
                    </a:lnTo>
                    <a:lnTo>
                      <a:pt x="597" y="1020"/>
                    </a:lnTo>
                    <a:lnTo>
                      <a:pt x="601" y="1013"/>
                    </a:lnTo>
                    <a:lnTo>
                      <a:pt x="609" y="1011"/>
                    </a:lnTo>
                    <a:lnTo>
                      <a:pt x="619" y="1010"/>
                    </a:lnTo>
                    <a:lnTo>
                      <a:pt x="648" y="1010"/>
                    </a:lnTo>
                    <a:lnTo>
                      <a:pt x="640" y="1002"/>
                    </a:lnTo>
                    <a:lnTo>
                      <a:pt x="639" y="977"/>
                    </a:lnTo>
                    <a:lnTo>
                      <a:pt x="642" y="972"/>
                    </a:lnTo>
                    <a:lnTo>
                      <a:pt x="636" y="966"/>
                    </a:lnTo>
                    <a:lnTo>
                      <a:pt x="636" y="959"/>
                    </a:lnTo>
                    <a:lnTo>
                      <a:pt x="640" y="966"/>
                    </a:lnTo>
                    <a:lnTo>
                      <a:pt x="645" y="966"/>
                    </a:lnTo>
                    <a:lnTo>
                      <a:pt x="645" y="956"/>
                    </a:lnTo>
                    <a:lnTo>
                      <a:pt x="652" y="957"/>
                    </a:lnTo>
                    <a:lnTo>
                      <a:pt x="652" y="963"/>
                    </a:lnTo>
                    <a:lnTo>
                      <a:pt x="660" y="962"/>
                    </a:lnTo>
                    <a:lnTo>
                      <a:pt x="670" y="965"/>
                    </a:lnTo>
                    <a:lnTo>
                      <a:pt x="676" y="977"/>
                    </a:lnTo>
                    <a:lnTo>
                      <a:pt x="684" y="978"/>
                    </a:lnTo>
                    <a:lnTo>
                      <a:pt x="685" y="992"/>
                    </a:lnTo>
                    <a:lnTo>
                      <a:pt x="694" y="993"/>
                    </a:lnTo>
                    <a:lnTo>
                      <a:pt x="694" y="986"/>
                    </a:lnTo>
                    <a:lnTo>
                      <a:pt x="712" y="977"/>
                    </a:lnTo>
                    <a:lnTo>
                      <a:pt x="700" y="990"/>
                    </a:lnTo>
                    <a:lnTo>
                      <a:pt x="703" y="1001"/>
                    </a:lnTo>
                    <a:lnTo>
                      <a:pt x="709" y="1005"/>
                    </a:lnTo>
                    <a:lnTo>
                      <a:pt x="705" y="1005"/>
                    </a:lnTo>
                    <a:lnTo>
                      <a:pt x="693" y="1005"/>
                    </a:lnTo>
                    <a:lnTo>
                      <a:pt x="703" y="1013"/>
                    </a:lnTo>
                    <a:lnTo>
                      <a:pt x="711" y="1013"/>
                    </a:lnTo>
                    <a:lnTo>
                      <a:pt x="718" y="1014"/>
                    </a:lnTo>
                    <a:lnTo>
                      <a:pt x="715" y="1023"/>
                    </a:lnTo>
                    <a:lnTo>
                      <a:pt x="712" y="1019"/>
                    </a:lnTo>
                    <a:lnTo>
                      <a:pt x="706" y="1031"/>
                    </a:lnTo>
                    <a:lnTo>
                      <a:pt x="727" y="1049"/>
                    </a:lnTo>
                    <a:lnTo>
                      <a:pt x="747" y="1068"/>
                    </a:lnTo>
                    <a:lnTo>
                      <a:pt x="753" y="1067"/>
                    </a:lnTo>
                    <a:lnTo>
                      <a:pt x="744" y="1082"/>
                    </a:lnTo>
                    <a:lnTo>
                      <a:pt x="751" y="1082"/>
                    </a:lnTo>
                    <a:lnTo>
                      <a:pt x="757" y="1076"/>
                    </a:lnTo>
                    <a:lnTo>
                      <a:pt x="765" y="1080"/>
                    </a:lnTo>
                    <a:lnTo>
                      <a:pt x="780" y="1079"/>
                    </a:lnTo>
                    <a:lnTo>
                      <a:pt x="787" y="1086"/>
                    </a:lnTo>
                    <a:lnTo>
                      <a:pt x="795" y="1082"/>
                    </a:lnTo>
                    <a:lnTo>
                      <a:pt x="816" y="1082"/>
                    </a:lnTo>
                    <a:lnTo>
                      <a:pt x="822" y="1083"/>
                    </a:lnTo>
                    <a:lnTo>
                      <a:pt x="838" y="1073"/>
                    </a:lnTo>
                    <a:lnTo>
                      <a:pt x="829" y="1055"/>
                    </a:lnTo>
                    <a:lnTo>
                      <a:pt x="831" y="1044"/>
                    </a:lnTo>
                    <a:lnTo>
                      <a:pt x="819" y="1032"/>
                    </a:lnTo>
                    <a:lnTo>
                      <a:pt x="828" y="1023"/>
                    </a:lnTo>
                    <a:lnTo>
                      <a:pt x="825" y="1023"/>
                    </a:lnTo>
                    <a:lnTo>
                      <a:pt x="831" y="1014"/>
                    </a:lnTo>
                    <a:lnTo>
                      <a:pt x="831" y="1017"/>
                    </a:lnTo>
                    <a:lnTo>
                      <a:pt x="831" y="1023"/>
                    </a:lnTo>
                    <a:lnTo>
                      <a:pt x="834" y="1025"/>
                    </a:lnTo>
                    <a:lnTo>
                      <a:pt x="831" y="1035"/>
                    </a:lnTo>
                    <a:lnTo>
                      <a:pt x="835" y="1044"/>
                    </a:lnTo>
                    <a:lnTo>
                      <a:pt x="835" y="1055"/>
                    </a:lnTo>
                    <a:lnTo>
                      <a:pt x="844" y="1068"/>
                    </a:lnTo>
                    <a:lnTo>
                      <a:pt x="868" y="1050"/>
                    </a:lnTo>
                    <a:lnTo>
                      <a:pt x="871" y="1038"/>
                    </a:lnTo>
                    <a:lnTo>
                      <a:pt x="876" y="1040"/>
                    </a:lnTo>
                    <a:lnTo>
                      <a:pt x="873" y="1047"/>
                    </a:lnTo>
                    <a:lnTo>
                      <a:pt x="882" y="1047"/>
                    </a:lnTo>
                    <a:lnTo>
                      <a:pt x="889" y="1041"/>
                    </a:lnTo>
                    <a:lnTo>
                      <a:pt x="909" y="1046"/>
                    </a:lnTo>
                    <a:lnTo>
                      <a:pt x="906" y="1049"/>
                    </a:lnTo>
                    <a:lnTo>
                      <a:pt x="892" y="1046"/>
                    </a:lnTo>
                    <a:lnTo>
                      <a:pt x="883" y="1050"/>
                    </a:lnTo>
                    <a:lnTo>
                      <a:pt x="868" y="1053"/>
                    </a:lnTo>
                    <a:lnTo>
                      <a:pt x="870" y="1061"/>
                    </a:lnTo>
                    <a:lnTo>
                      <a:pt x="861" y="1059"/>
                    </a:lnTo>
                    <a:lnTo>
                      <a:pt x="850" y="1073"/>
                    </a:lnTo>
                    <a:lnTo>
                      <a:pt x="871" y="1089"/>
                    </a:lnTo>
                    <a:lnTo>
                      <a:pt x="886" y="1101"/>
                    </a:lnTo>
                    <a:lnTo>
                      <a:pt x="892" y="1098"/>
                    </a:lnTo>
                    <a:lnTo>
                      <a:pt x="892" y="1092"/>
                    </a:lnTo>
                    <a:lnTo>
                      <a:pt x="900" y="1095"/>
                    </a:lnTo>
                    <a:lnTo>
                      <a:pt x="904" y="1098"/>
                    </a:lnTo>
                    <a:lnTo>
                      <a:pt x="912" y="1092"/>
                    </a:lnTo>
                    <a:lnTo>
                      <a:pt x="912" y="1101"/>
                    </a:lnTo>
                    <a:lnTo>
                      <a:pt x="931" y="1104"/>
                    </a:lnTo>
                    <a:lnTo>
                      <a:pt x="939" y="1107"/>
                    </a:lnTo>
                    <a:lnTo>
                      <a:pt x="940" y="1101"/>
                    </a:lnTo>
                    <a:lnTo>
                      <a:pt x="946" y="1097"/>
                    </a:lnTo>
                    <a:lnTo>
                      <a:pt x="942" y="1104"/>
                    </a:lnTo>
                    <a:lnTo>
                      <a:pt x="952" y="1107"/>
                    </a:lnTo>
                    <a:lnTo>
                      <a:pt x="964" y="1109"/>
                    </a:lnTo>
                    <a:lnTo>
                      <a:pt x="970" y="1107"/>
                    </a:lnTo>
                    <a:lnTo>
                      <a:pt x="975" y="1109"/>
                    </a:lnTo>
                    <a:lnTo>
                      <a:pt x="985" y="1113"/>
                    </a:lnTo>
                    <a:lnTo>
                      <a:pt x="990" y="1113"/>
                    </a:lnTo>
                    <a:lnTo>
                      <a:pt x="997" y="1115"/>
                    </a:lnTo>
                    <a:lnTo>
                      <a:pt x="1002" y="1109"/>
                    </a:lnTo>
                    <a:lnTo>
                      <a:pt x="999" y="1100"/>
                    </a:lnTo>
                    <a:lnTo>
                      <a:pt x="1003" y="1085"/>
                    </a:lnTo>
                    <a:lnTo>
                      <a:pt x="996" y="1082"/>
                    </a:lnTo>
                    <a:lnTo>
                      <a:pt x="1002" y="1082"/>
                    </a:lnTo>
                    <a:lnTo>
                      <a:pt x="1008" y="1073"/>
                    </a:lnTo>
                    <a:lnTo>
                      <a:pt x="1008" y="1070"/>
                    </a:lnTo>
                    <a:lnTo>
                      <a:pt x="1003" y="1068"/>
                    </a:lnTo>
                    <a:lnTo>
                      <a:pt x="1006" y="1061"/>
                    </a:lnTo>
                    <a:lnTo>
                      <a:pt x="997" y="1055"/>
                    </a:lnTo>
                    <a:lnTo>
                      <a:pt x="1000" y="1049"/>
                    </a:lnTo>
                    <a:lnTo>
                      <a:pt x="994" y="1046"/>
                    </a:lnTo>
                    <a:lnTo>
                      <a:pt x="993" y="1031"/>
                    </a:lnTo>
                    <a:lnTo>
                      <a:pt x="1009" y="1016"/>
                    </a:lnTo>
                    <a:lnTo>
                      <a:pt x="1009" y="1026"/>
                    </a:lnTo>
                    <a:lnTo>
                      <a:pt x="1017" y="1034"/>
                    </a:lnTo>
                    <a:lnTo>
                      <a:pt x="1035" y="1043"/>
                    </a:lnTo>
                    <a:lnTo>
                      <a:pt x="1045" y="1029"/>
                    </a:lnTo>
                    <a:lnTo>
                      <a:pt x="1057" y="1029"/>
                    </a:lnTo>
                    <a:lnTo>
                      <a:pt x="1062" y="1017"/>
                    </a:lnTo>
                    <a:lnTo>
                      <a:pt x="1062" y="999"/>
                    </a:lnTo>
                    <a:lnTo>
                      <a:pt x="1072" y="998"/>
                    </a:lnTo>
                    <a:lnTo>
                      <a:pt x="1075" y="993"/>
                    </a:lnTo>
                    <a:lnTo>
                      <a:pt x="1092" y="992"/>
                    </a:lnTo>
                    <a:lnTo>
                      <a:pt x="1093" y="998"/>
                    </a:lnTo>
                    <a:lnTo>
                      <a:pt x="1101" y="996"/>
                    </a:lnTo>
                    <a:lnTo>
                      <a:pt x="1098" y="993"/>
                    </a:lnTo>
                    <a:lnTo>
                      <a:pt x="1102" y="978"/>
                    </a:lnTo>
                    <a:lnTo>
                      <a:pt x="1099" y="969"/>
                    </a:lnTo>
                    <a:lnTo>
                      <a:pt x="1095" y="960"/>
                    </a:lnTo>
                    <a:lnTo>
                      <a:pt x="1098" y="953"/>
                    </a:lnTo>
                    <a:lnTo>
                      <a:pt x="1089" y="951"/>
                    </a:lnTo>
                    <a:lnTo>
                      <a:pt x="1089" y="948"/>
                    </a:lnTo>
                    <a:lnTo>
                      <a:pt x="1099" y="947"/>
                    </a:lnTo>
                    <a:lnTo>
                      <a:pt x="1093" y="941"/>
                    </a:lnTo>
                    <a:lnTo>
                      <a:pt x="1096" y="933"/>
                    </a:lnTo>
                    <a:lnTo>
                      <a:pt x="1105" y="932"/>
                    </a:lnTo>
                    <a:lnTo>
                      <a:pt x="1111" y="924"/>
                    </a:lnTo>
                    <a:lnTo>
                      <a:pt x="1108" y="920"/>
                    </a:lnTo>
                    <a:lnTo>
                      <a:pt x="1099" y="906"/>
                    </a:lnTo>
                    <a:lnTo>
                      <a:pt x="1104" y="897"/>
                    </a:lnTo>
                    <a:lnTo>
                      <a:pt x="1107" y="890"/>
                    </a:lnTo>
                    <a:lnTo>
                      <a:pt x="1102" y="884"/>
                    </a:lnTo>
                    <a:lnTo>
                      <a:pt x="1090" y="872"/>
                    </a:lnTo>
                    <a:lnTo>
                      <a:pt x="1071" y="888"/>
                    </a:lnTo>
                    <a:lnTo>
                      <a:pt x="1062" y="890"/>
                    </a:lnTo>
                    <a:lnTo>
                      <a:pt x="1056" y="887"/>
                    </a:lnTo>
                    <a:lnTo>
                      <a:pt x="1053" y="900"/>
                    </a:lnTo>
                    <a:lnTo>
                      <a:pt x="1050" y="902"/>
                    </a:lnTo>
                    <a:lnTo>
                      <a:pt x="1042" y="900"/>
                    </a:lnTo>
                    <a:lnTo>
                      <a:pt x="1039" y="887"/>
                    </a:lnTo>
                    <a:lnTo>
                      <a:pt x="1027" y="870"/>
                    </a:lnTo>
                    <a:lnTo>
                      <a:pt x="1011" y="870"/>
                    </a:lnTo>
                    <a:lnTo>
                      <a:pt x="1000" y="855"/>
                    </a:lnTo>
                    <a:lnTo>
                      <a:pt x="990" y="858"/>
                    </a:lnTo>
                    <a:lnTo>
                      <a:pt x="981" y="852"/>
                    </a:lnTo>
                    <a:lnTo>
                      <a:pt x="966" y="854"/>
                    </a:lnTo>
                    <a:lnTo>
                      <a:pt x="960" y="858"/>
                    </a:lnTo>
                    <a:lnTo>
                      <a:pt x="952" y="852"/>
                    </a:lnTo>
                    <a:lnTo>
                      <a:pt x="942" y="854"/>
                    </a:lnTo>
                    <a:lnTo>
                      <a:pt x="936" y="860"/>
                    </a:lnTo>
                    <a:lnTo>
                      <a:pt x="931" y="861"/>
                    </a:lnTo>
                    <a:lnTo>
                      <a:pt x="922" y="857"/>
                    </a:lnTo>
                    <a:lnTo>
                      <a:pt x="915" y="857"/>
                    </a:lnTo>
                    <a:lnTo>
                      <a:pt x="907" y="830"/>
                    </a:lnTo>
                    <a:lnTo>
                      <a:pt x="895" y="818"/>
                    </a:lnTo>
                    <a:lnTo>
                      <a:pt x="894" y="801"/>
                    </a:lnTo>
                    <a:lnTo>
                      <a:pt x="885" y="786"/>
                    </a:lnTo>
                    <a:lnTo>
                      <a:pt x="888" y="774"/>
                    </a:lnTo>
                    <a:lnTo>
                      <a:pt x="859" y="765"/>
                    </a:lnTo>
                    <a:lnTo>
                      <a:pt x="867" y="759"/>
                    </a:lnTo>
                    <a:lnTo>
                      <a:pt x="867" y="741"/>
                    </a:lnTo>
                    <a:lnTo>
                      <a:pt x="873" y="732"/>
                    </a:lnTo>
                    <a:lnTo>
                      <a:pt x="865" y="725"/>
                    </a:lnTo>
                    <a:lnTo>
                      <a:pt x="844" y="728"/>
                    </a:lnTo>
                    <a:lnTo>
                      <a:pt x="846" y="714"/>
                    </a:lnTo>
                    <a:lnTo>
                      <a:pt x="844" y="710"/>
                    </a:lnTo>
                    <a:lnTo>
                      <a:pt x="858" y="698"/>
                    </a:lnTo>
                    <a:lnTo>
                      <a:pt x="853" y="695"/>
                    </a:lnTo>
                    <a:lnTo>
                      <a:pt x="855" y="687"/>
                    </a:lnTo>
                    <a:lnTo>
                      <a:pt x="864" y="683"/>
                    </a:lnTo>
                    <a:lnTo>
                      <a:pt x="858" y="677"/>
                    </a:lnTo>
                    <a:lnTo>
                      <a:pt x="876" y="668"/>
                    </a:lnTo>
                    <a:lnTo>
                      <a:pt x="894" y="666"/>
                    </a:lnTo>
                    <a:lnTo>
                      <a:pt x="931" y="644"/>
                    </a:lnTo>
                    <a:lnTo>
                      <a:pt x="978" y="626"/>
                    </a:lnTo>
                    <a:lnTo>
                      <a:pt x="978" y="620"/>
                    </a:lnTo>
                    <a:lnTo>
                      <a:pt x="996" y="618"/>
                    </a:lnTo>
                    <a:lnTo>
                      <a:pt x="1011" y="623"/>
                    </a:lnTo>
                    <a:lnTo>
                      <a:pt x="1011" y="606"/>
                    </a:lnTo>
                    <a:lnTo>
                      <a:pt x="997" y="603"/>
                    </a:lnTo>
                    <a:lnTo>
                      <a:pt x="984" y="572"/>
                    </a:lnTo>
                    <a:lnTo>
                      <a:pt x="1000" y="548"/>
                    </a:lnTo>
                    <a:lnTo>
                      <a:pt x="1009" y="545"/>
                    </a:lnTo>
                    <a:lnTo>
                      <a:pt x="1009" y="524"/>
                    </a:lnTo>
                    <a:lnTo>
                      <a:pt x="1014" y="516"/>
                    </a:lnTo>
                    <a:lnTo>
                      <a:pt x="997" y="510"/>
                    </a:lnTo>
                    <a:lnTo>
                      <a:pt x="987" y="498"/>
                    </a:lnTo>
                    <a:lnTo>
                      <a:pt x="997" y="495"/>
                    </a:lnTo>
                    <a:lnTo>
                      <a:pt x="1008" y="474"/>
                    </a:lnTo>
                    <a:lnTo>
                      <a:pt x="1012" y="473"/>
                    </a:lnTo>
                    <a:lnTo>
                      <a:pt x="1008" y="468"/>
                    </a:lnTo>
                    <a:lnTo>
                      <a:pt x="991" y="479"/>
                    </a:lnTo>
                    <a:lnTo>
                      <a:pt x="985" y="444"/>
                    </a:lnTo>
                    <a:lnTo>
                      <a:pt x="978" y="438"/>
                    </a:lnTo>
                    <a:lnTo>
                      <a:pt x="985" y="428"/>
                    </a:lnTo>
                    <a:lnTo>
                      <a:pt x="985" y="417"/>
                    </a:lnTo>
                    <a:lnTo>
                      <a:pt x="985" y="407"/>
                    </a:lnTo>
                    <a:lnTo>
                      <a:pt x="975" y="404"/>
                    </a:lnTo>
                    <a:lnTo>
                      <a:pt x="945" y="393"/>
                    </a:lnTo>
                    <a:lnTo>
                      <a:pt x="948" y="377"/>
                    </a:lnTo>
                    <a:lnTo>
                      <a:pt x="949" y="356"/>
                    </a:lnTo>
                    <a:lnTo>
                      <a:pt x="955" y="347"/>
                    </a:lnTo>
                    <a:lnTo>
                      <a:pt x="987" y="327"/>
                    </a:lnTo>
                    <a:lnTo>
                      <a:pt x="987" y="320"/>
                    </a:lnTo>
                    <a:lnTo>
                      <a:pt x="978" y="317"/>
                    </a:lnTo>
                    <a:lnTo>
                      <a:pt x="966" y="308"/>
                    </a:lnTo>
                    <a:lnTo>
                      <a:pt x="958" y="306"/>
                    </a:lnTo>
                    <a:lnTo>
                      <a:pt x="957" y="296"/>
                    </a:lnTo>
                    <a:lnTo>
                      <a:pt x="946" y="287"/>
                    </a:lnTo>
                    <a:lnTo>
                      <a:pt x="946" y="270"/>
                    </a:lnTo>
                    <a:lnTo>
                      <a:pt x="957" y="263"/>
                    </a:lnTo>
                    <a:lnTo>
                      <a:pt x="976" y="240"/>
                    </a:lnTo>
                    <a:lnTo>
                      <a:pt x="994" y="221"/>
                    </a:lnTo>
                    <a:lnTo>
                      <a:pt x="981" y="209"/>
                    </a:lnTo>
                    <a:lnTo>
                      <a:pt x="970" y="195"/>
                    </a:lnTo>
                    <a:lnTo>
                      <a:pt x="967" y="201"/>
                    </a:lnTo>
                    <a:lnTo>
                      <a:pt x="957" y="200"/>
                    </a:lnTo>
                    <a:lnTo>
                      <a:pt x="955" y="195"/>
                    </a:lnTo>
                    <a:lnTo>
                      <a:pt x="963" y="179"/>
                    </a:lnTo>
                    <a:lnTo>
                      <a:pt x="961" y="171"/>
                    </a:lnTo>
                    <a:lnTo>
                      <a:pt x="951" y="165"/>
                    </a:lnTo>
                    <a:lnTo>
                      <a:pt x="937" y="159"/>
                    </a:lnTo>
                    <a:lnTo>
                      <a:pt x="931" y="161"/>
                    </a:lnTo>
                    <a:lnTo>
                      <a:pt x="924" y="156"/>
                    </a:lnTo>
                    <a:lnTo>
                      <a:pt x="919" y="134"/>
                    </a:lnTo>
                    <a:lnTo>
                      <a:pt x="912" y="134"/>
                    </a:lnTo>
                    <a:lnTo>
                      <a:pt x="910" y="125"/>
                    </a:lnTo>
                    <a:lnTo>
                      <a:pt x="900" y="83"/>
                    </a:lnTo>
                    <a:lnTo>
                      <a:pt x="912" y="68"/>
                    </a:lnTo>
                    <a:lnTo>
                      <a:pt x="921" y="60"/>
                    </a:lnTo>
                    <a:lnTo>
                      <a:pt x="915" y="56"/>
                    </a:lnTo>
                    <a:lnTo>
                      <a:pt x="913" y="45"/>
                    </a:lnTo>
                    <a:lnTo>
                      <a:pt x="921" y="39"/>
                    </a:lnTo>
                    <a:lnTo>
                      <a:pt x="919" y="36"/>
                    </a:lnTo>
                    <a:lnTo>
                      <a:pt x="912" y="41"/>
                    </a:lnTo>
                    <a:lnTo>
                      <a:pt x="910" y="38"/>
                    </a:lnTo>
                    <a:lnTo>
                      <a:pt x="892" y="45"/>
                    </a:lnTo>
                    <a:lnTo>
                      <a:pt x="888" y="44"/>
                    </a:lnTo>
                    <a:lnTo>
                      <a:pt x="885" y="42"/>
                    </a:lnTo>
                    <a:lnTo>
                      <a:pt x="873" y="45"/>
                    </a:lnTo>
                    <a:lnTo>
                      <a:pt x="871" y="38"/>
                    </a:lnTo>
                    <a:lnTo>
                      <a:pt x="859" y="32"/>
                    </a:lnTo>
                    <a:lnTo>
                      <a:pt x="859" y="29"/>
                    </a:lnTo>
                    <a:lnTo>
                      <a:pt x="844" y="24"/>
                    </a:lnTo>
                    <a:lnTo>
                      <a:pt x="837" y="24"/>
                    </a:lnTo>
                    <a:lnTo>
                      <a:pt x="829" y="23"/>
                    </a:lnTo>
                    <a:lnTo>
                      <a:pt x="822" y="24"/>
                    </a:lnTo>
                    <a:lnTo>
                      <a:pt x="811" y="30"/>
                    </a:lnTo>
                    <a:lnTo>
                      <a:pt x="805" y="29"/>
                    </a:lnTo>
                    <a:lnTo>
                      <a:pt x="798" y="24"/>
                    </a:lnTo>
                    <a:lnTo>
                      <a:pt x="796" y="18"/>
                    </a:lnTo>
                    <a:lnTo>
                      <a:pt x="786" y="20"/>
                    </a:lnTo>
                    <a:lnTo>
                      <a:pt x="778" y="11"/>
                    </a:lnTo>
                    <a:lnTo>
                      <a:pt x="778" y="18"/>
                    </a:lnTo>
                    <a:lnTo>
                      <a:pt x="774" y="30"/>
                    </a:lnTo>
                    <a:lnTo>
                      <a:pt x="768" y="17"/>
                    </a:lnTo>
                    <a:lnTo>
                      <a:pt x="765" y="24"/>
                    </a:lnTo>
                    <a:lnTo>
                      <a:pt x="760" y="24"/>
                    </a:lnTo>
                    <a:lnTo>
                      <a:pt x="760" y="36"/>
                    </a:lnTo>
                    <a:lnTo>
                      <a:pt x="751" y="38"/>
                    </a:lnTo>
                    <a:lnTo>
                      <a:pt x="748" y="50"/>
                    </a:lnTo>
                    <a:lnTo>
                      <a:pt x="751" y="59"/>
                    </a:lnTo>
                    <a:lnTo>
                      <a:pt x="754" y="77"/>
                    </a:lnTo>
                    <a:lnTo>
                      <a:pt x="750" y="77"/>
                    </a:lnTo>
                    <a:lnTo>
                      <a:pt x="748" y="63"/>
                    </a:lnTo>
                    <a:lnTo>
                      <a:pt x="741" y="65"/>
                    </a:lnTo>
                    <a:lnTo>
                      <a:pt x="747" y="77"/>
                    </a:lnTo>
                    <a:lnTo>
                      <a:pt x="748" y="93"/>
                    </a:lnTo>
                    <a:lnTo>
                      <a:pt x="754" y="111"/>
                    </a:lnTo>
                    <a:lnTo>
                      <a:pt x="783" y="113"/>
                    </a:lnTo>
                    <a:lnTo>
                      <a:pt x="756" y="116"/>
                    </a:lnTo>
                    <a:lnTo>
                      <a:pt x="744" y="129"/>
                    </a:lnTo>
                    <a:lnTo>
                      <a:pt x="744" y="125"/>
                    </a:lnTo>
                    <a:lnTo>
                      <a:pt x="747" y="116"/>
                    </a:lnTo>
                    <a:lnTo>
                      <a:pt x="741" y="107"/>
                    </a:lnTo>
                    <a:lnTo>
                      <a:pt x="727" y="101"/>
                    </a:lnTo>
                    <a:lnTo>
                      <a:pt x="715" y="95"/>
                    </a:lnTo>
                    <a:lnTo>
                      <a:pt x="706" y="77"/>
                    </a:lnTo>
                    <a:lnTo>
                      <a:pt x="709" y="74"/>
                    </a:lnTo>
                    <a:lnTo>
                      <a:pt x="720" y="69"/>
                    </a:lnTo>
                    <a:lnTo>
                      <a:pt x="720" y="65"/>
                    </a:lnTo>
                    <a:lnTo>
                      <a:pt x="712" y="63"/>
                    </a:lnTo>
                    <a:lnTo>
                      <a:pt x="706" y="66"/>
                    </a:lnTo>
                    <a:lnTo>
                      <a:pt x="702" y="63"/>
                    </a:lnTo>
                    <a:lnTo>
                      <a:pt x="694" y="62"/>
                    </a:lnTo>
                    <a:lnTo>
                      <a:pt x="691" y="72"/>
                    </a:lnTo>
                    <a:lnTo>
                      <a:pt x="688" y="81"/>
                    </a:lnTo>
                    <a:lnTo>
                      <a:pt x="679" y="80"/>
                    </a:lnTo>
                    <a:lnTo>
                      <a:pt x="678" y="84"/>
                    </a:lnTo>
                    <a:lnTo>
                      <a:pt x="672" y="87"/>
                    </a:lnTo>
                    <a:lnTo>
                      <a:pt x="672" y="90"/>
                    </a:lnTo>
                    <a:lnTo>
                      <a:pt x="675" y="98"/>
                    </a:lnTo>
                    <a:lnTo>
                      <a:pt x="676" y="107"/>
                    </a:lnTo>
                    <a:lnTo>
                      <a:pt x="675" y="114"/>
                    </a:lnTo>
                    <a:lnTo>
                      <a:pt x="675" y="120"/>
                    </a:lnTo>
                    <a:lnTo>
                      <a:pt x="676" y="126"/>
                    </a:lnTo>
                    <a:lnTo>
                      <a:pt x="679" y="132"/>
                    </a:lnTo>
                    <a:lnTo>
                      <a:pt x="673" y="126"/>
                    </a:lnTo>
                    <a:lnTo>
                      <a:pt x="664" y="132"/>
                    </a:lnTo>
                    <a:lnTo>
                      <a:pt x="669" y="120"/>
                    </a:lnTo>
                    <a:lnTo>
                      <a:pt x="667" y="116"/>
                    </a:lnTo>
                    <a:lnTo>
                      <a:pt x="672" y="102"/>
                    </a:lnTo>
                    <a:lnTo>
                      <a:pt x="669" y="92"/>
                    </a:lnTo>
                    <a:lnTo>
                      <a:pt x="672" y="77"/>
                    </a:lnTo>
                    <a:lnTo>
                      <a:pt x="669" y="66"/>
                    </a:lnTo>
                    <a:lnTo>
                      <a:pt x="673" y="66"/>
                    </a:lnTo>
                    <a:lnTo>
                      <a:pt x="673" y="65"/>
                    </a:lnTo>
                    <a:lnTo>
                      <a:pt x="672" y="62"/>
                    </a:lnTo>
                    <a:lnTo>
                      <a:pt x="666" y="62"/>
                    </a:lnTo>
                    <a:lnTo>
                      <a:pt x="661" y="60"/>
                    </a:lnTo>
                    <a:lnTo>
                      <a:pt x="657" y="62"/>
                    </a:lnTo>
                    <a:lnTo>
                      <a:pt x="658" y="56"/>
                    </a:lnTo>
                    <a:lnTo>
                      <a:pt x="657" y="51"/>
                    </a:lnTo>
                    <a:lnTo>
                      <a:pt x="657" y="45"/>
                    </a:lnTo>
                    <a:lnTo>
                      <a:pt x="660" y="39"/>
                    </a:lnTo>
                    <a:lnTo>
                      <a:pt x="652" y="33"/>
                    </a:lnTo>
                    <a:lnTo>
                      <a:pt x="655" y="26"/>
                    </a:lnTo>
                    <a:lnTo>
                      <a:pt x="655" y="17"/>
                    </a:lnTo>
                    <a:lnTo>
                      <a:pt x="658" y="12"/>
                    </a:lnTo>
                    <a:lnTo>
                      <a:pt x="658" y="2"/>
                    </a:lnTo>
                    <a:lnTo>
                      <a:pt x="652" y="6"/>
                    </a:lnTo>
                    <a:lnTo>
                      <a:pt x="645" y="0"/>
                    </a:lnTo>
                    <a:lnTo>
                      <a:pt x="640" y="5"/>
                    </a:lnTo>
                    <a:lnTo>
                      <a:pt x="640" y="12"/>
                    </a:lnTo>
                    <a:lnTo>
                      <a:pt x="634" y="17"/>
                    </a:lnTo>
                    <a:lnTo>
                      <a:pt x="628" y="8"/>
                    </a:lnTo>
                    <a:lnTo>
                      <a:pt x="633" y="2"/>
                    </a:lnTo>
                    <a:lnTo>
                      <a:pt x="628" y="2"/>
                    </a:lnTo>
                    <a:lnTo>
                      <a:pt x="624" y="15"/>
                    </a:lnTo>
                    <a:lnTo>
                      <a:pt x="621" y="18"/>
                    </a:lnTo>
                    <a:lnTo>
                      <a:pt x="612" y="21"/>
                    </a:lnTo>
                    <a:lnTo>
                      <a:pt x="607" y="18"/>
                    </a:lnTo>
                    <a:lnTo>
                      <a:pt x="606" y="26"/>
                    </a:lnTo>
                    <a:lnTo>
                      <a:pt x="600" y="29"/>
                    </a:lnTo>
                    <a:lnTo>
                      <a:pt x="594" y="27"/>
                    </a:lnTo>
                    <a:lnTo>
                      <a:pt x="588" y="33"/>
                    </a:lnTo>
                    <a:lnTo>
                      <a:pt x="588" y="48"/>
                    </a:lnTo>
                    <a:lnTo>
                      <a:pt x="579" y="50"/>
                    </a:lnTo>
                    <a:lnTo>
                      <a:pt x="568" y="42"/>
                    </a:lnTo>
                    <a:lnTo>
                      <a:pt x="558" y="47"/>
                    </a:lnTo>
                    <a:lnTo>
                      <a:pt x="558" y="38"/>
                    </a:lnTo>
                    <a:lnTo>
                      <a:pt x="534" y="39"/>
                    </a:lnTo>
                    <a:lnTo>
                      <a:pt x="531" y="36"/>
                    </a:lnTo>
                    <a:lnTo>
                      <a:pt x="522" y="42"/>
                    </a:lnTo>
                    <a:lnTo>
                      <a:pt x="507" y="44"/>
                    </a:lnTo>
                    <a:lnTo>
                      <a:pt x="490" y="51"/>
                    </a:lnTo>
                    <a:lnTo>
                      <a:pt x="487" y="45"/>
                    </a:lnTo>
                    <a:lnTo>
                      <a:pt x="469" y="66"/>
                    </a:lnTo>
                    <a:lnTo>
                      <a:pt x="463" y="66"/>
                    </a:lnTo>
                    <a:lnTo>
                      <a:pt x="459" y="80"/>
                    </a:lnTo>
                    <a:lnTo>
                      <a:pt x="460" y="83"/>
                    </a:lnTo>
                    <a:lnTo>
                      <a:pt x="475" y="84"/>
                    </a:lnTo>
                    <a:lnTo>
                      <a:pt x="475" y="87"/>
                    </a:lnTo>
                    <a:lnTo>
                      <a:pt x="457" y="92"/>
                    </a:lnTo>
                    <a:lnTo>
                      <a:pt x="454" y="86"/>
                    </a:lnTo>
                    <a:lnTo>
                      <a:pt x="441" y="90"/>
                    </a:lnTo>
                    <a:lnTo>
                      <a:pt x="415" y="90"/>
                    </a:lnTo>
                    <a:lnTo>
                      <a:pt x="412" y="99"/>
                    </a:lnTo>
                    <a:lnTo>
                      <a:pt x="394" y="104"/>
                    </a:lnTo>
                    <a:lnTo>
                      <a:pt x="399" y="104"/>
                    </a:lnTo>
                    <a:lnTo>
                      <a:pt x="400" y="108"/>
                    </a:lnTo>
                    <a:lnTo>
                      <a:pt x="397" y="110"/>
                    </a:lnTo>
                    <a:lnTo>
                      <a:pt x="393" y="110"/>
                    </a:lnTo>
                    <a:lnTo>
                      <a:pt x="385" y="108"/>
                    </a:lnTo>
                    <a:lnTo>
                      <a:pt x="382" y="105"/>
                    </a:lnTo>
                    <a:lnTo>
                      <a:pt x="387" y="99"/>
                    </a:lnTo>
                    <a:lnTo>
                      <a:pt x="382" y="95"/>
                    </a:lnTo>
                    <a:lnTo>
                      <a:pt x="388" y="93"/>
                    </a:lnTo>
                    <a:lnTo>
                      <a:pt x="396" y="87"/>
                    </a:lnTo>
                    <a:lnTo>
                      <a:pt x="394" y="83"/>
                    </a:lnTo>
                    <a:lnTo>
                      <a:pt x="399" y="75"/>
                    </a:lnTo>
                    <a:lnTo>
                      <a:pt x="391" y="74"/>
                    </a:lnTo>
                    <a:lnTo>
                      <a:pt x="388" y="71"/>
                    </a:lnTo>
                    <a:lnTo>
                      <a:pt x="385" y="65"/>
                    </a:lnTo>
                    <a:lnTo>
                      <a:pt x="379" y="68"/>
                    </a:lnTo>
                    <a:lnTo>
                      <a:pt x="379" y="72"/>
                    </a:lnTo>
                    <a:lnTo>
                      <a:pt x="372" y="69"/>
                    </a:lnTo>
                    <a:lnTo>
                      <a:pt x="373" y="65"/>
                    </a:lnTo>
                    <a:lnTo>
                      <a:pt x="373" y="59"/>
                    </a:lnTo>
                    <a:lnTo>
                      <a:pt x="363" y="60"/>
                    </a:lnTo>
                    <a:lnTo>
                      <a:pt x="358" y="57"/>
                    </a:lnTo>
                    <a:lnTo>
                      <a:pt x="342" y="69"/>
                    </a:lnTo>
                    <a:lnTo>
                      <a:pt x="339" y="69"/>
                    </a:lnTo>
                    <a:lnTo>
                      <a:pt x="331" y="78"/>
                    </a:lnTo>
                    <a:lnTo>
                      <a:pt x="325" y="78"/>
                    </a:lnTo>
                    <a:lnTo>
                      <a:pt x="325" y="81"/>
                    </a:lnTo>
                    <a:lnTo>
                      <a:pt x="319" y="84"/>
                    </a:lnTo>
                    <a:lnTo>
                      <a:pt x="295" y="87"/>
                    </a:lnTo>
                    <a:lnTo>
                      <a:pt x="289" y="84"/>
                    </a:lnTo>
                    <a:lnTo>
                      <a:pt x="289" y="87"/>
                    </a:lnTo>
                    <a:lnTo>
                      <a:pt x="295" y="93"/>
                    </a:lnTo>
                    <a:lnTo>
                      <a:pt x="309" y="102"/>
                    </a:lnTo>
                    <a:lnTo>
                      <a:pt x="303" y="105"/>
                    </a:lnTo>
                    <a:lnTo>
                      <a:pt x="291" y="101"/>
                    </a:lnTo>
                    <a:lnTo>
                      <a:pt x="291" y="108"/>
                    </a:lnTo>
                    <a:lnTo>
                      <a:pt x="283" y="102"/>
                    </a:lnTo>
                    <a:lnTo>
                      <a:pt x="274" y="110"/>
                    </a:lnTo>
                    <a:lnTo>
                      <a:pt x="267" y="116"/>
                    </a:lnTo>
                    <a:lnTo>
                      <a:pt x="262" y="116"/>
                    </a:lnTo>
                    <a:lnTo>
                      <a:pt x="256" y="120"/>
                    </a:lnTo>
                    <a:lnTo>
                      <a:pt x="240" y="120"/>
                    </a:lnTo>
                    <a:lnTo>
                      <a:pt x="234" y="123"/>
                    </a:lnTo>
                    <a:lnTo>
                      <a:pt x="228" y="122"/>
                    </a:lnTo>
                    <a:lnTo>
                      <a:pt x="225" y="110"/>
                    </a:lnTo>
                    <a:lnTo>
                      <a:pt x="220" y="108"/>
                    </a:lnTo>
                    <a:lnTo>
                      <a:pt x="213" y="114"/>
                    </a:lnTo>
                    <a:lnTo>
                      <a:pt x="204" y="107"/>
                    </a:lnTo>
                    <a:lnTo>
                      <a:pt x="198" y="108"/>
                    </a:lnTo>
                    <a:lnTo>
                      <a:pt x="199" y="113"/>
                    </a:lnTo>
                    <a:lnTo>
                      <a:pt x="204" y="120"/>
                    </a:lnTo>
                    <a:lnTo>
                      <a:pt x="186" y="120"/>
                    </a:lnTo>
                    <a:lnTo>
                      <a:pt x="178" y="126"/>
                    </a:lnTo>
                    <a:lnTo>
                      <a:pt x="183" y="131"/>
                    </a:lnTo>
                    <a:lnTo>
                      <a:pt x="181" y="138"/>
                    </a:lnTo>
                    <a:lnTo>
                      <a:pt x="192" y="135"/>
                    </a:lnTo>
                    <a:lnTo>
                      <a:pt x="186" y="144"/>
                    </a:lnTo>
                    <a:lnTo>
                      <a:pt x="195" y="143"/>
                    </a:lnTo>
                    <a:lnTo>
                      <a:pt x="211" y="152"/>
                    </a:lnTo>
                    <a:lnTo>
                      <a:pt x="220" y="156"/>
                    </a:lnTo>
                    <a:lnTo>
                      <a:pt x="222" y="161"/>
                    </a:lnTo>
                    <a:lnTo>
                      <a:pt x="228" y="161"/>
                    </a:lnTo>
                    <a:lnTo>
                      <a:pt x="237" y="159"/>
                    </a:lnTo>
                    <a:lnTo>
                      <a:pt x="238" y="167"/>
                    </a:lnTo>
                    <a:lnTo>
                      <a:pt x="250" y="179"/>
                    </a:lnTo>
                    <a:lnTo>
                      <a:pt x="243" y="177"/>
                    </a:lnTo>
                    <a:lnTo>
                      <a:pt x="234" y="165"/>
                    </a:lnTo>
                    <a:lnTo>
                      <a:pt x="217" y="164"/>
                    </a:lnTo>
                    <a:lnTo>
                      <a:pt x="213" y="156"/>
                    </a:lnTo>
                    <a:lnTo>
                      <a:pt x="199" y="150"/>
                    </a:lnTo>
                    <a:lnTo>
                      <a:pt x="190" y="153"/>
                    </a:lnTo>
                    <a:lnTo>
                      <a:pt x="184" y="150"/>
                    </a:lnTo>
                    <a:lnTo>
                      <a:pt x="177" y="153"/>
                    </a:lnTo>
                    <a:lnTo>
                      <a:pt x="160" y="155"/>
                    </a:lnTo>
                    <a:lnTo>
                      <a:pt x="160" y="152"/>
                    </a:lnTo>
                    <a:lnTo>
                      <a:pt x="165" y="147"/>
                    </a:lnTo>
                    <a:lnTo>
                      <a:pt x="157" y="141"/>
                    </a:lnTo>
                    <a:lnTo>
                      <a:pt x="148" y="143"/>
                    </a:lnTo>
                    <a:lnTo>
                      <a:pt x="150" y="152"/>
                    </a:lnTo>
                    <a:lnTo>
                      <a:pt x="150" y="156"/>
                    </a:lnTo>
                    <a:lnTo>
                      <a:pt x="148" y="162"/>
                    </a:lnTo>
                    <a:lnTo>
                      <a:pt x="153" y="164"/>
                    </a:lnTo>
                    <a:lnTo>
                      <a:pt x="153" y="168"/>
                    </a:lnTo>
                    <a:lnTo>
                      <a:pt x="145" y="174"/>
                    </a:lnTo>
                    <a:lnTo>
                      <a:pt x="147" y="177"/>
                    </a:lnTo>
                    <a:lnTo>
                      <a:pt x="160" y="180"/>
                    </a:lnTo>
                    <a:lnTo>
                      <a:pt x="169" y="192"/>
                    </a:lnTo>
                    <a:lnTo>
                      <a:pt x="192" y="192"/>
                    </a:lnTo>
                    <a:lnTo>
                      <a:pt x="196" y="195"/>
                    </a:lnTo>
                    <a:lnTo>
                      <a:pt x="204" y="194"/>
                    </a:lnTo>
                    <a:lnTo>
                      <a:pt x="211" y="200"/>
                    </a:lnTo>
                    <a:lnTo>
                      <a:pt x="216" y="200"/>
                    </a:lnTo>
                    <a:lnTo>
                      <a:pt x="225" y="204"/>
                    </a:lnTo>
                    <a:lnTo>
                      <a:pt x="237" y="201"/>
                    </a:lnTo>
                    <a:lnTo>
                      <a:pt x="231" y="210"/>
                    </a:lnTo>
                    <a:lnTo>
                      <a:pt x="214" y="203"/>
                    </a:lnTo>
                    <a:lnTo>
                      <a:pt x="214" y="215"/>
                    </a:lnTo>
                    <a:lnTo>
                      <a:pt x="208" y="204"/>
                    </a:lnTo>
                    <a:lnTo>
                      <a:pt x="190" y="197"/>
                    </a:lnTo>
                    <a:lnTo>
                      <a:pt x="175" y="197"/>
                    </a:lnTo>
                    <a:lnTo>
                      <a:pt x="172" y="201"/>
                    </a:lnTo>
                    <a:lnTo>
                      <a:pt x="163" y="198"/>
                    </a:lnTo>
                    <a:lnTo>
                      <a:pt x="154" y="182"/>
                    </a:lnTo>
                    <a:lnTo>
                      <a:pt x="130" y="174"/>
                    </a:lnTo>
                    <a:lnTo>
                      <a:pt x="115" y="180"/>
                    </a:lnTo>
                    <a:lnTo>
                      <a:pt x="103" y="180"/>
                    </a:lnTo>
                    <a:lnTo>
                      <a:pt x="99" y="179"/>
                    </a:lnTo>
                    <a:lnTo>
                      <a:pt x="99" y="185"/>
                    </a:lnTo>
                    <a:lnTo>
                      <a:pt x="90" y="186"/>
                    </a:lnTo>
                    <a:lnTo>
                      <a:pt x="88" y="182"/>
                    </a:lnTo>
                    <a:lnTo>
                      <a:pt x="84" y="182"/>
                    </a:lnTo>
                    <a:lnTo>
                      <a:pt x="82" y="185"/>
                    </a:lnTo>
                    <a:lnTo>
                      <a:pt x="72" y="183"/>
                    </a:lnTo>
                    <a:lnTo>
                      <a:pt x="72" y="197"/>
                    </a:lnTo>
                    <a:lnTo>
                      <a:pt x="70" y="201"/>
                    </a:lnTo>
                    <a:lnTo>
                      <a:pt x="63" y="201"/>
                    </a:lnTo>
                    <a:lnTo>
                      <a:pt x="61" y="197"/>
                    </a:lnTo>
                    <a:lnTo>
                      <a:pt x="55" y="197"/>
                    </a:lnTo>
                    <a:lnTo>
                      <a:pt x="48" y="206"/>
                    </a:lnTo>
                    <a:lnTo>
                      <a:pt x="34" y="215"/>
                    </a:lnTo>
                    <a:lnTo>
                      <a:pt x="39" y="230"/>
                    </a:lnTo>
                    <a:lnTo>
                      <a:pt x="31" y="227"/>
                    </a:lnTo>
                    <a:lnTo>
                      <a:pt x="24" y="228"/>
                    </a:lnTo>
                    <a:lnTo>
                      <a:pt x="27" y="240"/>
                    </a:lnTo>
                    <a:lnTo>
                      <a:pt x="25" y="243"/>
                    </a:lnTo>
                    <a:lnTo>
                      <a:pt x="16" y="242"/>
                    </a:lnTo>
                    <a:lnTo>
                      <a:pt x="12" y="245"/>
                    </a:lnTo>
                    <a:lnTo>
                      <a:pt x="19" y="246"/>
                    </a:lnTo>
                    <a:lnTo>
                      <a:pt x="19" y="254"/>
                    </a:lnTo>
                    <a:lnTo>
                      <a:pt x="15" y="258"/>
                    </a:lnTo>
                    <a:lnTo>
                      <a:pt x="16" y="275"/>
                    </a:lnTo>
                    <a:lnTo>
                      <a:pt x="22" y="287"/>
                    </a:lnTo>
                    <a:lnTo>
                      <a:pt x="28" y="296"/>
                    </a:lnTo>
                    <a:lnTo>
                      <a:pt x="33" y="293"/>
                    </a:lnTo>
                    <a:lnTo>
                      <a:pt x="46" y="291"/>
                    </a:lnTo>
                    <a:lnTo>
                      <a:pt x="58" y="291"/>
                    </a:lnTo>
                    <a:lnTo>
                      <a:pt x="48" y="296"/>
                    </a:lnTo>
                    <a:lnTo>
                      <a:pt x="34" y="297"/>
                    </a:lnTo>
                    <a:lnTo>
                      <a:pt x="34" y="303"/>
                    </a:lnTo>
                    <a:lnTo>
                      <a:pt x="28" y="299"/>
                    </a:lnTo>
                    <a:lnTo>
                      <a:pt x="19" y="306"/>
                    </a:lnTo>
                    <a:lnTo>
                      <a:pt x="19" y="314"/>
                    </a:lnTo>
                    <a:lnTo>
                      <a:pt x="10" y="324"/>
                    </a:lnTo>
                    <a:lnTo>
                      <a:pt x="12" y="327"/>
                    </a:lnTo>
                    <a:lnTo>
                      <a:pt x="6" y="339"/>
                    </a:lnTo>
                    <a:lnTo>
                      <a:pt x="7" y="342"/>
                    </a:lnTo>
                    <a:lnTo>
                      <a:pt x="1" y="354"/>
                    </a:lnTo>
                    <a:lnTo>
                      <a:pt x="0" y="362"/>
                    </a:lnTo>
                    <a:lnTo>
                      <a:pt x="10" y="374"/>
                    </a:lnTo>
                    <a:lnTo>
                      <a:pt x="15" y="372"/>
                    </a:lnTo>
                    <a:lnTo>
                      <a:pt x="15" y="392"/>
                    </a:lnTo>
                    <a:lnTo>
                      <a:pt x="24" y="398"/>
                    </a:lnTo>
                    <a:lnTo>
                      <a:pt x="30" y="404"/>
                    </a:lnTo>
                    <a:lnTo>
                      <a:pt x="30" y="408"/>
                    </a:lnTo>
                    <a:lnTo>
                      <a:pt x="22" y="417"/>
                    </a:lnTo>
                    <a:lnTo>
                      <a:pt x="15" y="417"/>
                    </a:lnTo>
                    <a:lnTo>
                      <a:pt x="10" y="414"/>
                    </a:lnTo>
                    <a:lnTo>
                      <a:pt x="9" y="422"/>
                    </a:lnTo>
                    <a:lnTo>
                      <a:pt x="30" y="420"/>
                    </a:lnTo>
                    <a:lnTo>
                      <a:pt x="31" y="423"/>
                    </a:lnTo>
                    <a:lnTo>
                      <a:pt x="12" y="423"/>
                    </a:lnTo>
                    <a:lnTo>
                      <a:pt x="10" y="429"/>
                    </a:lnTo>
                    <a:lnTo>
                      <a:pt x="18" y="438"/>
                    </a:lnTo>
                    <a:lnTo>
                      <a:pt x="18" y="455"/>
                    </a:lnTo>
                    <a:lnTo>
                      <a:pt x="18" y="458"/>
                    </a:lnTo>
                    <a:lnTo>
                      <a:pt x="30" y="461"/>
                    </a:lnTo>
                    <a:lnTo>
                      <a:pt x="46" y="456"/>
                    </a:lnTo>
                    <a:lnTo>
                      <a:pt x="49" y="456"/>
                    </a:lnTo>
                    <a:lnTo>
                      <a:pt x="51" y="459"/>
                    </a:lnTo>
                    <a:lnTo>
                      <a:pt x="67" y="458"/>
                    </a:lnTo>
                    <a:lnTo>
                      <a:pt x="67" y="452"/>
                    </a:lnTo>
                    <a:lnTo>
                      <a:pt x="75" y="450"/>
                    </a:lnTo>
                    <a:lnTo>
                      <a:pt x="72" y="437"/>
                    </a:lnTo>
                    <a:lnTo>
                      <a:pt x="81" y="431"/>
                    </a:lnTo>
                    <a:lnTo>
                      <a:pt x="90" y="431"/>
                    </a:lnTo>
                    <a:lnTo>
                      <a:pt x="115" y="441"/>
                    </a:lnTo>
                    <a:lnTo>
                      <a:pt x="126" y="444"/>
                    </a:lnTo>
                    <a:lnTo>
                      <a:pt x="132" y="452"/>
                    </a:lnTo>
                    <a:lnTo>
                      <a:pt x="135" y="449"/>
                    </a:lnTo>
                    <a:lnTo>
                      <a:pt x="142" y="452"/>
                    </a:lnTo>
                    <a:lnTo>
                      <a:pt x="154" y="447"/>
                    </a:lnTo>
                    <a:lnTo>
                      <a:pt x="181" y="434"/>
                    </a:lnTo>
                    <a:lnTo>
                      <a:pt x="184" y="429"/>
                    </a:lnTo>
                    <a:lnTo>
                      <a:pt x="189" y="432"/>
                    </a:lnTo>
                    <a:lnTo>
                      <a:pt x="189" y="423"/>
                    </a:lnTo>
                    <a:lnTo>
                      <a:pt x="205" y="428"/>
                    </a:lnTo>
                    <a:lnTo>
                      <a:pt x="235" y="404"/>
                    </a:lnTo>
                    <a:lnTo>
                      <a:pt x="237" y="390"/>
                    </a:lnTo>
                    <a:lnTo>
                      <a:pt x="241" y="402"/>
                    </a:lnTo>
                    <a:lnTo>
                      <a:pt x="255" y="398"/>
                    </a:lnTo>
                    <a:lnTo>
                      <a:pt x="256" y="401"/>
                    </a:lnTo>
                    <a:lnTo>
                      <a:pt x="259" y="395"/>
                    </a:lnTo>
                    <a:lnTo>
                      <a:pt x="271" y="393"/>
                    </a:lnTo>
                    <a:lnTo>
                      <a:pt x="288" y="389"/>
                    </a:lnTo>
                    <a:lnTo>
                      <a:pt x="288" y="383"/>
                    </a:lnTo>
                    <a:lnTo>
                      <a:pt x="295" y="380"/>
                    </a:lnTo>
                    <a:lnTo>
                      <a:pt x="312" y="390"/>
                    </a:lnTo>
                    <a:lnTo>
                      <a:pt x="319" y="386"/>
                    </a:lnTo>
                    <a:lnTo>
                      <a:pt x="322" y="381"/>
                    </a:lnTo>
                    <a:lnTo>
                      <a:pt x="330" y="381"/>
                    </a:lnTo>
                    <a:lnTo>
                      <a:pt x="333" y="378"/>
                    </a:lnTo>
                    <a:lnTo>
                      <a:pt x="327" y="363"/>
                    </a:lnTo>
                    <a:lnTo>
                      <a:pt x="336" y="372"/>
                    </a:lnTo>
                    <a:lnTo>
                      <a:pt x="336" y="375"/>
                    </a:lnTo>
                    <a:lnTo>
                      <a:pt x="342" y="375"/>
                    </a:lnTo>
                    <a:lnTo>
                      <a:pt x="342" y="369"/>
                    </a:lnTo>
                    <a:lnTo>
                      <a:pt x="358" y="368"/>
                    </a:lnTo>
                    <a:lnTo>
                      <a:pt x="370" y="357"/>
                    </a:lnTo>
                    <a:lnTo>
                      <a:pt x="382" y="354"/>
                    </a:lnTo>
                    <a:lnTo>
                      <a:pt x="391" y="348"/>
                    </a:lnTo>
                    <a:lnTo>
                      <a:pt x="399" y="345"/>
                    </a:lnTo>
                    <a:lnTo>
                      <a:pt x="397" y="350"/>
                    </a:lnTo>
                    <a:lnTo>
                      <a:pt x="387" y="359"/>
                    </a:lnTo>
                    <a:lnTo>
                      <a:pt x="378" y="363"/>
                    </a:lnTo>
                    <a:lnTo>
                      <a:pt x="357" y="375"/>
                    </a:lnTo>
                    <a:lnTo>
                      <a:pt x="349" y="377"/>
                    </a:lnTo>
                    <a:lnTo>
                      <a:pt x="339" y="384"/>
                    </a:lnTo>
                    <a:lnTo>
                      <a:pt x="322" y="393"/>
                    </a:lnTo>
                    <a:lnTo>
                      <a:pt x="312" y="398"/>
                    </a:lnTo>
                    <a:lnTo>
                      <a:pt x="301" y="414"/>
                    </a:lnTo>
                    <a:lnTo>
                      <a:pt x="292" y="417"/>
                    </a:lnTo>
                    <a:lnTo>
                      <a:pt x="285" y="431"/>
                    </a:lnTo>
                    <a:lnTo>
                      <a:pt x="280" y="437"/>
                    </a:lnTo>
                    <a:lnTo>
                      <a:pt x="283" y="443"/>
                    </a:lnTo>
                    <a:lnTo>
                      <a:pt x="288" y="443"/>
                    </a:lnTo>
                    <a:lnTo>
                      <a:pt x="276" y="450"/>
                    </a:lnTo>
                    <a:lnTo>
                      <a:pt x="279" y="456"/>
                    </a:lnTo>
                    <a:lnTo>
                      <a:pt x="270" y="462"/>
                    </a:lnTo>
                    <a:lnTo>
                      <a:pt x="279" y="464"/>
                    </a:lnTo>
                    <a:lnTo>
                      <a:pt x="298" y="456"/>
                    </a:lnTo>
                    <a:lnTo>
                      <a:pt x="315" y="446"/>
                    </a:lnTo>
                    <a:lnTo>
                      <a:pt x="321" y="446"/>
                    </a:lnTo>
                    <a:lnTo>
                      <a:pt x="315" y="449"/>
                    </a:lnTo>
                    <a:lnTo>
                      <a:pt x="304" y="465"/>
                    </a:lnTo>
                    <a:lnTo>
                      <a:pt x="312" y="467"/>
                    </a:lnTo>
                    <a:lnTo>
                      <a:pt x="334" y="464"/>
                    </a:lnTo>
                    <a:lnTo>
                      <a:pt x="342" y="453"/>
                    </a:lnTo>
                    <a:lnTo>
                      <a:pt x="342" y="443"/>
                    </a:lnTo>
                    <a:lnTo>
                      <a:pt x="363" y="426"/>
                    </a:lnTo>
                    <a:lnTo>
                      <a:pt x="352" y="443"/>
                    </a:lnTo>
                    <a:lnTo>
                      <a:pt x="361" y="443"/>
                    </a:lnTo>
                    <a:lnTo>
                      <a:pt x="372" y="429"/>
                    </a:lnTo>
                    <a:lnTo>
                      <a:pt x="379" y="419"/>
                    </a:lnTo>
                    <a:lnTo>
                      <a:pt x="379" y="429"/>
                    </a:lnTo>
                    <a:lnTo>
                      <a:pt x="370" y="441"/>
                    </a:lnTo>
                    <a:lnTo>
                      <a:pt x="373" y="447"/>
                    </a:lnTo>
                    <a:lnTo>
                      <a:pt x="393" y="443"/>
                    </a:lnTo>
                    <a:lnTo>
                      <a:pt x="391" y="434"/>
                    </a:lnTo>
                    <a:lnTo>
                      <a:pt x="396" y="428"/>
                    </a:lnTo>
                    <a:lnTo>
                      <a:pt x="402" y="432"/>
                    </a:lnTo>
                    <a:lnTo>
                      <a:pt x="408" y="429"/>
                    </a:lnTo>
                    <a:lnTo>
                      <a:pt x="423" y="428"/>
                    </a:lnTo>
                    <a:lnTo>
                      <a:pt x="418" y="432"/>
                    </a:lnTo>
                    <a:lnTo>
                      <a:pt x="402" y="435"/>
                    </a:lnTo>
                    <a:lnTo>
                      <a:pt x="402" y="437"/>
                    </a:lnTo>
                    <a:lnTo>
                      <a:pt x="411" y="441"/>
                    </a:lnTo>
                    <a:lnTo>
                      <a:pt x="399" y="449"/>
                    </a:lnTo>
                    <a:lnTo>
                      <a:pt x="382" y="453"/>
                    </a:lnTo>
                    <a:lnTo>
                      <a:pt x="382" y="456"/>
                    </a:lnTo>
                    <a:lnTo>
                      <a:pt x="393" y="456"/>
                    </a:lnTo>
                    <a:lnTo>
                      <a:pt x="387" y="461"/>
                    </a:lnTo>
                    <a:lnTo>
                      <a:pt x="379" y="461"/>
                    </a:lnTo>
                    <a:lnTo>
                      <a:pt x="379" y="467"/>
                    </a:lnTo>
                    <a:lnTo>
                      <a:pt x="366" y="476"/>
                    </a:lnTo>
                    <a:lnTo>
                      <a:pt x="387" y="474"/>
                    </a:lnTo>
                    <a:lnTo>
                      <a:pt x="400" y="480"/>
                    </a:lnTo>
                    <a:lnTo>
                      <a:pt x="409" y="468"/>
                    </a:lnTo>
                    <a:lnTo>
                      <a:pt x="417" y="470"/>
                    </a:lnTo>
                    <a:lnTo>
                      <a:pt x="432" y="461"/>
                    </a:lnTo>
                    <a:lnTo>
                      <a:pt x="436" y="461"/>
                    </a:lnTo>
                    <a:lnTo>
                      <a:pt x="433" y="465"/>
                    </a:lnTo>
                    <a:lnTo>
                      <a:pt x="409" y="477"/>
                    </a:lnTo>
                    <a:lnTo>
                      <a:pt x="424" y="485"/>
                    </a:lnTo>
                    <a:lnTo>
                      <a:pt x="435" y="494"/>
                    </a:lnTo>
                    <a:lnTo>
                      <a:pt x="439" y="482"/>
                    </a:lnTo>
                    <a:lnTo>
                      <a:pt x="453" y="479"/>
                    </a:lnTo>
                    <a:lnTo>
                      <a:pt x="441" y="485"/>
                    </a:lnTo>
                    <a:lnTo>
                      <a:pt x="445" y="494"/>
                    </a:lnTo>
                    <a:lnTo>
                      <a:pt x="480" y="498"/>
                    </a:lnTo>
                    <a:lnTo>
                      <a:pt x="465" y="501"/>
                    </a:lnTo>
                    <a:lnTo>
                      <a:pt x="462" y="504"/>
                    </a:lnTo>
                    <a:lnTo>
                      <a:pt x="462" y="500"/>
                    </a:lnTo>
                    <a:lnTo>
                      <a:pt x="453" y="504"/>
                    </a:lnTo>
                    <a:lnTo>
                      <a:pt x="441" y="503"/>
                    </a:lnTo>
                    <a:lnTo>
                      <a:pt x="439" y="509"/>
                    </a:lnTo>
                    <a:lnTo>
                      <a:pt x="420" y="518"/>
                    </a:lnTo>
                    <a:lnTo>
                      <a:pt x="411" y="512"/>
                    </a:lnTo>
                    <a:lnTo>
                      <a:pt x="411" y="516"/>
                    </a:lnTo>
                    <a:lnTo>
                      <a:pt x="418" y="524"/>
                    </a:lnTo>
                    <a:lnTo>
                      <a:pt x="433" y="530"/>
                    </a:lnTo>
                    <a:lnTo>
                      <a:pt x="439" y="543"/>
                    </a:lnTo>
                    <a:lnTo>
                      <a:pt x="447" y="545"/>
                    </a:lnTo>
                    <a:lnTo>
                      <a:pt x="453" y="537"/>
                    </a:lnTo>
                    <a:lnTo>
                      <a:pt x="460" y="539"/>
                    </a:lnTo>
                    <a:lnTo>
                      <a:pt x="466" y="548"/>
                    </a:lnTo>
                    <a:lnTo>
                      <a:pt x="471" y="549"/>
                    </a:lnTo>
                    <a:lnTo>
                      <a:pt x="478" y="549"/>
                    </a:lnTo>
                    <a:lnTo>
                      <a:pt x="510" y="555"/>
                    </a:lnTo>
                    <a:lnTo>
                      <a:pt x="489" y="558"/>
                    </a:lnTo>
                    <a:lnTo>
                      <a:pt x="483" y="554"/>
                    </a:lnTo>
                    <a:lnTo>
                      <a:pt x="466" y="554"/>
                    </a:lnTo>
                    <a:lnTo>
                      <a:pt x="468" y="561"/>
                    </a:lnTo>
                    <a:lnTo>
                      <a:pt x="462" y="555"/>
                    </a:lnTo>
                    <a:lnTo>
                      <a:pt x="462" y="546"/>
                    </a:lnTo>
                    <a:lnTo>
                      <a:pt x="454" y="542"/>
                    </a:lnTo>
                    <a:lnTo>
                      <a:pt x="450" y="549"/>
                    </a:lnTo>
                    <a:lnTo>
                      <a:pt x="439" y="552"/>
                    </a:lnTo>
                    <a:lnTo>
                      <a:pt x="430" y="540"/>
                    </a:lnTo>
                    <a:lnTo>
                      <a:pt x="420" y="540"/>
                    </a:lnTo>
                    <a:lnTo>
                      <a:pt x="429" y="536"/>
                    </a:lnTo>
                    <a:lnTo>
                      <a:pt x="408" y="524"/>
                    </a:lnTo>
                    <a:lnTo>
                      <a:pt x="405" y="516"/>
                    </a:lnTo>
                    <a:lnTo>
                      <a:pt x="408" y="509"/>
                    </a:lnTo>
                    <a:lnTo>
                      <a:pt x="412" y="506"/>
                    </a:lnTo>
                    <a:lnTo>
                      <a:pt x="421" y="513"/>
                    </a:lnTo>
                    <a:lnTo>
                      <a:pt x="423" y="504"/>
                    </a:lnTo>
                    <a:lnTo>
                      <a:pt x="415" y="498"/>
                    </a:lnTo>
                    <a:lnTo>
                      <a:pt x="390" y="497"/>
                    </a:lnTo>
                    <a:lnTo>
                      <a:pt x="376" y="504"/>
                    </a:lnTo>
                    <a:lnTo>
                      <a:pt x="363" y="509"/>
                    </a:lnTo>
                    <a:lnTo>
                      <a:pt x="351" y="509"/>
                    </a:lnTo>
                    <a:lnTo>
                      <a:pt x="343" y="519"/>
                    </a:lnTo>
                    <a:lnTo>
                      <a:pt x="327" y="522"/>
                    </a:lnTo>
                    <a:lnTo>
                      <a:pt x="303" y="521"/>
                    </a:lnTo>
                    <a:lnTo>
                      <a:pt x="304" y="515"/>
                    </a:lnTo>
                    <a:lnTo>
                      <a:pt x="300" y="501"/>
                    </a:lnTo>
                    <a:lnTo>
                      <a:pt x="295" y="503"/>
                    </a:lnTo>
                    <a:lnTo>
                      <a:pt x="279" y="504"/>
                    </a:lnTo>
                    <a:lnTo>
                      <a:pt x="267" y="501"/>
                    </a:lnTo>
                    <a:lnTo>
                      <a:pt x="262" y="506"/>
                    </a:lnTo>
                    <a:lnTo>
                      <a:pt x="252" y="509"/>
                    </a:lnTo>
                    <a:lnTo>
                      <a:pt x="246" y="513"/>
                    </a:lnTo>
                    <a:lnTo>
                      <a:pt x="232" y="513"/>
                    </a:lnTo>
                    <a:lnTo>
                      <a:pt x="226" y="506"/>
                    </a:lnTo>
                    <a:lnTo>
                      <a:pt x="219" y="500"/>
                    </a:lnTo>
                    <a:lnTo>
                      <a:pt x="232" y="489"/>
                    </a:lnTo>
                    <a:lnTo>
                      <a:pt x="234" y="483"/>
                    </a:lnTo>
                    <a:lnTo>
                      <a:pt x="226" y="483"/>
                    </a:lnTo>
                    <a:lnTo>
                      <a:pt x="220" y="495"/>
                    </a:lnTo>
                    <a:lnTo>
                      <a:pt x="213" y="500"/>
                    </a:lnTo>
                    <a:lnTo>
                      <a:pt x="214" y="504"/>
                    </a:lnTo>
                    <a:lnTo>
                      <a:pt x="207" y="510"/>
                    </a:lnTo>
                    <a:lnTo>
                      <a:pt x="201" y="507"/>
                    </a:lnTo>
                    <a:lnTo>
                      <a:pt x="204" y="503"/>
                    </a:lnTo>
                    <a:lnTo>
                      <a:pt x="199" y="504"/>
                    </a:lnTo>
                    <a:lnTo>
                      <a:pt x="193" y="498"/>
                    </a:lnTo>
                    <a:lnTo>
                      <a:pt x="190" y="494"/>
                    </a:lnTo>
                    <a:lnTo>
                      <a:pt x="189" y="491"/>
                    </a:lnTo>
                    <a:lnTo>
                      <a:pt x="198" y="482"/>
                    </a:lnTo>
                    <a:lnTo>
                      <a:pt x="198" y="473"/>
                    </a:lnTo>
                    <a:lnTo>
                      <a:pt x="199" y="471"/>
                    </a:lnTo>
                    <a:lnTo>
                      <a:pt x="198" y="464"/>
                    </a:lnTo>
                    <a:lnTo>
                      <a:pt x="207" y="453"/>
                    </a:lnTo>
                    <a:lnTo>
                      <a:pt x="207" y="446"/>
                    </a:lnTo>
                    <a:lnTo>
                      <a:pt x="198" y="449"/>
                    </a:lnTo>
                    <a:lnTo>
                      <a:pt x="192" y="449"/>
                    </a:lnTo>
                    <a:lnTo>
                      <a:pt x="186" y="453"/>
                    </a:lnTo>
                    <a:lnTo>
                      <a:pt x="186" y="458"/>
                    </a:lnTo>
                    <a:lnTo>
                      <a:pt x="178" y="459"/>
                    </a:lnTo>
                    <a:lnTo>
                      <a:pt x="177" y="462"/>
                    </a:lnTo>
                    <a:lnTo>
                      <a:pt x="171" y="470"/>
                    </a:lnTo>
                    <a:lnTo>
                      <a:pt x="175" y="477"/>
                    </a:lnTo>
                    <a:lnTo>
                      <a:pt x="177" y="492"/>
                    </a:lnTo>
                    <a:lnTo>
                      <a:pt x="183" y="500"/>
                    </a:lnTo>
                    <a:lnTo>
                      <a:pt x="180" y="503"/>
                    </a:lnTo>
                    <a:lnTo>
                      <a:pt x="180" y="512"/>
                    </a:lnTo>
                    <a:lnTo>
                      <a:pt x="168" y="521"/>
                    </a:lnTo>
                    <a:lnTo>
                      <a:pt x="157" y="521"/>
                    </a:lnTo>
                    <a:lnTo>
                      <a:pt x="151" y="509"/>
                    </a:lnTo>
                    <a:lnTo>
                      <a:pt x="145" y="510"/>
                    </a:lnTo>
                    <a:lnTo>
                      <a:pt x="142" y="518"/>
                    </a:lnTo>
                    <a:lnTo>
                      <a:pt x="136" y="515"/>
                    </a:lnTo>
                    <a:lnTo>
                      <a:pt x="130" y="516"/>
                    </a:lnTo>
                    <a:lnTo>
                      <a:pt x="141" y="521"/>
                    </a:lnTo>
                    <a:lnTo>
                      <a:pt x="139" y="530"/>
                    </a:lnTo>
                    <a:lnTo>
                      <a:pt x="135" y="542"/>
                    </a:lnTo>
                    <a:lnTo>
                      <a:pt x="136" y="545"/>
                    </a:lnTo>
                    <a:lnTo>
                      <a:pt x="142" y="537"/>
                    </a:lnTo>
                    <a:lnTo>
                      <a:pt x="154" y="543"/>
                    </a:lnTo>
                    <a:lnTo>
                      <a:pt x="157" y="548"/>
                    </a:lnTo>
                    <a:lnTo>
                      <a:pt x="163" y="546"/>
                    </a:lnTo>
                    <a:lnTo>
                      <a:pt x="168" y="549"/>
                    </a:lnTo>
                    <a:lnTo>
                      <a:pt x="172" y="545"/>
                    </a:lnTo>
                    <a:lnTo>
                      <a:pt x="183" y="546"/>
                    </a:lnTo>
                    <a:lnTo>
                      <a:pt x="189" y="542"/>
                    </a:lnTo>
                    <a:lnTo>
                      <a:pt x="196" y="548"/>
                    </a:lnTo>
                    <a:lnTo>
                      <a:pt x="198" y="560"/>
                    </a:lnTo>
                    <a:lnTo>
                      <a:pt x="175" y="567"/>
                    </a:lnTo>
                    <a:lnTo>
                      <a:pt x="177" y="572"/>
                    </a:lnTo>
                    <a:lnTo>
                      <a:pt x="184" y="572"/>
                    </a:lnTo>
                    <a:lnTo>
                      <a:pt x="187" y="588"/>
                    </a:lnTo>
                    <a:lnTo>
                      <a:pt x="195" y="617"/>
                    </a:lnTo>
                    <a:lnTo>
                      <a:pt x="192" y="632"/>
                    </a:lnTo>
                    <a:lnTo>
                      <a:pt x="186" y="635"/>
                    </a:lnTo>
                    <a:lnTo>
                      <a:pt x="187" y="642"/>
                    </a:lnTo>
                    <a:lnTo>
                      <a:pt x="195" y="645"/>
                    </a:lnTo>
                    <a:lnTo>
                      <a:pt x="201" y="645"/>
                    </a:lnTo>
                    <a:lnTo>
                      <a:pt x="202" y="630"/>
                    </a:lnTo>
                    <a:lnTo>
                      <a:pt x="220" y="618"/>
                    </a:lnTo>
                    <a:lnTo>
                      <a:pt x="217" y="612"/>
                    </a:lnTo>
                    <a:lnTo>
                      <a:pt x="223" y="605"/>
                    </a:lnTo>
                    <a:lnTo>
                      <a:pt x="226" y="594"/>
                    </a:lnTo>
                    <a:lnTo>
                      <a:pt x="238" y="587"/>
                    </a:lnTo>
                    <a:lnTo>
                      <a:pt x="234" y="579"/>
                    </a:lnTo>
                    <a:lnTo>
                      <a:pt x="238" y="570"/>
                    </a:lnTo>
                    <a:lnTo>
                      <a:pt x="261" y="564"/>
                    </a:lnTo>
                    <a:lnTo>
                      <a:pt x="312" y="581"/>
                    </a:lnTo>
                    <a:lnTo>
                      <a:pt x="321" y="585"/>
                    </a:lnTo>
                    <a:lnTo>
                      <a:pt x="321" y="588"/>
                    </a:lnTo>
                    <a:lnTo>
                      <a:pt x="330" y="588"/>
                    </a:lnTo>
                    <a:lnTo>
                      <a:pt x="339" y="594"/>
                    </a:lnTo>
                    <a:lnTo>
                      <a:pt x="337" y="602"/>
                    </a:lnTo>
                    <a:lnTo>
                      <a:pt x="366" y="603"/>
                    </a:lnTo>
                    <a:lnTo>
                      <a:pt x="378" y="606"/>
                    </a:lnTo>
                    <a:close/>
                  </a:path>
                </a:pathLst>
              </a:custGeom>
              <a:grp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7" name="Freeform 260">
                <a:extLst>
                  <a:ext uri="{FF2B5EF4-FFF2-40B4-BE49-F238E27FC236}">
                    <a16:creationId xmlns:a16="http://schemas.microsoft.com/office/drawing/2014/main" id="{97DF40A8-9F3E-9A01-1DE2-2E146C7B9289}"/>
                  </a:ext>
                </a:extLst>
              </p:cNvPr>
              <p:cNvSpPr>
                <a:spLocks/>
              </p:cNvSpPr>
              <p:nvPr/>
            </p:nvSpPr>
            <p:spPr bwMode="auto">
              <a:xfrm>
                <a:off x="2378" y="1249"/>
                <a:ext cx="334" cy="416"/>
              </a:xfrm>
              <a:custGeom>
                <a:avLst/>
                <a:gdLst>
                  <a:gd name="T0" fmla="*/ 0 w 1001"/>
                  <a:gd name="T1" fmla="*/ 0 h 1249"/>
                  <a:gd name="T2" fmla="*/ 0 w 1001"/>
                  <a:gd name="T3" fmla="*/ 0 h 1249"/>
                  <a:gd name="T4" fmla="*/ 0 w 1001"/>
                  <a:gd name="T5" fmla="*/ 0 h 1249"/>
                  <a:gd name="T6" fmla="*/ 0 w 1001"/>
                  <a:gd name="T7" fmla="*/ 0 h 1249"/>
                  <a:gd name="T8" fmla="*/ 0 w 1001"/>
                  <a:gd name="T9" fmla="*/ 0 h 1249"/>
                  <a:gd name="T10" fmla="*/ 0 w 1001"/>
                  <a:gd name="T11" fmla="*/ 0 h 1249"/>
                  <a:gd name="T12" fmla="*/ 0 w 1001"/>
                  <a:gd name="T13" fmla="*/ 0 h 1249"/>
                  <a:gd name="T14" fmla="*/ 0 w 1001"/>
                  <a:gd name="T15" fmla="*/ 0 h 1249"/>
                  <a:gd name="T16" fmla="*/ 0 w 1001"/>
                  <a:gd name="T17" fmla="*/ 0 h 1249"/>
                  <a:gd name="T18" fmla="*/ 0 w 1001"/>
                  <a:gd name="T19" fmla="*/ 0 h 1249"/>
                  <a:gd name="T20" fmla="*/ 0 w 1001"/>
                  <a:gd name="T21" fmla="*/ 0 h 1249"/>
                  <a:gd name="T22" fmla="*/ 0 w 1001"/>
                  <a:gd name="T23" fmla="*/ 0 h 1249"/>
                  <a:gd name="T24" fmla="*/ 0 w 1001"/>
                  <a:gd name="T25" fmla="*/ 0 h 1249"/>
                  <a:gd name="T26" fmla="*/ 0 w 1001"/>
                  <a:gd name="T27" fmla="*/ 0 h 1249"/>
                  <a:gd name="T28" fmla="*/ 0 w 1001"/>
                  <a:gd name="T29" fmla="*/ 0 h 1249"/>
                  <a:gd name="T30" fmla="*/ 0 w 1001"/>
                  <a:gd name="T31" fmla="*/ 0 h 1249"/>
                  <a:gd name="T32" fmla="*/ 0 w 1001"/>
                  <a:gd name="T33" fmla="*/ 0 h 1249"/>
                  <a:gd name="T34" fmla="*/ 0 w 1001"/>
                  <a:gd name="T35" fmla="*/ 0 h 1249"/>
                  <a:gd name="T36" fmla="*/ 0 w 1001"/>
                  <a:gd name="T37" fmla="*/ 0 h 1249"/>
                  <a:gd name="T38" fmla="*/ 0 w 1001"/>
                  <a:gd name="T39" fmla="*/ 0 h 1249"/>
                  <a:gd name="T40" fmla="*/ 0 w 1001"/>
                  <a:gd name="T41" fmla="*/ 0 h 1249"/>
                  <a:gd name="T42" fmla="*/ 0 w 1001"/>
                  <a:gd name="T43" fmla="*/ 0 h 1249"/>
                  <a:gd name="T44" fmla="*/ 0 w 1001"/>
                  <a:gd name="T45" fmla="*/ 0 h 1249"/>
                  <a:gd name="T46" fmla="*/ 0 w 1001"/>
                  <a:gd name="T47" fmla="*/ 0 h 1249"/>
                  <a:gd name="T48" fmla="*/ 0 w 1001"/>
                  <a:gd name="T49" fmla="*/ 0 h 1249"/>
                  <a:gd name="T50" fmla="*/ 0 w 1001"/>
                  <a:gd name="T51" fmla="*/ 0 h 1249"/>
                  <a:gd name="T52" fmla="*/ 0 w 1001"/>
                  <a:gd name="T53" fmla="*/ 0 h 1249"/>
                  <a:gd name="T54" fmla="*/ 0 w 1001"/>
                  <a:gd name="T55" fmla="*/ 0 h 1249"/>
                  <a:gd name="T56" fmla="*/ 0 w 1001"/>
                  <a:gd name="T57" fmla="*/ 0 h 1249"/>
                  <a:gd name="T58" fmla="*/ 0 w 1001"/>
                  <a:gd name="T59" fmla="*/ 0 h 1249"/>
                  <a:gd name="T60" fmla="*/ 0 w 1001"/>
                  <a:gd name="T61" fmla="*/ 0 h 1249"/>
                  <a:gd name="T62" fmla="*/ 0 w 1001"/>
                  <a:gd name="T63" fmla="*/ 0 h 1249"/>
                  <a:gd name="T64" fmla="*/ 0 w 1001"/>
                  <a:gd name="T65" fmla="*/ 0 h 1249"/>
                  <a:gd name="T66" fmla="*/ 0 w 1001"/>
                  <a:gd name="T67" fmla="*/ 0 h 1249"/>
                  <a:gd name="T68" fmla="*/ 0 w 1001"/>
                  <a:gd name="T69" fmla="*/ 0 h 1249"/>
                  <a:gd name="T70" fmla="*/ 0 w 1001"/>
                  <a:gd name="T71" fmla="*/ 0 h 1249"/>
                  <a:gd name="T72" fmla="*/ 0 w 1001"/>
                  <a:gd name="T73" fmla="*/ 0 h 1249"/>
                  <a:gd name="T74" fmla="*/ 0 w 1001"/>
                  <a:gd name="T75" fmla="*/ 0 h 1249"/>
                  <a:gd name="T76" fmla="*/ 0 w 1001"/>
                  <a:gd name="T77" fmla="*/ 0 h 1249"/>
                  <a:gd name="T78" fmla="*/ 0 w 1001"/>
                  <a:gd name="T79" fmla="*/ 0 h 1249"/>
                  <a:gd name="T80" fmla="*/ 0 w 1001"/>
                  <a:gd name="T81" fmla="*/ 0 h 1249"/>
                  <a:gd name="T82" fmla="*/ 0 w 1001"/>
                  <a:gd name="T83" fmla="*/ 0 h 1249"/>
                  <a:gd name="T84" fmla="*/ 0 w 1001"/>
                  <a:gd name="T85" fmla="*/ 0 h 1249"/>
                  <a:gd name="T86" fmla="*/ 0 w 1001"/>
                  <a:gd name="T87" fmla="*/ 0 h 1249"/>
                  <a:gd name="T88" fmla="*/ 0 w 1001"/>
                  <a:gd name="T89" fmla="*/ 0 h 1249"/>
                  <a:gd name="T90" fmla="*/ 0 w 1001"/>
                  <a:gd name="T91" fmla="*/ 0 h 1249"/>
                  <a:gd name="T92" fmla="*/ 0 w 1001"/>
                  <a:gd name="T93" fmla="*/ 0 h 1249"/>
                  <a:gd name="T94" fmla="*/ 0 w 1001"/>
                  <a:gd name="T95" fmla="*/ 0 h 1249"/>
                  <a:gd name="T96" fmla="*/ 0 w 1001"/>
                  <a:gd name="T97" fmla="*/ 0 h 1249"/>
                  <a:gd name="T98" fmla="*/ 0 w 1001"/>
                  <a:gd name="T99" fmla="*/ 0 h 1249"/>
                  <a:gd name="T100" fmla="*/ 0 w 1001"/>
                  <a:gd name="T101" fmla="*/ 0 h 1249"/>
                  <a:gd name="T102" fmla="*/ 0 w 1001"/>
                  <a:gd name="T103" fmla="*/ 0 h 1249"/>
                  <a:gd name="T104" fmla="*/ 0 w 1001"/>
                  <a:gd name="T105" fmla="*/ 0 h 1249"/>
                  <a:gd name="T106" fmla="*/ 0 w 1001"/>
                  <a:gd name="T107" fmla="*/ 0 h 1249"/>
                  <a:gd name="T108" fmla="*/ 0 w 1001"/>
                  <a:gd name="T109" fmla="*/ 0 h 1249"/>
                  <a:gd name="T110" fmla="*/ 0 w 1001"/>
                  <a:gd name="T111" fmla="*/ 0 h 1249"/>
                  <a:gd name="T112" fmla="*/ 0 w 1001"/>
                  <a:gd name="T113" fmla="*/ 0 h 1249"/>
                  <a:gd name="T114" fmla="*/ 0 w 1001"/>
                  <a:gd name="T115" fmla="*/ 0 h 1249"/>
                  <a:gd name="T116" fmla="*/ 0 w 1001"/>
                  <a:gd name="T117" fmla="*/ 0 h 1249"/>
                  <a:gd name="T118" fmla="*/ 0 w 1001"/>
                  <a:gd name="T119" fmla="*/ 0 h 1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1" h="1249">
                    <a:moveTo>
                      <a:pt x="392" y="118"/>
                    </a:moveTo>
                    <a:lnTo>
                      <a:pt x="347" y="105"/>
                    </a:lnTo>
                    <a:lnTo>
                      <a:pt x="344" y="96"/>
                    </a:lnTo>
                    <a:lnTo>
                      <a:pt x="335" y="76"/>
                    </a:lnTo>
                    <a:lnTo>
                      <a:pt x="330" y="75"/>
                    </a:lnTo>
                    <a:lnTo>
                      <a:pt x="330" y="70"/>
                    </a:lnTo>
                    <a:lnTo>
                      <a:pt x="338" y="69"/>
                    </a:lnTo>
                    <a:lnTo>
                      <a:pt x="338" y="61"/>
                    </a:lnTo>
                    <a:lnTo>
                      <a:pt x="338" y="51"/>
                    </a:lnTo>
                    <a:lnTo>
                      <a:pt x="350" y="43"/>
                    </a:lnTo>
                    <a:lnTo>
                      <a:pt x="351" y="37"/>
                    </a:lnTo>
                    <a:lnTo>
                      <a:pt x="359" y="34"/>
                    </a:lnTo>
                    <a:lnTo>
                      <a:pt x="351" y="22"/>
                    </a:lnTo>
                    <a:lnTo>
                      <a:pt x="351" y="16"/>
                    </a:lnTo>
                    <a:lnTo>
                      <a:pt x="350" y="12"/>
                    </a:lnTo>
                    <a:lnTo>
                      <a:pt x="351" y="9"/>
                    </a:lnTo>
                    <a:lnTo>
                      <a:pt x="354" y="0"/>
                    </a:lnTo>
                    <a:lnTo>
                      <a:pt x="345" y="4"/>
                    </a:lnTo>
                    <a:lnTo>
                      <a:pt x="338" y="12"/>
                    </a:lnTo>
                    <a:lnTo>
                      <a:pt x="335" y="12"/>
                    </a:lnTo>
                    <a:lnTo>
                      <a:pt x="326" y="18"/>
                    </a:lnTo>
                    <a:lnTo>
                      <a:pt x="324" y="15"/>
                    </a:lnTo>
                    <a:lnTo>
                      <a:pt x="317" y="15"/>
                    </a:lnTo>
                    <a:lnTo>
                      <a:pt x="315" y="19"/>
                    </a:lnTo>
                    <a:lnTo>
                      <a:pt x="305" y="25"/>
                    </a:lnTo>
                    <a:lnTo>
                      <a:pt x="297" y="19"/>
                    </a:lnTo>
                    <a:lnTo>
                      <a:pt x="291" y="22"/>
                    </a:lnTo>
                    <a:lnTo>
                      <a:pt x="285" y="19"/>
                    </a:lnTo>
                    <a:lnTo>
                      <a:pt x="284" y="10"/>
                    </a:lnTo>
                    <a:lnTo>
                      <a:pt x="278" y="21"/>
                    </a:lnTo>
                    <a:lnTo>
                      <a:pt x="263" y="21"/>
                    </a:lnTo>
                    <a:lnTo>
                      <a:pt x="264" y="27"/>
                    </a:lnTo>
                    <a:lnTo>
                      <a:pt x="270" y="25"/>
                    </a:lnTo>
                    <a:lnTo>
                      <a:pt x="281" y="30"/>
                    </a:lnTo>
                    <a:lnTo>
                      <a:pt x="258" y="36"/>
                    </a:lnTo>
                    <a:lnTo>
                      <a:pt x="261" y="28"/>
                    </a:lnTo>
                    <a:lnTo>
                      <a:pt x="239" y="34"/>
                    </a:lnTo>
                    <a:lnTo>
                      <a:pt x="245" y="40"/>
                    </a:lnTo>
                    <a:lnTo>
                      <a:pt x="240" y="55"/>
                    </a:lnTo>
                    <a:lnTo>
                      <a:pt x="216" y="66"/>
                    </a:lnTo>
                    <a:lnTo>
                      <a:pt x="207" y="69"/>
                    </a:lnTo>
                    <a:lnTo>
                      <a:pt x="207" y="75"/>
                    </a:lnTo>
                    <a:lnTo>
                      <a:pt x="213" y="79"/>
                    </a:lnTo>
                    <a:lnTo>
                      <a:pt x="213" y="82"/>
                    </a:lnTo>
                    <a:lnTo>
                      <a:pt x="207" y="87"/>
                    </a:lnTo>
                    <a:lnTo>
                      <a:pt x="221" y="99"/>
                    </a:lnTo>
                    <a:lnTo>
                      <a:pt x="216" y="105"/>
                    </a:lnTo>
                    <a:lnTo>
                      <a:pt x="221" y="111"/>
                    </a:lnTo>
                    <a:lnTo>
                      <a:pt x="227" y="111"/>
                    </a:lnTo>
                    <a:lnTo>
                      <a:pt x="221" y="127"/>
                    </a:lnTo>
                    <a:lnTo>
                      <a:pt x="230" y="127"/>
                    </a:lnTo>
                    <a:lnTo>
                      <a:pt x="230" y="138"/>
                    </a:lnTo>
                    <a:lnTo>
                      <a:pt x="236" y="135"/>
                    </a:lnTo>
                    <a:lnTo>
                      <a:pt x="246" y="135"/>
                    </a:lnTo>
                    <a:lnTo>
                      <a:pt x="251" y="139"/>
                    </a:lnTo>
                    <a:lnTo>
                      <a:pt x="258" y="136"/>
                    </a:lnTo>
                    <a:lnTo>
                      <a:pt x="260" y="151"/>
                    </a:lnTo>
                    <a:lnTo>
                      <a:pt x="243" y="145"/>
                    </a:lnTo>
                    <a:lnTo>
                      <a:pt x="245" y="157"/>
                    </a:lnTo>
                    <a:lnTo>
                      <a:pt x="249" y="162"/>
                    </a:lnTo>
                    <a:lnTo>
                      <a:pt x="251" y="175"/>
                    </a:lnTo>
                    <a:lnTo>
                      <a:pt x="255" y="180"/>
                    </a:lnTo>
                    <a:lnTo>
                      <a:pt x="254" y="193"/>
                    </a:lnTo>
                    <a:lnTo>
                      <a:pt x="255" y="199"/>
                    </a:lnTo>
                    <a:lnTo>
                      <a:pt x="269" y="198"/>
                    </a:lnTo>
                    <a:lnTo>
                      <a:pt x="284" y="186"/>
                    </a:lnTo>
                    <a:lnTo>
                      <a:pt x="288" y="192"/>
                    </a:lnTo>
                    <a:lnTo>
                      <a:pt x="288" y="199"/>
                    </a:lnTo>
                    <a:lnTo>
                      <a:pt x="296" y="217"/>
                    </a:lnTo>
                    <a:lnTo>
                      <a:pt x="296" y="229"/>
                    </a:lnTo>
                    <a:lnTo>
                      <a:pt x="288" y="232"/>
                    </a:lnTo>
                    <a:lnTo>
                      <a:pt x="287" y="244"/>
                    </a:lnTo>
                    <a:lnTo>
                      <a:pt x="293" y="253"/>
                    </a:lnTo>
                    <a:lnTo>
                      <a:pt x="296" y="261"/>
                    </a:lnTo>
                    <a:lnTo>
                      <a:pt x="284" y="265"/>
                    </a:lnTo>
                    <a:lnTo>
                      <a:pt x="284" y="273"/>
                    </a:lnTo>
                    <a:lnTo>
                      <a:pt x="284" y="279"/>
                    </a:lnTo>
                    <a:lnTo>
                      <a:pt x="282" y="291"/>
                    </a:lnTo>
                    <a:lnTo>
                      <a:pt x="275" y="298"/>
                    </a:lnTo>
                    <a:lnTo>
                      <a:pt x="267" y="303"/>
                    </a:lnTo>
                    <a:lnTo>
                      <a:pt x="264" y="318"/>
                    </a:lnTo>
                    <a:lnTo>
                      <a:pt x="273" y="331"/>
                    </a:lnTo>
                    <a:lnTo>
                      <a:pt x="275" y="340"/>
                    </a:lnTo>
                    <a:lnTo>
                      <a:pt x="275" y="352"/>
                    </a:lnTo>
                    <a:lnTo>
                      <a:pt x="275" y="360"/>
                    </a:lnTo>
                    <a:lnTo>
                      <a:pt x="278" y="366"/>
                    </a:lnTo>
                    <a:lnTo>
                      <a:pt x="270" y="379"/>
                    </a:lnTo>
                    <a:lnTo>
                      <a:pt x="270" y="394"/>
                    </a:lnTo>
                    <a:lnTo>
                      <a:pt x="276" y="405"/>
                    </a:lnTo>
                    <a:lnTo>
                      <a:pt x="284" y="417"/>
                    </a:lnTo>
                    <a:lnTo>
                      <a:pt x="269" y="423"/>
                    </a:lnTo>
                    <a:lnTo>
                      <a:pt x="260" y="421"/>
                    </a:lnTo>
                    <a:lnTo>
                      <a:pt x="254" y="426"/>
                    </a:lnTo>
                    <a:lnTo>
                      <a:pt x="263" y="453"/>
                    </a:lnTo>
                    <a:lnTo>
                      <a:pt x="261" y="465"/>
                    </a:lnTo>
                    <a:lnTo>
                      <a:pt x="254" y="469"/>
                    </a:lnTo>
                    <a:lnTo>
                      <a:pt x="260" y="483"/>
                    </a:lnTo>
                    <a:lnTo>
                      <a:pt x="249" y="477"/>
                    </a:lnTo>
                    <a:lnTo>
                      <a:pt x="240" y="474"/>
                    </a:lnTo>
                    <a:lnTo>
                      <a:pt x="230" y="478"/>
                    </a:lnTo>
                    <a:lnTo>
                      <a:pt x="225" y="483"/>
                    </a:lnTo>
                    <a:lnTo>
                      <a:pt x="224" y="492"/>
                    </a:lnTo>
                    <a:lnTo>
                      <a:pt x="215" y="495"/>
                    </a:lnTo>
                    <a:lnTo>
                      <a:pt x="206" y="490"/>
                    </a:lnTo>
                    <a:lnTo>
                      <a:pt x="188" y="484"/>
                    </a:lnTo>
                    <a:lnTo>
                      <a:pt x="191" y="480"/>
                    </a:lnTo>
                    <a:lnTo>
                      <a:pt x="183" y="475"/>
                    </a:lnTo>
                    <a:lnTo>
                      <a:pt x="164" y="483"/>
                    </a:lnTo>
                    <a:lnTo>
                      <a:pt x="164" y="496"/>
                    </a:lnTo>
                    <a:lnTo>
                      <a:pt x="150" y="502"/>
                    </a:lnTo>
                    <a:lnTo>
                      <a:pt x="140" y="501"/>
                    </a:lnTo>
                    <a:lnTo>
                      <a:pt x="140" y="504"/>
                    </a:lnTo>
                    <a:lnTo>
                      <a:pt x="143" y="511"/>
                    </a:lnTo>
                    <a:lnTo>
                      <a:pt x="146" y="519"/>
                    </a:lnTo>
                    <a:lnTo>
                      <a:pt x="135" y="523"/>
                    </a:lnTo>
                    <a:lnTo>
                      <a:pt x="101" y="520"/>
                    </a:lnTo>
                    <a:lnTo>
                      <a:pt x="86" y="529"/>
                    </a:lnTo>
                    <a:lnTo>
                      <a:pt x="78" y="535"/>
                    </a:lnTo>
                    <a:lnTo>
                      <a:pt x="80" y="565"/>
                    </a:lnTo>
                    <a:lnTo>
                      <a:pt x="83" y="574"/>
                    </a:lnTo>
                    <a:lnTo>
                      <a:pt x="68" y="579"/>
                    </a:lnTo>
                    <a:lnTo>
                      <a:pt x="56" y="571"/>
                    </a:lnTo>
                    <a:lnTo>
                      <a:pt x="44" y="574"/>
                    </a:lnTo>
                    <a:lnTo>
                      <a:pt x="53" y="586"/>
                    </a:lnTo>
                    <a:lnTo>
                      <a:pt x="50" y="625"/>
                    </a:lnTo>
                    <a:lnTo>
                      <a:pt x="44" y="633"/>
                    </a:lnTo>
                    <a:lnTo>
                      <a:pt x="33" y="636"/>
                    </a:lnTo>
                    <a:lnTo>
                      <a:pt x="30" y="642"/>
                    </a:lnTo>
                    <a:lnTo>
                      <a:pt x="41" y="651"/>
                    </a:lnTo>
                    <a:lnTo>
                      <a:pt x="29" y="654"/>
                    </a:lnTo>
                    <a:lnTo>
                      <a:pt x="18" y="648"/>
                    </a:lnTo>
                    <a:lnTo>
                      <a:pt x="8" y="654"/>
                    </a:lnTo>
                    <a:lnTo>
                      <a:pt x="0" y="663"/>
                    </a:lnTo>
                    <a:lnTo>
                      <a:pt x="29" y="697"/>
                    </a:lnTo>
                    <a:lnTo>
                      <a:pt x="27" y="718"/>
                    </a:lnTo>
                    <a:lnTo>
                      <a:pt x="32" y="723"/>
                    </a:lnTo>
                    <a:lnTo>
                      <a:pt x="26" y="736"/>
                    </a:lnTo>
                    <a:lnTo>
                      <a:pt x="27" y="747"/>
                    </a:lnTo>
                    <a:lnTo>
                      <a:pt x="44" y="747"/>
                    </a:lnTo>
                    <a:lnTo>
                      <a:pt x="44" y="738"/>
                    </a:lnTo>
                    <a:lnTo>
                      <a:pt x="39" y="735"/>
                    </a:lnTo>
                    <a:lnTo>
                      <a:pt x="54" y="727"/>
                    </a:lnTo>
                    <a:lnTo>
                      <a:pt x="84" y="727"/>
                    </a:lnTo>
                    <a:lnTo>
                      <a:pt x="95" y="732"/>
                    </a:lnTo>
                    <a:lnTo>
                      <a:pt x="92" y="748"/>
                    </a:lnTo>
                    <a:lnTo>
                      <a:pt x="75" y="760"/>
                    </a:lnTo>
                    <a:lnTo>
                      <a:pt x="53" y="762"/>
                    </a:lnTo>
                    <a:lnTo>
                      <a:pt x="41" y="760"/>
                    </a:lnTo>
                    <a:lnTo>
                      <a:pt x="23" y="771"/>
                    </a:lnTo>
                    <a:lnTo>
                      <a:pt x="15" y="783"/>
                    </a:lnTo>
                    <a:lnTo>
                      <a:pt x="8" y="796"/>
                    </a:lnTo>
                    <a:lnTo>
                      <a:pt x="14" y="810"/>
                    </a:lnTo>
                    <a:lnTo>
                      <a:pt x="3" y="820"/>
                    </a:lnTo>
                    <a:lnTo>
                      <a:pt x="5" y="829"/>
                    </a:lnTo>
                    <a:lnTo>
                      <a:pt x="38" y="820"/>
                    </a:lnTo>
                    <a:lnTo>
                      <a:pt x="57" y="825"/>
                    </a:lnTo>
                    <a:lnTo>
                      <a:pt x="75" y="829"/>
                    </a:lnTo>
                    <a:lnTo>
                      <a:pt x="83" y="841"/>
                    </a:lnTo>
                    <a:lnTo>
                      <a:pt x="90" y="843"/>
                    </a:lnTo>
                    <a:lnTo>
                      <a:pt x="111" y="840"/>
                    </a:lnTo>
                    <a:lnTo>
                      <a:pt x="119" y="846"/>
                    </a:lnTo>
                    <a:lnTo>
                      <a:pt x="129" y="865"/>
                    </a:lnTo>
                    <a:lnTo>
                      <a:pt x="140" y="870"/>
                    </a:lnTo>
                    <a:lnTo>
                      <a:pt x="141" y="876"/>
                    </a:lnTo>
                    <a:lnTo>
                      <a:pt x="152" y="876"/>
                    </a:lnTo>
                    <a:lnTo>
                      <a:pt x="149" y="880"/>
                    </a:lnTo>
                    <a:lnTo>
                      <a:pt x="147" y="891"/>
                    </a:lnTo>
                    <a:lnTo>
                      <a:pt x="161" y="912"/>
                    </a:lnTo>
                    <a:lnTo>
                      <a:pt x="161" y="922"/>
                    </a:lnTo>
                    <a:lnTo>
                      <a:pt x="155" y="933"/>
                    </a:lnTo>
                    <a:lnTo>
                      <a:pt x="141" y="933"/>
                    </a:lnTo>
                    <a:lnTo>
                      <a:pt x="147" y="942"/>
                    </a:lnTo>
                    <a:lnTo>
                      <a:pt x="138" y="945"/>
                    </a:lnTo>
                    <a:lnTo>
                      <a:pt x="135" y="958"/>
                    </a:lnTo>
                    <a:lnTo>
                      <a:pt x="143" y="972"/>
                    </a:lnTo>
                    <a:lnTo>
                      <a:pt x="149" y="973"/>
                    </a:lnTo>
                    <a:lnTo>
                      <a:pt x="150" y="981"/>
                    </a:lnTo>
                    <a:lnTo>
                      <a:pt x="143" y="985"/>
                    </a:lnTo>
                    <a:lnTo>
                      <a:pt x="141" y="996"/>
                    </a:lnTo>
                    <a:lnTo>
                      <a:pt x="150" y="1000"/>
                    </a:lnTo>
                    <a:lnTo>
                      <a:pt x="162" y="994"/>
                    </a:lnTo>
                    <a:lnTo>
                      <a:pt x="171" y="991"/>
                    </a:lnTo>
                    <a:lnTo>
                      <a:pt x="176" y="978"/>
                    </a:lnTo>
                    <a:lnTo>
                      <a:pt x="183" y="969"/>
                    </a:lnTo>
                    <a:lnTo>
                      <a:pt x="185" y="982"/>
                    </a:lnTo>
                    <a:lnTo>
                      <a:pt x="183" y="994"/>
                    </a:lnTo>
                    <a:lnTo>
                      <a:pt x="188" y="1006"/>
                    </a:lnTo>
                    <a:lnTo>
                      <a:pt x="197" y="1014"/>
                    </a:lnTo>
                    <a:lnTo>
                      <a:pt x="192" y="1029"/>
                    </a:lnTo>
                    <a:lnTo>
                      <a:pt x="171" y="1039"/>
                    </a:lnTo>
                    <a:lnTo>
                      <a:pt x="171" y="1051"/>
                    </a:lnTo>
                    <a:lnTo>
                      <a:pt x="170" y="1062"/>
                    </a:lnTo>
                    <a:lnTo>
                      <a:pt x="164" y="1065"/>
                    </a:lnTo>
                    <a:lnTo>
                      <a:pt x="162" y="1071"/>
                    </a:lnTo>
                    <a:lnTo>
                      <a:pt x="153" y="1074"/>
                    </a:lnTo>
                    <a:lnTo>
                      <a:pt x="143" y="1077"/>
                    </a:lnTo>
                    <a:lnTo>
                      <a:pt x="137" y="1087"/>
                    </a:lnTo>
                    <a:lnTo>
                      <a:pt x="125" y="1087"/>
                    </a:lnTo>
                    <a:lnTo>
                      <a:pt x="126" y="1093"/>
                    </a:lnTo>
                    <a:lnTo>
                      <a:pt x="162" y="1095"/>
                    </a:lnTo>
                    <a:lnTo>
                      <a:pt x="161" y="1108"/>
                    </a:lnTo>
                    <a:lnTo>
                      <a:pt x="180" y="1108"/>
                    </a:lnTo>
                    <a:lnTo>
                      <a:pt x="180" y="1122"/>
                    </a:lnTo>
                    <a:lnTo>
                      <a:pt x="143" y="1125"/>
                    </a:lnTo>
                    <a:lnTo>
                      <a:pt x="141" y="1131"/>
                    </a:lnTo>
                    <a:lnTo>
                      <a:pt x="126" y="1143"/>
                    </a:lnTo>
                    <a:lnTo>
                      <a:pt x="134" y="1159"/>
                    </a:lnTo>
                    <a:lnTo>
                      <a:pt x="128" y="1189"/>
                    </a:lnTo>
                    <a:lnTo>
                      <a:pt x="141" y="1197"/>
                    </a:lnTo>
                    <a:lnTo>
                      <a:pt x="141" y="1209"/>
                    </a:lnTo>
                    <a:lnTo>
                      <a:pt x="140" y="1218"/>
                    </a:lnTo>
                    <a:lnTo>
                      <a:pt x="135" y="1228"/>
                    </a:lnTo>
                    <a:lnTo>
                      <a:pt x="141" y="1233"/>
                    </a:lnTo>
                    <a:lnTo>
                      <a:pt x="149" y="1228"/>
                    </a:lnTo>
                    <a:lnTo>
                      <a:pt x="150" y="1239"/>
                    </a:lnTo>
                    <a:lnTo>
                      <a:pt x="141" y="1240"/>
                    </a:lnTo>
                    <a:lnTo>
                      <a:pt x="147" y="1249"/>
                    </a:lnTo>
                    <a:lnTo>
                      <a:pt x="167" y="1224"/>
                    </a:lnTo>
                    <a:lnTo>
                      <a:pt x="185" y="1227"/>
                    </a:lnTo>
                    <a:lnTo>
                      <a:pt x="186" y="1210"/>
                    </a:lnTo>
                    <a:lnTo>
                      <a:pt x="191" y="1207"/>
                    </a:lnTo>
                    <a:lnTo>
                      <a:pt x="195" y="1203"/>
                    </a:lnTo>
                    <a:lnTo>
                      <a:pt x="213" y="1206"/>
                    </a:lnTo>
                    <a:lnTo>
                      <a:pt x="248" y="1173"/>
                    </a:lnTo>
                    <a:lnTo>
                      <a:pt x="254" y="1177"/>
                    </a:lnTo>
                    <a:lnTo>
                      <a:pt x="252" y="1188"/>
                    </a:lnTo>
                    <a:lnTo>
                      <a:pt x="255" y="1200"/>
                    </a:lnTo>
                    <a:lnTo>
                      <a:pt x="260" y="1198"/>
                    </a:lnTo>
                    <a:lnTo>
                      <a:pt x="278" y="1180"/>
                    </a:lnTo>
                    <a:lnTo>
                      <a:pt x="315" y="1173"/>
                    </a:lnTo>
                    <a:lnTo>
                      <a:pt x="323" y="1173"/>
                    </a:lnTo>
                    <a:lnTo>
                      <a:pt x="336" y="1159"/>
                    </a:lnTo>
                    <a:lnTo>
                      <a:pt x="353" y="1156"/>
                    </a:lnTo>
                    <a:lnTo>
                      <a:pt x="362" y="1155"/>
                    </a:lnTo>
                    <a:lnTo>
                      <a:pt x="375" y="1161"/>
                    </a:lnTo>
                    <a:lnTo>
                      <a:pt x="396" y="1168"/>
                    </a:lnTo>
                    <a:lnTo>
                      <a:pt x="407" y="1168"/>
                    </a:lnTo>
                    <a:lnTo>
                      <a:pt x="419" y="1161"/>
                    </a:lnTo>
                    <a:lnTo>
                      <a:pt x="429" y="1159"/>
                    </a:lnTo>
                    <a:lnTo>
                      <a:pt x="440" y="1168"/>
                    </a:lnTo>
                    <a:lnTo>
                      <a:pt x="452" y="1164"/>
                    </a:lnTo>
                    <a:lnTo>
                      <a:pt x="452" y="1158"/>
                    </a:lnTo>
                    <a:lnTo>
                      <a:pt x="470" y="1150"/>
                    </a:lnTo>
                    <a:lnTo>
                      <a:pt x="488" y="1150"/>
                    </a:lnTo>
                    <a:lnTo>
                      <a:pt x="497" y="1155"/>
                    </a:lnTo>
                    <a:lnTo>
                      <a:pt x="503" y="1140"/>
                    </a:lnTo>
                    <a:lnTo>
                      <a:pt x="509" y="1138"/>
                    </a:lnTo>
                    <a:lnTo>
                      <a:pt x="512" y="1122"/>
                    </a:lnTo>
                    <a:lnTo>
                      <a:pt x="518" y="1119"/>
                    </a:lnTo>
                    <a:lnTo>
                      <a:pt x="519" y="1114"/>
                    </a:lnTo>
                    <a:lnTo>
                      <a:pt x="519" y="1095"/>
                    </a:lnTo>
                    <a:lnTo>
                      <a:pt x="531" y="1090"/>
                    </a:lnTo>
                    <a:lnTo>
                      <a:pt x="543" y="1086"/>
                    </a:lnTo>
                    <a:lnTo>
                      <a:pt x="543" y="1077"/>
                    </a:lnTo>
                    <a:lnTo>
                      <a:pt x="554" y="1072"/>
                    </a:lnTo>
                    <a:lnTo>
                      <a:pt x="561" y="1072"/>
                    </a:lnTo>
                    <a:lnTo>
                      <a:pt x="575" y="1066"/>
                    </a:lnTo>
                    <a:lnTo>
                      <a:pt x="593" y="1066"/>
                    </a:lnTo>
                    <a:lnTo>
                      <a:pt x="608" y="1053"/>
                    </a:lnTo>
                    <a:lnTo>
                      <a:pt x="615" y="1048"/>
                    </a:lnTo>
                    <a:lnTo>
                      <a:pt x="624" y="1048"/>
                    </a:lnTo>
                    <a:lnTo>
                      <a:pt x="644" y="1041"/>
                    </a:lnTo>
                    <a:lnTo>
                      <a:pt x="642" y="1021"/>
                    </a:lnTo>
                    <a:lnTo>
                      <a:pt x="629" y="1014"/>
                    </a:lnTo>
                    <a:lnTo>
                      <a:pt x="641" y="1008"/>
                    </a:lnTo>
                    <a:lnTo>
                      <a:pt x="650" y="1009"/>
                    </a:lnTo>
                    <a:lnTo>
                      <a:pt x="654" y="1012"/>
                    </a:lnTo>
                    <a:lnTo>
                      <a:pt x="663" y="1011"/>
                    </a:lnTo>
                    <a:lnTo>
                      <a:pt x="666" y="1014"/>
                    </a:lnTo>
                    <a:lnTo>
                      <a:pt x="677" y="1012"/>
                    </a:lnTo>
                    <a:lnTo>
                      <a:pt x="686" y="1017"/>
                    </a:lnTo>
                    <a:lnTo>
                      <a:pt x="695" y="1018"/>
                    </a:lnTo>
                    <a:lnTo>
                      <a:pt x="705" y="1015"/>
                    </a:lnTo>
                    <a:lnTo>
                      <a:pt x="714" y="1026"/>
                    </a:lnTo>
                    <a:lnTo>
                      <a:pt x="719" y="1038"/>
                    </a:lnTo>
                    <a:lnTo>
                      <a:pt x="729" y="1042"/>
                    </a:lnTo>
                    <a:lnTo>
                      <a:pt x="729" y="1050"/>
                    </a:lnTo>
                    <a:lnTo>
                      <a:pt x="749" y="1056"/>
                    </a:lnTo>
                    <a:lnTo>
                      <a:pt x="819" y="1077"/>
                    </a:lnTo>
                    <a:lnTo>
                      <a:pt x="828" y="1044"/>
                    </a:lnTo>
                    <a:lnTo>
                      <a:pt x="825" y="1041"/>
                    </a:lnTo>
                    <a:lnTo>
                      <a:pt x="830" y="1029"/>
                    </a:lnTo>
                    <a:lnTo>
                      <a:pt x="840" y="1026"/>
                    </a:lnTo>
                    <a:lnTo>
                      <a:pt x="848" y="1008"/>
                    </a:lnTo>
                    <a:lnTo>
                      <a:pt x="849" y="999"/>
                    </a:lnTo>
                    <a:lnTo>
                      <a:pt x="848" y="990"/>
                    </a:lnTo>
                    <a:lnTo>
                      <a:pt x="846" y="984"/>
                    </a:lnTo>
                    <a:lnTo>
                      <a:pt x="855" y="984"/>
                    </a:lnTo>
                    <a:lnTo>
                      <a:pt x="870" y="969"/>
                    </a:lnTo>
                    <a:lnTo>
                      <a:pt x="863" y="958"/>
                    </a:lnTo>
                    <a:lnTo>
                      <a:pt x="866" y="946"/>
                    </a:lnTo>
                    <a:lnTo>
                      <a:pt x="873" y="946"/>
                    </a:lnTo>
                    <a:lnTo>
                      <a:pt x="878" y="936"/>
                    </a:lnTo>
                    <a:lnTo>
                      <a:pt x="888" y="906"/>
                    </a:lnTo>
                    <a:lnTo>
                      <a:pt x="887" y="897"/>
                    </a:lnTo>
                    <a:lnTo>
                      <a:pt x="890" y="886"/>
                    </a:lnTo>
                    <a:lnTo>
                      <a:pt x="891" y="876"/>
                    </a:lnTo>
                    <a:lnTo>
                      <a:pt x="894" y="861"/>
                    </a:lnTo>
                    <a:lnTo>
                      <a:pt x="899" y="858"/>
                    </a:lnTo>
                    <a:lnTo>
                      <a:pt x="917" y="852"/>
                    </a:lnTo>
                    <a:lnTo>
                      <a:pt x="918" y="835"/>
                    </a:lnTo>
                    <a:lnTo>
                      <a:pt x="932" y="831"/>
                    </a:lnTo>
                    <a:lnTo>
                      <a:pt x="944" y="834"/>
                    </a:lnTo>
                    <a:lnTo>
                      <a:pt x="957" y="835"/>
                    </a:lnTo>
                    <a:lnTo>
                      <a:pt x="966" y="837"/>
                    </a:lnTo>
                    <a:lnTo>
                      <a:pt x="978" y="835"/>
                    </a:lnTo>
                    <a:lnTo>
                      <a:pt x="987" y="828"/>
                    </a:lnTo>
                    <a:lnTo>
                      <a:pt x="996" y="828"/>
                    </a:lnTo>
                    <a:lnTo>
                      <a:pt x="1001" y="807"/>
                    </a:lnTo>
                    <a:lnTo>
                      <a:pt x="992" y="781"/>
                    </a:lnTo>
                    <a:lnTo>
                      <a:pt x="995" y="774"/>
                    </a:lnTo>
                    <a:lnTo>
                      <a:pt x="992" y="757"/>
                    </a:lnTo>
                    <a:lnTo>
                      <a:pt x="992" y="742"/>
                    </a:lnTo>
                    <a:lnTo>
                      <a:pt x="980" y="718"/>
                    </a:lnTo>
                    <a:lnTo>
                      <a:pt x="971" y="690"/>
                    </a:lnTo>
                    <a:lnTo>
                      <a:pt x="969" y="679"/>
                    </a:lnTo>
                    <a:lnTo>
                      <a:pt x="965" y="648"/>
                    </a:lnTo>
                    <a:lnTo>
                      <a:pt x="959" y="631"/>
                    </a:lnTo>
                    <a:lnTo>
                      <a:pt x="953" y="609"/>
                    </a:lnTo>
                    <a:lnTo>
                      <a:pt x="959" y="585"/>
                    </a:lnTo>
                    <a:lnTo>
                      <a:pt x="951" y="580"/>
                    </a:lnTo>
                    <a:lnTo>
                      <a:pt x="948" y="574"/>
                    </a:lnTo>
                    <a:lnTo>
                      <a:pt x="951" y="565"/>
                    </a:lnTo>
                    <a:lnTo>
                      <a:pt x="948" y="552"/>
                    </a:lnTo>
                    <a:lnTo>
                      <a:pt x="942" y="535"/>
                    </a:lnTo>
                    <a:lnTo>
                      <a:pt x="936" y="507"/>
                    </a:lnTo>
                    <a:lnTo>
                      <a:pt x="945" y="499"/>
                    </a:lnTo>
                    <a:lnTo>
                      <a:pt x="944" y="489"/>
                    </a:lnTo>
                    <a:lnTo>
                      <a:pt x="962" y="462"/>
                    </a:lnTo>
                    <a:lnTo>
                      <a:pt x="969" y="453"/>
                    </a:lnTo>
                    <a:lnTo>
                      <a:pt x="972" y="444"/>
                    </a:lnTo>
                    <a:lnTo>
                      <a:pt x="978" y="436"/>
                    </a:lnTo>
                    <a:lnTo>
                      <a:pt x="966" y="409"/>
                    </a:lnTo>
                    <a:lnTo>
                      <a:pt x="969" y="393"/>
                    </a:lnTo>
                    <a:lnTo>
                      <a:pt x="965" y="391"/>
                    </a:lnTo>
                    <a:lnTo>
                      <a:pt x="969" y="379"/>
                    </a:lnTo>
                    <a:lnTo>
                      <a:pt x="974" y="376"/>
                    </a:lnTo>
                    <a:lnTo>
                      <a:pt x="957" y="343"/>
                    </a:lnTo>
                    <a:lnTo>
                      <a:pt x="950" y="333"/>
                    </a:lnTo>
                    <a:lnTo>
                      <a:pt x="951" y="325"/>
                    </a:lnTo>
                    <a:lnTo>
                      <a:pt x="950" y="319"/>
                    </a:lnTo>
                    <a:lnTo>
                      <a:pt x="951" y="306"/>
                    </a:lnTo>
                    <a:lnTo>
                      <a:pt x="963" y="297"/>
                    </a:lnTo>
                    <a:lnTo>
                      <a:pt x="963" y="285"/>
                    </a:lnTo>
                    <a:lnTo>
                      <a:pt x="966" y="276"/>
                    </a:lnTo>
                    <a:lnTo>
                      <a:pt x="957" y="274"/>
                    </a:lnTo>
                    <a:lnTo>
                      <a:pt x="957" y="262"/>
                    </a:lnTo>
                    <a:lnTo>
                      <a:pt x="953" y="258"/>
                    </a:lnTo>
                    <a:lnTo>
                      <a:pt x="960" y="255"/>
                    </a:lnTo>
                    <a:lnTo>
                      <a:pt x="954" y="250"/>
                    </a:lnTo>
                    <a:lnTo>
                      <a:pt x="954" y="238"/>
                    </a:lnTo>
                    <a:lnTo>
                      <a:pt x="962" y="234"/>
                    </a:lnTo>
                    <a:lnTo>
                      <a:pt x="957" y="228"/>
                    </a:lnTo>
                    <a:lnTo>
                      <a:pt x="935" y="225"/>
                    </a:lnTo>
                    <a:lnTo>
                      <a:pt x="926" y="216"/>
                    </a:lnTo>
                    <a:lnTo>
                      <a:pt x="899" y="219"/>
                    </a:lnTo>
                    <a:lnTo>
                      <a:pt x="887" y="210"/>
                    </a:lnTo>
                    <a:lnTo>
                      <a:pt x="884" y="202"/>
                    </a:lnTo>
                    <a:lnTo>
                      <a:pt x="869" y="205"/>
                    </a:lnTo>
                    <a:lnTo>
                      <a:pt x="864" y="205"/>
                    </a:lnTo>
                    <a:lnTo>
                      <a:pt x="854" y="192"/>
                    </a:lnTo>
                    <a:lnTo>
                      <a:pt x="830" y="195"/>
                    </a:lnTo>
                    <a:lnTo>
                      <a:pt x="819" y="189"/>
                    </a:lnTo>
                    <a:lnTo>
                      <a:pt x="801" y="199"/>
                    </a:lnTo>
                    <a:lnTo>
                      <a:pt x="803" y="211"/>
                    </a:lnTo>
                    <a:lnTo>
                      <a:pt x="795" y="228"/>
                    </a:lnTo>
                    <a:lnTo>
                      <a:pt x="791" y="229"/>
                    </a:lnTo>
                    <a:lnTo>
                      <a:pt x="783" y="232"/>
                    </a:lnTo>
                    <a:lnTo>
                      <a:pt x="779" y="238"/>
                    </a:lnTo>
                    <a:lnTo>
                      <a:pt x="767" y="243"/>
                    </a:lnTo>
                    <a:lnTo>
                      <a:pt x="765" y="240"/>
                    </a:lnTo>
                    <a:lnTo>
                      <a:pt x="761" y="241"/>
                    </a:lnTo>
                    <a:lnTo>
                      <a:pt x="756" y="243"/>
                    </a:lnTo>
                    <a:lnTo>
                      <a:pt x="752" y="252"/>
                    </a:lnTo>
                    <a:lnTo>
                      <a:pt x="746" y="250"/>
                    </a:lnTo>
                    <a:lnTo>
                      <a:pt x="740" y="259"/>
                    </a:lnTo>
                    <a:lnTo>
                      <a:pt x="743" y="270"/>
                    </a:lnTo>
                    <a:lnTo>
                      <a:pt x="729" y="277"/>
                    </a:lnTo>
                    <a:lnTo>
                      <a:pt x="720" y="285"/>
                    </a:lnTo>
                    <a:lnTo>
                      <a:pt x="716" y="288"/>
                    </a:lnTo>
                    <a:lnTo>
                      <a:pt x="702" y="285"/>
                    </a:lnTo>
                    <a:lnTo>
                      <a:pt x="678" y="285"/>
                    </a:lnTo>
                    <a:lnTo>
                      <a:pt x="669" y="273"/>
                    </a:lnTo>
                    <a:lnTo>
                      <a:pt x="671" y="267"/>
                    </a:lnTo>
                    <a:lnTo>
                      <a:pt x="663" y="256"/>
                    </a:lnTo>
                    <a:lnTo>
                      <a:pt x="654" y="259"/>
                    </a:lnTo>
                    <a:lnTo>
                      <a:pt x="645" y="255"/>
                    </a:lnTo>
                    <a:lnTo>
                      <a:pt x="639" y="258"/>
                    </a:lnTo>
                    <a:lnTo>
                      <a:pt x="630" y="252"/>
                    </a:lnTo>
                    <a:lnTo>
                      <a:pt x="626" y="231"/>
                    </a:lnTo>
                    <a:lnTo>
                      <a:pt x="609" y="207"/>
                    </a:lnTo>
                    <a:lnTo>
                      <a:pt x="608" y="196"/>
                    </a:lnTo>
                    <a:lnTo>
                      <a:pt x="597" y="190"/>
                    </a:lnTo>
                    <a:lnTo>
                      <a:pt x="594" y="181"/>
                    </a:lnTo>
                    <a:lnTo>
                      <a:pt x="599" y="178"/>
                    </a:lnTo>
                    <a:lnTo>
                      <a:pt x="597" y="171"/>
                    </a:lnTo>
                    <a:lnTo>
                      <a:pt x="603" y="166"/>
                    </a:lnTo>
                    <a:lnTo>
                      <a:pt x="597" y="156"/>
                    </a:lnTo>
                    <a:lnTo>
                      <a:pt x="599" y="148"/>
                    </a:lnTo>
                    <a:lnTo>
                      <a:pt x="587" y="150"/>
                    </a:lnTo>
                    <a:lnTo>
                      <a:pt x="585" y="139"/>
                    </a:lnTo>
                    <a:lnTo>
                      <a:pt x="591" y="127"/>
                    </a:lnTo>
                    <a:lnTo>
                      <a:pt x="585" y="126"/>
                    </a:lnTo>
                    <a:lnTo>
                      <a:pt x="584" y="118"/>
                    </a:lnTo>
                    <a:lnTo>
                      <a:pt x="576" y="114"/>
                    </a:lnTo>
                    <a:lnTo>
                      <a:pt x="570" y="109"/>
                    </a:lnTo>
                    <a:lnTo>
                      <a:pt x="567" y="102"/>
                    </a:lnTo>
                    <a:lnTo>
                      <a:pt x="563" y="96"/>
                    </a:lnTo>
                    <a:lnTo>
                      <a:pt x="564" y="82"/>
                    </a:lnTo>
                    <a:lnTo>
                      <a:pt x="554" y="85"/>
                    </a:lnTo>
                    <a:lnTo>
                      <a:pt x="548" y="82"/>
                    </a:lnTo>
                    <a:lnTo>
                      <a:pt x="543" y="88"/>
                    </a:lnTo>
                    <a:lnTo>
                      <a:pt x="537" y="87"/>
                    </a:lnTo>
                    <a:lnTo>
                      <a:pt x="537" y="91"/>
                    </a:lnTo>
                    <a:lnTo>
                      <a:pt x="516" y="105"/>
                    </a:lnTo>
                    <a:lnTo>
                      <a:pt x="485" y="114"/>
                    </a:lnTo>
                    <a:lnTo>
                      <a:pt x="446" y="117"/>
                    </a:lnTo>
                    <a:lnTo>
                      <a:pt x="434" y="117"/>
                    </a:lnTo>
                    <a:lnTo>
                      <a:pt x="414" y="120"/>
                    </a:lnTo>
                    <a:lnTo>
                      <a:pt x="411" y="112"/>
                    </a:lnTo>
                    <a:lnTo>
                      <a:pt x="407" y="121"/>
                    </a:lnTo>
                    <a:lnTo>
                      <a:pt x="392" y="118"/>
                    </a:lnTo>
                    <a:close/>
                  </a:path>
                </a:pathLst>
              </a:custGeom>
              <a:no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8" name="Freeform 262">
                <a:extLst>
                  <a:ext uri="{FF2B5EF4-FFF2-40B4-BE49-F238E27FC236}">
                    <a16:creationId xmlns:a16="http://schemas.microsoft.com/office/drawing/2014/main" id="{2E17A90F-FDD0-C7E6-8510-328EAC3EEF2F}"/>
                  </a:ext>
                </a:extLst>
              </p:cNvPr>
              <p:cNvSpPr>
                <a:spLocks/>
              </p:cNvSpPr>
              <p:nvPr/>
            </p:nvSpPr>
            <p:spPr bwMode="auto">
              <a:xfrm>
                <a:off x="1996" y="1442"/>
                <a:ext cx="448" cy="296"/>
              </a:xfrm>
              <a:custGeom>
                <a:avLst/>
                <a:gdLst>
                  <a:gd name="T0" fmla="*/ 0 w 1343"/>
                  <a:gd name="T1" fmla="*/ 0 h 889"/>
                  <a:gd name="T2" fmla="*/ 0 w 1343"/>
                  <a:gd name="T3" fmla="*/ 0 h 889"/>
                  <a:gd name="T4" fmla="*/ 0 w 1343"/>
                  <a:gd name="T5" fmla="*/ 0 h 889"/>
                  <a:gd name="T6" fmla="*/ 0 w 1343"/>
                  <a:gd name="T7" fmla="*/ 0 h 889"/>
                  <a:gd name="T8" fmla="*/ 0 w 1343"/>
                  <a:gd name="T9" fmla="*/ 0 h 889"/>
                  <a:gd name="T10" fmla="*/ 0 w 1343"/>
                  <a:gd name="T11" fmla="*/ 0 h 889"/>
                  <a:gd name="T12" fmla="*/ 0 w 1343"/>
                  <a:gd name="T13" fmla="*/ 0 h 889"/>
                  <a:gd name="T14" fmla="*/ 0 w 1343"/>
                  <a:gd name="T15" fmla="*/ 0 h 889"/>
                  <a:gd name="T16" fmla="*/ 0 w 1343"/>
                  <a:gd name="T17" fmla="*/ 0 h 889"/>
                  <a:gd name="T18" fmla="*/ 0 w 1343"/>
                  <a:gd name="T19" fmla="*/ 0 h 889"/>
                  <a:gd name="T20" fmla="*/ 0 w 1343"/>
                  <a:gd name="T21" fmla="*/ 0 h 889"/>
                  <a:gd name="T22" fmla="*/ 0 w 1343"/>
                  <a:gd name="T23" fmla="*/ 0 h 889"/>
                  <a:gd name="T24" fmla="*/ 0 w 1343"/>
                  <a:gd name="T25" fmla="*/ 0 h 889"/>
                  <a:gd name="T26" fmla="*/ 0 w 1343"/>
                  <a:gd name="T27" fmla="*/ 0 h 889"/>
                  <a:gd name="T28" fmla="*/ 0 w 1343"/>
                  <a:gd name="T29" fmla="*/ 0 h 889"/>
                  <a:gd name="T30" fmla="*/ 0 w 1343"/>
                  <a:gd name="T31" fmla="*/ 0 h 889"/>
                  <a:gd name="T32" fmla="*/ 0 w 1343"/>
                  <a:gd name="T33" fmla="*/ 0 h 889"/>
                  <a:gd name="T34" fmla="*/ 0 w 1343"/>
                  <a:gd name="T35" fmla="*/ 0 h 889"/>
                  <a:gd name="T36" fmla="*/ 0 w 1343"/>
                  <a:gd name="T37" fmla="*/ 0 h 889"/>
                  <a:gd name="T38" fmla="*/ 0 w 1343"/>
                  <a:gd name="T39" fmla="*/ 0 h 889"/>
                  <a:gd name="T40" fmla="*/ 0 w 1343"/>
                  <a:gd name="T41" fmla="*/ 0 h 889"/>
                  <a:gd name="T42" fmla="*/ 0 w 1343"/>
                  <a:gd name="T43" fmla="*/ 0 h 889"/>
                  <a:gd name="T44" fmla="*/ 0 w 1343"/>
                  <a:gd name="T45" fmla="*/ 0 h 889"/>
                  <a:gd name="T46" fmla="*/ 0 w 1343"/>
                  <a:gd name="T47" fmla="*/ 0 h 889"/>
                  <a:gd name="T48" fmla="*/ 0 w 1343"/>
                  <a:gd name="T49" fmla="*/ 0 h 889"/>
                  <a:gd name="T50" fmla="*/ 0 w 1343"/>
                  <a:gd name="T51" fmla="*/ 0 h 889"/>
                  <a:gd name="T52" fmla="*/ 0 w 1343"/>
                  <a:gd name="T53" fmla="*/ 0 h 889"/>
                  <a:gd name="T54" fmla="*/ 0 w 1343"/>
                  <a:gd name="T55" fmla="*/ 0 h 889"/>
                  <a:gd name="T56" fmla="*/ 0 w 1343"/>
                  <a:gd name="T57" fmla="*/ 0 h 889"/>
                  <a:gd name="T58" fmla="*/ 0 w 1343"/>
                  <a:gd name="T59" fmla="*/ 0 h 889"/>
                  <a:gd name="T60" fmla="*/ 0 w 1343"/>
                  <a:gd name="T61" fmla="*/ 0 h 889"/>
                  <a:gd name="T62" fmla="*/ 0 w 1343"/>
                  <a:gd name="T63" fmla="*/ 0 h 889"/>
                  <a:gd name="T64" fmla="*/ 0 w 1343"/>
                  <a:gd name="T65" fmla="*/ 0 h 889"/>
                  <a:gd name="T66" fmla="*/ 0 w 1343"/>
                  <a:gd name="T67" fmla="*/ 0 h 889"/>
                  <a:gd name="T68" fmla="*/ 0 w 1343"/>
                  <a:gd name="T69" fmla="*/ 0 h 889"/>
                  <a:gd name="T70" fmla="*/ 0 w 1343"/>
                  <a:gd name="T71" fmla="*/ 0 h 889"/>
                  <a:gd name="T72" fmla="*/ 0 w 1343"/>
                  <a:gd name="T73" fmla="*/ 0 h 889"/>
                  <a:gd name="T74" fmla="*/ 0 w 1343"/>
                  <a:gd name="T75" fmla="*/ 0 h 889"/>
                  <a:gd name="T76" fmla="*/ 0 w 1343"/>
                  <a:gd name="T77" fmla="*/ 0 h 889"/>
                  <a:gd name="T78" fmla="*/ 0 w 1343"/>
                  <a:gd name="T79" fmla="*/ 0 h 889"/>
                  <a:gd name="T80" fmla="*/ 0 w 1343"/>
                  <a:gd name="T81" fmla="*/ 0 h 889"/>
                  <a:gd name="T82" fmla="*/ 0 w 1343"/>
                  <a:gd name="T83" fmla="*/ 0 h 889"/>
                  <a:gd name="T84" fmla="*/ 0 w 1343"/>
                  <a:gd name="T85" fmla="*/ 0 h 889"/>
                  <a:gd name="T86" fmla="*/ 0 w 1343"/>
                  <a:gd name="T87" fmla="*/ 0 h 889"/>
                  <a:gd name="T88" fmla="*/ 0 w 1343"/>
                  <a:gd name="T89" fmla="*/ 0 h 889"/>
                  <a:gd name="T90" fmla="*/ 0 w 1343"/>
                  <a:gd name="T91" fmla="*/ 0 h 889"/>
                  <a:gd name="T92" fmla="*/ 0 w 1343"/>
                  <a:gd name="T93" fmla="*/ 0 h 889"/>
                  <a:gd name="T94" fmla="*/ 0 w 1343"/>
                  <a:gd name="T95" fmla="*/ 0 h 889"/>
                  <a:gd name="T96" fmla="*/ 0 w 1343"/>
                  <a:gd name="T97" fmla="*/ 0 h 889"/>
                  <a:gd name="T98" fmla="*/ 0 w 1343"/>
                  <a:gd name="T99" fmla="*/ 0 h 889"/>
                  <a:gd name="T100" fmla="*/ 0 w 1343"/>
                  <a:gd name="T101" fmla="*/ 0 h 889"/>
                  <a:gd name="T102" fmla="*/ 0 w 1343"/>
                  <a:gd name="T103" fmla="*/ 0 h 889"/>
                  <a:gd name="T104" fmla="*/ 0 w 1343"/>
                  <a:gd name="T105" fmla="*/ 0 h 889"/>
                  <a:gd name="T106" fmla="*/ 0 w 1343"/>
                  <a:gd name="T107" fmla="*/ 0 h 889"/>
                  <a:gd name="T108" fmla="*/ 0 w 1343"/>
                  <a:gd name="T109" fmla="*/ 0 h 889"/>
                  <a:gd name="T110" fmla="*/ 0 w 1343"/>
                  <a:gd name="T111" fmla="*/ 0 h 889"/>
                  <a:gd name="T112" fmla="*/ 0 w 1343"/>
                  <a:gd name="T113" fmla="*/ 0 h 889"/>
                  <a:gd name="T114" fmla="*/ 0 w 1343"/>
                  <a:gd name="T115" fmla="*/ 0 h 889"/>
                  <a:gd name="T116" fmla="*/ 0 w 1343"/>
                  <a:gd name="T117" fmla="*/ 0 h 889"/>
                  <a:gd name="T118" fmla="*/ 0 w 1343"/>
                  <a:gd name="T119" fmla="*/ 0 h 889"/>
                  <a:gd name="T120" fmla="*/ 0 w 1343"/>
                  <a:gd name="T121" fmla="*/ 0 h 8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343" h="889">
                    <a:moveTo>
                      <a:pt x="629" y="675"/>
                    </a:moveTo>
                    <a:lnTo>
                      <a:pt x="623" y="681"/>
                    </a:lnTo>
                    <a:lnTo>
                      <a:pt x="623" y="699"/>
                    </a:lnTo>
                    <a:lnTo>
                      <a:pt x="630" y="723"/>
                    </a:lnTo>
                    <a:lnTo>
                      <a:pt x="635" y="723"/>
                    </a:lnTo>
                    <a:lnTo>
                      <a:pt x="630" y="712"/>
                    </a:lnTo>
                    <a:lnTo>
                      <a:pt x="635" y="699"/>
                    </a:lnTo>
                    <a:lnTo>
                      <a:pt x="641" y="699"/>
                    </a:lnTo>
                    <a:lnTo>
                      <a:pt x="638" y="705"/>
                    </a:lnTo>
                    <a:lnTo>
                      <a:pt x="639" y="715"/>
                    </a:lnTo>
                    <a:lnTo>
                      <a:pt x="647" y="709"/>
                    </a:lnTo>
                    <a:lnTo>
                      <a:pt x="648" y="711"/>
                    </a:lnTo>
                    <a:lnTo>
                      <a:pt x="639" y="721"/>
                    </a:lnTo>
                    <a:lnTo>
                      <a:pt x="644" y="726"/>
                    </a:lnTo>
                    <a:lnTo>
                      <a:pt x="650" y="718"/>
                    </a:lnTo>
                    <a:lnTo>
                      <a:pt x="654" y="720"/>
                    </a:lnTo>
                    <a:lnTo>
                      <a:pt x="654" y="727"/>
                    </a:lnTo>
                    <a:lnTo>
                      <a:pt x="662" y="724"/>
                    </a:lnTo>
                    <a:lnTo>
                      <a:pt x="668" y="729"/>
                    </a:lnTo>
                    <a:lnTo>
                      <a:pt x="668" y="735"/>
                    </a:lnTo>
                    <a:lnTo>
                      <a:pt x="674" y="729"/>
                    </a:lnTo>
                    <a:lnTo>
                      <a:pt x="668" y="724"/>
                    </a:lnTo>
                    <a:lnTo>
                      <a:pt x="669" y="703"/>
                    </a:lnTo>
                    <a:lnTo>
                      <a:pt x="689" y="711"/>
                    </a:lnTo>
                    <a:lnTo>
                      <a:pt x="690" y="703"/>
                    </a:lnTo>
                    <a:lnTo>
                      <a:pt x="686" y="699"/>
                    </a:lnTo>
                    <a:lnTo>
                      <a:pt x="692" y="693"/>
                    </a:lnTo>
                    <a:lnTo>
                      <a:pt x="692" y="688"/>
                    </a:lnTo>
                    <a:lnTo>
                      <a:pt x="686" y="688"/>
                    </a:lnTo>
                    <a:lnTo>
                      <a:pt x="681" y="681"/>
                    </a:lnTo>
                    <a:lnTo>
                      <a:pt x="684" y="679"/>
                    </a:lnTo>
                    <a:lnTo>
                      <a:pt x="687" y="685"/>
                    </a:lnTo>
                    <a:lnTo>
                      <a:pt x="695" y="682"/>
                    </a:lnTo>
                    <a:lnTo>
                      <a:pt x="704" y="688"/>
                    </a:lnTo>
                    <a:lnTo>
                      <a:pt x="714" y="685"/>
                    </a:lnTo>
                    <a:lnTo>
                      <a:pt x="713" y="690"/>
                    </a:lnTo>
                    <a:lnTo>
                      <a:pt x="728" y="681"/>
                    </a:lnTo>
                    <a:lnTo>
                      <a:pt x="738" y="688"/>
                    </a:lnTo>
                    <a:lnTo>
                      <a:pt x="755" y="681"/>
                    </a:lnTo>
                    <a:lnTo>
                      <a:pt x="753" y="673"/>
                    </a:lnTo>
                    <a:lnTo>
                      <a:pt x="758" y="673"/>
                    </a:lnTo>
                    <a:lnTo>
                      <a:pt x="758" y="669"/>
                    </a:lnTo>
                    <a:lnTo>
                      <a:pt x="770" y="670"/>
                    </a:lnTo>
                    <a:lnTo>
                      <a:pt x="771" y="655"/>
                    </a:lnTo>
                    <a:lnTo>
                      <a:pt x="776" y="657"/>
                    </a:lnTo>
                    <a:lnTo>
                      <a:pt x="774" y="672"/>
                    </a:lnTo>
                    <a:lnTo>
                      <a:pt x="780" y="681"/>
                    </a:lnTo>
                    <a:lnTo>
                      <a:pt x="780" y="670"/>
                    </a:lnTo>
                    <a:lnTo>
                      <a:pt x="791" y="676"/>
                    </a:lnTo>
                    <a:lnTo>
                      <a:pt x="785" y="679"/>
                    </a:lnTo>
                    <a:lnTo>
                      <a:pt x="789" y="688"/>
                    </a:lnTo>
                    <a:lnTo>
                      <a:pt x="759" y="679"/>
                    </a:lnTo>
                    <a:lnTo>
                      <a:pt x="759" y="682"/>
                    </a:lnTo>
                    <a:lnTo>
                      <a:pt x="792" y="705"/>
                    </a:lnTo>
                    <a:lnTo>
                      <a:pt x="803" y="703"/>
                    </a:lnTo>
                    <a:lnTo>
                      <a:pt x="801" y="712"/>
                    </a:lnTo>
                    <a:lnTo>
                      <a:pt x="794" y="714"/>
                    </a:lnTo>
                    <a:lnTo>
                      <a:pt x="803" y="718"/>
                    </a:lnTo>
                    <a:lnTo>
                      <a:pt x="806" y="738"/>
                    </a:lnTo>
                    <a:lnTo>
                      <a:pt x="798" y="747"/>
                    </a:lnTo>
                    <a:lnTo>
                      <a:pt x="791" y="759"/>
                    </a:lnTo>
                    <a:lnTo>
                      <a:pt x="794" y="766"/>
                    </a:lnTo>
                    <a:lnTo>
                      <a:pt x="795" y="772"/>
                    </a:lnTo>
                    <a:lnTo>
                      <a:pt x="785" y="771"/>
                    </a:lnTo>
                    <a:lnTo>
                      <a:pt x="771" y="781"/>
                    </a:lnTo>
                    <a:lnTo>
                      <a:pt x="765" y="771"/>
                    </a:lnTo>
                    <a:lnTo>
                      <a:pt x="758" y="775"/>
                    </a:lnTo>
                    <a:lnTo>
                      <a:pt x="759" y="768"/>
                    </a:lnTo>
                    <a:lnTo>
                      <a:pt x="752" y="763"/>
                    </a:lnTo>
                    <a:lnTo>
                      <a:pt x="741" y="768"/>
                    </a:lnTo>
                    <a:lnTo>
                      <a:pt x="741" y="777"/>
                    </a:lnTo>
                    <a:lnTo>
                      <a:pt x="737" y="775"/>
                    </a:lnTo>
                    <a:lnTo>
                      <a:pt x="734" y="759"/>
                    </a:lnTo>
                    <a:lnTo>
                      <a:pt x="720" y="757"/>
                    </a:lnTo>
                    <a:lnTo>
                      <a:pt x="725" y="768"/>
                    </a:lnTo>
                    <a:lnTo>
                      <a:pt x="719" y="780"/>
                    </a:lnTo>
                    <a:lnTo>
                      <a:pt x="719" y="768"/>
                    </a:lnTo>
                    <a:lnTo>
                      <a:pt x="710" y="771"/>
                    </a:lnTo>
                    <a:lnTo>
                      <a:pt x="702" y="769"/>
                    </a:lnTo>
                    <a:lnTo>
                      <a:pt x="702" y="780"/>
                    </a:lnTo>
                    <a:lnTo>
                      <a:pt x="692" y="777"/>
                    </a:lnTo>
                    <a:lnTo>
                      <a:pt x="692" y="774"/>
                    </a:lnTo>
                    <a:lnTo>
                      <a:pt x="696" y="771"/>
                    </a:lnTo>
                    <a:lnTo>
                      <a:pt x="689" y="760"/>
                    </a:lnTo>
                    <a:lnTo>
                      <a:pt x="681" y="765"/>
                    </a:lnTo>
                    <a:lnTo>
                      <a:pt x="684" y="756"/>
                    </a:lnTo>
                    <a:lnTo>
                      <a:pt x="678" y="759"/>
                    </a:lnTo>
                    <a:lnTo>
                      <a:pt x="677" y="748"/>
                    </a:lnTo>
                    <a:lnTo>
                      <a:pt x="675" y="759"/>
                    </a:lnTo>
                    <a:lnTo>
                      <a:pt x="666" y="751"/>
                    </a:lnTo>
                    <a:lnTo>
                      <a:pt x="665" y="757"/>
                    </a:lnTo>
                    <a:lnTo>
                      <a:pt x="660" y="750"/>
                    </a:lnTo>
                    <a:lnTo>
                      <a:pt x="657" y="754"/>
                    </a:lnTo>
                    <a:lnTo>
                      <a:pt x="657" y="751"/>
                    </a:lnTo>
                    <a:lnTo>
                      <a:pt x="650" y="757"/>
                    </a:lnTo>
                    <a:lnTo>
                      <a:pt x="654" y="766"/>
                    </a:lnTo>
                    <a:lnTo>
                      <a:pt x="645" y="766"/>
                    </a:lnTo>
                    <a:lnTo>
                      <a:pt x="654" y="774"/>
                    </a:lnTo>
                    <a:lnTo>
                      <a:pt x="665" y="774"/>
                    </a:lnTo>
                    <a:lnTo>
                      <a:pt x="657" y="781"/>
                    </a:lnTo>
                    <a:lnTo>
                      <a:pt x="662" y="783"/>
                    </a:lnTo>
                    <a:lnTo>
                      <a:pt x="663" y="780"/>
                    </a:lnTo>
                    <a:lnTo>
                      <a:pt x="671" y="778"/>
                    </a:lnTo>
                    <a:lnTo>
                      <a:pt x="686" y="787"/>
                    </a:lnTo>
                    <a:lnTo>
                      <a:pt x="701" y="804"/>
                    </a:lnTo>
                    <a:lnTo>
                      <a:pt x="701" y="823"/>
                    </a:lnTo>
                    <a:lnTo>
                      <a:pt x="729" y="838"/>
                    </a:lnTo>
                    <a:lnTo>
                      <a:pt x="737" y="837"/>
                    </a:lnTo>
                    <a:lnTo>
                      <a:pt x="744" y="841"/>
                    </a:lnTo>
                    <a:lnTo>
                      <a:pt x="755" y="828"/>
                    </a:lnTo>
                    <a:lnTo>
                      <a:pt x="788" y="823"/>
                    </a:lnTo>
                    <a:lnTo>
                      <a:pt x="791" y="817"/>
                    </a:lnTo>
                    <a:lnTo>
                      <a:pt x="803" y="816"/>
                    </a:lnTo>
                    <a:lnTo>
                      <a:pt x="830" y="825"/>
                    </a:lnTo>
                    <a:lnTo>
                      <a:pt x="833" y="832"/>
                    </a:lnTo>
                    <a:lnTo>
                      <a:pt x="837" y="829"/>
                    </a:lnTo>
                    <a:lnTo>
                      <a:pt x="833" y="826"/>
                    </a:lnTo>
                    <a:lnTo>
                      <a:pt x="846" y="813"/>
                    </a:lnTo>
                    <a:lnTo>
                      <a:pt x="843" y="805"/>
                    </a:lnTo>
                    <a:lnTo>
                      <a:pt x="846" y="801"/>
                    </a:lnTo>
                    <a:lnTo>
                      <a:pt x="834" y="790"/>
                    </a:lnTo>
                    <a:lnTo>
                      <a:pt x="836" y="789"/>
                    </a:lnTo>
                    <a:lnTo>
                      <a:pt x="848" y="796"/>
                    </a:lnTo>
                    <a:lnTo>
                      <a:pt x="852" y="802"/>
                    </a:lnTo>
                    <a:lnTo>
                      <a:pt x="863" y="804"/>
                    </a:lnTo>
                    <a:lnTo>
                      <a:pt x="872" y="811"/>
                    </a:lnTo>
                    <a:lnTo>
                      <a:pt x="881" y="814"/>
                    </a:lnTo>
                    <a:lnTo>
                      <a:pt x="890" y="813"/>
                    </a:lnTo>
                    <a:lnTo>
                      <a:pt x="894" y="813"/>
                    </a:lnTo>
                    <a:lnTo>
                      <a:pt x="891" y="810"/>
                    </a:lnTo>
                    <a:lnTo>
                      <a:pt x="894" y="804"/>
                    </a:lnTo>
                    <a:lnTo>
                      <a:pt x="911" y="801"/>
                    </a:lnTo>
                    <a:lnTo>
                      <a:pt x="936" y="810"/>
                    </a:lnTo>
                    <a:lnTo>
                      <a:pt x="944" y="795"/>
                    </a:lnTo>
                    <a:lnTo>
                      <a:pt x="950" y="792"/>
                    </a:lnTo>
                    <a:lnTo>
                      <a:pt x="972" y="793"/>
                    </a:lnTo>
                    <a:lnTo>
                      <a:pt x="975" y="804"/>
                    </a:lnTo>
                    <a:lnTo>
                      <a:pt x="1005" y="808"/>
                    </a:lnTo>
                    <a:lnTo>
                      <a:pt x="1023" y="822"/>
                    </a:lnTo>
                    <a:lnTo>
                      <a:pt x="1028" y="822"/>
                    </a:lnTo>
                    <a:lnTo>
                      <a:pt x="1047" y="823"/>
                    </a:lnTo>
                    <a:lnTo>
                      <a:pt x="1062" y="813"/>
                    </a:lnTo>
                    <a:lnTo>
                      <a:pt x="1074" y="820"/>
                    </a:lnTo>
                    <a:lnTo>
                      <a:pt x="1088" y="810"/>
                    </a:lnTo>
                    <a:lnTo>
                      <a:pt x="1100" y="802"/>
                    </a:lnTo>
                    <a:lnTo>
                      <a:pt x="1113" y="807"/>
                    </a:lnTo>
                    <a:lnTo>
                      <a:pt x="1124" y="802"/>
                    </a:lnTo>
                    <a:lnTo>
                      <a:pt x="1131" y="793"/>
                    </a:lnTo>
                    <a:lnTo>
                      <a:pt x="1131" y="783"/>
                    </a:lnTo>
                    <a:lnTo>
                      <a:pt x="1128" y="771"/>
                    </a:lnTo>
                    <a:lnTo>
                      <a:pt x="1130" y="760"/>
                    </a:lnTo>
                    <a:lnTo>
                      <a:pt x="1136" y="751"/>
                    </a:lnTo>
                    <a:lnTo>
                      <a:pt x="1149" y="750"/>
                    </a:lnTo>
                    <a:lnTo>
                      <a:pt x="1146" y="735"/>
                    </a:lnTo>
                    <a:lnTo>
                      <a:pt x="1149" y="730"/>
                    </a:lnTo>
                    <a:lnTo>
                      <a:pt x="1167" y="730"/>
                    </a:lnTo>
                    <a:lnTo>
                      <a:pt x="1179" y="729"/>
                    </a:lnTo>
                    <a:lnTo>
                      <a:pt x="1187" y="723"/>
                    </a:lnTo>
                    <a:lnTo>
                      <a:pt x="1202" y="720"/>
                    </a:lnTo>
                    <a:lnTo>
                      <a:pt x="1194" y="724"/>
                    </a:lnTo>
                    <a:lnTo>
                      <a:pt x="1184" y="733"/>
                    </a:lnTo>
                    <a:lnTo>
                      <a:pt x="1175" y="732"/>
                    </a:lnTo>
                    <a:lnTo>
                      <a:pt x="1164" y="732"/>
                    </a:lnTo>
                    <a:lnTo>
                      <a:pt x="1151" y="736"/>
                    </a:lnTo>
                    <a:lnTo>
                      <a:pt x="1155" y="742"/>
                    </a:lnTo>
                    <a:lnTo>
                      <a:pt x="1154" y="754"/>
                    </a:lnTo>
                    <a:lnTo>
                      <a:pt x="1143" y="756"/>
                    </a:lnTo>
                    <a:lnTo>
                      <a:pt x="1133" y="766"/>
                    </a:lnTo>
                    <a:lnTo>
                      <a:pt x="1133" y="771"/>
                    </a:lnTo>
                    <a:lnTo>
                      <a:pt x="1139" y="786"/>
                    </a:lnTo>
                    <a:lnTo>
                      <a:pt x="1136" y="790"/>
                    </a:lnTo>
                    <a:lnTo>
                      <a:pt x="1133" y="801"/>
                    </a:lnTo>
                    <a:lnTo>
                      <a:pt x="1116" y="810"/>
                    </a:lnTo>
                    <a:lnTo>
                      <a:pt x="1107" y="810"/>
                    </a:lnTo>
                    <a:lnTo>
                      <a:pt x="1101" y="807"/>
                    </a:lnTo>
                    <a:lnTo>
                      <a:pt x="1094" y="808"/>
                    </a:lnTo>
                    <a:lnTo>
                      <a:pt x="1085" y="819"/>
                    </a:lnTo>
                    <a:lnTo>
                      <a:pt x="1079" y="826"/>
                    </a:lnTo>
                    <a:lnTo>
                      <a:pt x="1073" y="828"/>
                    </a:lnTo>
                    <a:lnTo>
                      <a:pt x="1062" y="819"/>
                    </a:lnTo>
                    <a:lnTo>
                      <a:pt x="1050" y="829"/>
                    </a:lnTo>
                    <a:lnTo>
                      <a:pt x="1038" y="828"/>
                    </a:lnTo>
                    <a:lnTo>
                      <a:pt x="1022" y="826"/>
                    </a:lnTo>
                    <a:lnTo>
                      <a:pt x="1004" y="837"/>
                    </a:lnTo>
                    <a:lnTo>
                      <a:pt x="993" y="826"/>
                    </a:lnTo>
                    <a:lnTo>
                      <a:pt x="983" y="826"/>
                    </a:lnTo>
                    <a:lnTo>
                      <a:pt x="977" y="835"/>
                    </a:lnTo>
                    <a:lnTo>
                      <a:pt x="986" y="853"/>
                    </a:lnTo>
                    <a:lnTo>
                      <a:pt x="986" y="859"/>
                    </a:lnTo>
                    <a:lnTo>
                      <a:pt x="974" y="870"/>
                    </a:lnTo>
                    <a:lnTo>
                      <a:pt x="980" y="873"/>
                    </a:lnTo>
                    <a:lnTo>
                      <a:pt x="981" y="880"/>
                    </a:lnTo>
                    <a:lnTo>
                      <a:pt x="990" y="889"/>
                    </a:lnTo>
                    <a:lnTo>
                      <a:pt x="1001" y="880"/>
                    </a:lnTo>
                    <a:lnTo>
                      <a:pt x="1008" y="880"/>
                    </a:lnTo>
                    <a:lnTo>
                      <a:pt x="1016" y="877"/>
                    </a:lnTo>
                    <a:lnTo>
                      <a:pt x="1022" y="883"/>
                    </a:lnTo>
                    <a:lnTo>
                      <a:pt x="1026" y="880"/>
                    </a:lnTo>
                    <a:lnTo>
                      <a:pt x="1013" y="865"/>
                    </a:lnTo>
                    <a:lnTo>
                      <a:pt x="1035" y="847"/>
                    </a:lnTo>
                    <a:lnTo>
                      <a:pt x="1041" y="867"/>
                    </a:lnTo>
                    <a:lnTo>
                      <a:pt x="1047" y="870"/>
                    </a:lnTo>
                    <a:lnTo>
                      <a:pt x="1062" y="865"/>
                    </a:lnTo>
                    <a:lnTo>
                      <a:pt x="1071" y="864"/>
                    </a:lnTo>
                    <a:lnTo>
                      <a:pt x="1091" y="871"/>
                    </a:lnTo>
                    <a:lnTo>
                      <a:pt x="1113" y="862"/>
                    </a:lnTo>
                    <a:lnTo>
                      <a:pt x="1118" y="832"/>
                    </a:lnTo>
                    <a:lnTo>
                      <a:pt x="1136" y="807"/>
                    </a:lnTo>
                    <a:lnTo>
                      <a:pt x="1142" y="805"/>
                    </a:lnTo>
                    <a:lnTo>
                      <a:pt x="1161" y="805"/>
                    </a:lnTo>
                    <a:lnTo>
                      <a:pt x="1157" y="817"/>
                    </a:lnTo>
                    <a:lnTo>
                      <a:pt x="1169" y="822"/>
                    </a:lnTo>
                    <a:lnTo>
                      <a:pt x="1184" y="819"/>
                    </a:lnTo>
                    <a:lnTo>
                      <a:pt x="1209" y="804"/>
                    </a:lnTo>
                    <a:lnTo>
                      <a:pt x="1215" y="807"/>
                    </a:lnTo>
                    <a:lnTo>
                      <a:pt x="1215" y="823"/>
                    </a:lnTo>
                    <a:lnTo>
                      <a:pt x="1229" y="828"/>
                    </a:lnTo>
                    <a:lnTo>
                      <a:pt x="1242" y="825"/>
                    </a:lnTo>
                    <a:lnTo>
                      <a:pt x="1244" y="795"/>
                    </a:lnTo>
                    <a:lnTo>
                      <a:pt x="1256" y="790"/>
                    </a:lnTo>
                    <a:lnTo>
                      <a:pt x="1268" y="781"/>
                    </a:lnTo>
                    <a:lnTo>
                      <a:pt x="1287" y="778"/>
                    </a:lnTo>
                    <a:lnTo>
                      <a:pt x="1290" y="754"/>
                    </a:lnTo>
                    <a:lnTo>
                      <a:pt x="1289" y="733"/>
                    </a:lnTo>
                    <a:lnTo>
                      <a:pt x="1293" y="714"/>
                    </a:lnTo>
                    <a:lnTo>
                      <a:pt x="1304" y="697"/>
                    </a:lnTo>
                    <a:lnTo>
                      <a:pt x="1301" y="685"/>
                    </a:lnTo>
                    <a:lnTo>
                      <a:pt x="1305" y="672"/>
                    </a:lnTo>
                    <a:lnTo>
                      <a:pt x="1293" y="670"/>
                    </a:lnTo>
                    <a:lnTo>
                      <a:pt x="1287" y="661"/>
                    </a:lnTo>
                    <a:lnTo>
                      <a:pt x="1296" y="660"/>
                    </a:lnTo>
                    <a:lnTo>
                      <a:pt x="1295" y="649"/>
                    </a:lnTo>
                    <a:lnTo>
                      <a:pt x="1287" y="654"/>
                    </a:lnTo>
                    <a:lnTo>
                      <a:pt x="1281" y="649"/>
                    </a:lnTo>
                    <a:lnTo>
                      <a:pt x="1286" y="639"/>
                    </a:lnTo>
                    <a:lnTo>
                      <a:pt x="1287" y="630"/>
                    </a:lnTo>
                    <a:lnTo>
                      <a:pt x="1287" y="618"/>
                    </a:lnTo>
                    <a:lnTo>
                      <a:pt x="1274" y="610"/>
                    </a:lnTo>
                    <a:lnTo>
                      <a:pt x="1280" y="580"/>
                    </a:lnTo>
                    <a:lnTo>
                      <a:pt x="1272" y="564"/>
                    </a:lnTo>
                    <a:lnTo>
                      <a:pt x="1287" y="552"/>
                    </a:lnTo>
                    <a:lnTo>
                      <a:pt x="1289" y="546"/>
                    </a:lnTo>
                    <a:lnTo>
                      <a:pt x="1326" y="543"/>
                    </a:lnTo>
                    <a:lnTo>
                      <a:pt x="1326" y="529"/>
                    </a:lnTo>
                    <a:lnTo>
                      <a:pt x="1307" y="529"/>
                    </a:lnTo>
                    <a:lnTo>
                      <a:pt x="1308" y="516"/>
                    </a:lnTo>
                    <a:lnTo>
                      <a:pt x="1272" y="514"/>
                    </a:lnTo>
                    <a:lnTo>
                      <a:pt x="1271" y="508"/>
                    </a:lnTo>
                    <a:lnTo>
                      <a:pt x="1283" y="508"/>
                    </a:lnTo>
                    <a:lnTo>
                      <a:pt x="1289" y="498"/>
                    </a:lnTo>
                    <a:lnTo>
                      <a:pt x="1299" y="495"/>
                    </a:lnTo>
                    <a:lnTo>
                      <a:pt x="1308" y="492"/>
                    </a:lnTo>
                    <a:lnTo>
                      <a:pt x="1310" y="486"/>
                    </a:lnTo>
                    <a:lnTo>
                      <a:pt x="1316" y="483"/>
                    </a:lnTo>
                    <a:lnTo>
                      <a:pt x="1317" y="472"/>
                    </a:lnTo>
                    <a:lnTo>
                      <a:pt x="1317" y="460"/>
                    </a:lnTo>
                    <a:lnTo>
                      <a:pt x="1338" y="450"/>
                    </a:lnTo>
                    <a:lnTo>
                      <a:pt x="1343" y="435"/>
                    </a:lnTo>
                    <a:lnTo>
                      <a:pt x="1334" y="427"/>
                    </a:lnTo>
                    <a:lnTo>
                      <a:pt x="1329" y="415"/>
                    </a:lnTo>
                    <a:lnTo>
                      <a:pt x="1331" y="403"/>
                    </a:lnTo>
                    <a:lnTo>
                      <a:pt x="1329" y="390"/>
                    </a:lnTo>
                    <a:lnTo>
                      <a:pt x="1322" y="399"/>
                    </a:lnTo>
                    <a:lnTo>
                      <a:pt x="1317" y="412"/>
                    </a:lnTo>
                    <a:lnTo>
                      <a:pt x="1308" y="415"/>
                    </a:lnTo>
                    <a:lnTo>
                      <a:pt x="1296" y="421"/>
                    </a:lnTo>
                    <a:lnTo>
                      <a:pt x="1287" y="417"/>
                    </a:lnTo>
                    <a:lnTo>
                      <a:pt x="1289" y="406"/>
                    </a:lnTo>
                    <a:lnTo>
                      <a:pt x="1296" y="402"/>
                    </a:lnTo>
                    <a:lnTo>
                      <a:pt x="1295" y="394"/>
                    </a:lnTo>
                    <a:lnTo>
                      <a:pt x="1289" y="393"/>
                    </a:lnTo>
                    <a:lnTo>
                      <a:pt x="1281" y="379"/>
                    </a:lnTo>
                    <a:lnTo>
                      <a:pt x="1284" y="366"/>
                    </a:lnTo>
                    <a:lnTo>
                      <a:pt x="1293" y="363"/>
                    </a:lnTo>
                    <a:lnTo>
                      <a:pt x="1287" y="354"/>
                    </a:lnTo>
                    <a:lnTo>
                      <a:pt x="1301" y="354"/>
                    </a:lnTo>
                    <a:lnTo>
                      <a:pt x="1307" y="343"/>
                    </a:lnTo>
                    <a:lnTo>
                      <a:pt x="1307" y="333"/>
                    </a:lnTo>
                    <a:lnTo>
                      <a:pt x="1293" y="312"/>
                    </a:lnTo>
                    <a:lnTo>
                      <a:pt x="1295" y="301"/>
                    </a:lnTo>
                    <a:lnTo>
                      <a:pt x="1298" y="297"/>
                    </a:lnTo>
                    <a:lnTo>
                      <a:pt x="1287" y="297"/>
                    </a:lnTo>
                    <a:lnTo>
                      <a:pt x="1286" y="291"/>
                    </a:lnTo>
                    <a:lnTo>
                      <a:pt x="1275" y="286"/>
                    </a:lnTo>
                    <a:lnTo>
                      <a:pt x="1265" y="267"/>
                    </a:lnTo>
                    <a:lnTo>
                      <a:pt x="1257" y="261"/>
                    </a:lnTo>
                    <a:lnTo>
                      <a:pt x="1236" y="264"/>
                    </a:lnTo>
                    <a:lnTo>
                      <a:pt x="1229" y="262"/>
                    </a:lnTo>
                    <a:lnTo>
                      <a:pt x="1221" y="250"/>
                    </a:lnTo>
                    <a:lnTo>
                      <a:pt x="1203" y="246"/>
                    </a:lnTo>
                    <a:lnTo>
                      <a:pt x="1184" y="241"/>
                    </a:lnTo>
                    <a:lnTo>
                      <a:pt x="1151" y="250"/>
                    </a:lnTo>
                    <a:lnTo>
                      <a:pt x="1149" y="241"/>
                    </a:lnTo>
                    <a:lnTo>
                      <a:pt x="1160" y="231"/>
                    </a:lnTo>
                    <a:lnTo>
                      <a:pt x="1154" y="217"/>
                    </a:lnTo>
                    <a:lnTo>
                      <a:pt x="1161" y="204"/>
                    </a:lnTo>
                    <a:lnTo>
                      <a:pt x="1169" y="192"/>
                    </a:lnTo>
                    <a:lnTo>
                      <a:pt x="1187" y="181"/>
                    </a:lnTo>
                    <a:lnTo>
                      <a:pt x="1199" y="183"/>
                    </a:lnTo>
                    <a:lnTo>
                      <a:pt x="1221" y="181"/>
                    </a:lnTo>
                    <a:lnTo>
                      <a:pt x="1238" y="169"/>
                    </a:lnTo>
                    <a:lnTo>
                      <a:pt x="1241" y="153"/>
                    </a:lnTo>
                    <a:lnTo>
                      <a:pt x="1230" y="148"/>
                    </a:lnTo>
                    <a:lnTo>
                      <a:pt x="1200" y="148"/>
                    </a:lnTo>
                    <a:lnTo>
                      <a:pt x="1185" y="156"/>
                    </a:lnTo>
                    <a:lnTo>
                      <a:pt x="1190" y="159"/>
                    </a:lnTo>
                    <a:lnTo>
                      <a:pt x="1190" y="168"/>
                    </a:lnTo>
                    <a:lnTo>
                      <a:pt x="1173" y="168"/>
                    </a:lnTo>
                    <a:lnTo>
                      <a:pt x="1172" y="157"/>
                    </a:lnTo>
                    <a:lnTo>
                      <a:pt x="1178" y="144"/>
                    </a:lnTo>
                    <a:lnTo>
                      <a:pt x="1173" y="139"/>
                    </a:lnTo>
                    <a:lnTo>
                      <a:pt x="1175" y="118"/>
                    </a:lnTo>
                    <a:lnTo>
                      <a:pt x="1146" y="84"/>
                    </a:lnTo>
                    <a:lnTo>
                      <a:pt x="1134" y="87"/>
                    </a:lnTo>
                    <a:lnTo>
                      <a:pt x="1116" y="85"/>
                    </a:lnTo>
                    <a:lnTo>
                      <a:pt x="1110" y="99"/>
                    </a:lnTo>
                    <a:lnTo>
                      <a:pt x="1104" y="100"/>
                    </a:lnTo>
                    <a:lnTo>
                      <a:pt x="1095" y="93"/>
                    </a:lnTo>
                    <a:lnTo>
                      <a:pt x="1089" y="96"/>
                    </a:lnTo>
                    <a:lnTo>
                      <a:pt x="1088" y="111"/>
                    </a:lnTo>
                    <a:lnTo>
                      <a:pt x="1070" y="97"/>
                    </a:lnTo>
                    <a:lnTo>
                      <a:pt x="1070" y="76"/>
                    </a:lnTo>
                    <a:lnTo>
                      <a:pt x="1049" y="60"/>
                    </a:lnTo>
                    <a:lnTo>
                      <a:pt x="1046" y="46"/>
                    </a:lnTo>
                    <a:lnTo>
                      <a:pt x="1035" y="40"/>
                    </a:lnTo>
                    <a:lnTo>
                      <a:pt x="1014" y="40"/>
                    </a:lnTo>
                    <a:lnTo>
                      <a:pt x="1010" y="49"/>
                    </a:lnTo>
                    <a:lnTo>
                      <a:pt x="996" y="54"/>
                    </a:lnTo>
                    <a:lnTo>
                      <a:pt x="990" y="48"/>
                    </a:lnTo>
                    <a:lnTo>
                      <a:pt x="983" y="48"/>
                    </a:lnTo>
                    <a:lnTo>
                      <a:pt x="986" y="60"/>
                    </a:lnTo>
                    <a:lnTo>
                      <a:pt x="965" y="57"/>
                    </a:lnTo>
                    <a:lnTo>
                      <a:pt x="948" y="58"/>
                    </a:lnTo>
                    <a:lnTo>
                      <a:pt x="950" y="66"/>
                    </a:lnTo>
                    <a:lnTo>
                      <a:pt x="963" y="76"/>
                    </a:lnTo>
                    <a:lnTo>
                      <a:pt x="963" y="90"/>
                    </a:lnTo>
                    <a:lnTo>
                      <a:pt x="950" y="115"/>
                    </a:lnTo>
                    <a:lnTo>
                      <a:pt x="936" y="123"/>
                    </a:lnTo>
                    <a:lnTo>
                      <a:pt x="935" y="153"/>
                    </a:lnTo>
                    <a:lnTo>
                      <a:pt x="924" y="157"/>
                    </a:lnTo>
                    <a:lnTo>
                      <a:pt x="924" y="162"/>
                    </a:lnTo>
                    <a:lnTo>
                      <a:pt x="909" y="159"/>
                    </a:lnTo>
                    <a:lnTo>
                      <a:pt x="909" y="160"/>
                    </a:lnTo>
                    <a:lnTo>
                      <a:pt x="905" y="174"/>
                    </a:lnTo>
                    <a:lnTo>
                      <a:pt x="891" y="183"/>
                    </a:lnTo>
                    <a:lnTo>
                      <a:pt x="873" y="199"/>
                    </a:lnTo>
                    <a:lnTo>
                      <a:pt x="857" y="196"/>
                    </a:lnTo>
                    <a:lnTo>
                      <a:pt x="848" y="201"/>
                    </a:lnTo>
                    <a:lnTo>
                      <a:pt x="848" y="189"/>
                    </a:lnTo>
                    <a:lnTo>
                      <a:pt x="840" y="187"/>
                    </a:lnTo>
                    <a:lnTo>
                      <a:pt x="845" y="178"/>
                    </a:lnTo>
                    <a:lnTo>
                      <a:pt x="839" y="168"/>
                    </a:lnTo>
                    <a:lnTo>
                      <a:pt x="845" y="157"/>
                    </a:lnTo>
                    <a:lnTo>
                      <a:pt x="848" y="147"/>
                    </a:lnTo>
                    <a:lnTo>
                      <a:pt x="854" y="138"/>
                    </a:lnTo>
                    <a:lnTo>
                      <a:pt x="852" y="133"/>
                    </a:lnTo>
                    <a:lnTo>
                      <a:pt x="855" y="126"/>
                    </a:lnTo>
                    <a:lnTo>
                      <a:pt x="852" y="118"/>
                    </a:lnTo>
                    <a:lnTo>
                      <a:pt x="855" y="111"/>
                    </a:lnTo>
                    <a:lnTo>
                      <a:pt x="855" y="102"/>
                    </a:lnTo>
                    <a:lnTo>
                      <a:pt x="851" y="96"/>
                    </a:lnTo>
                    <a:lnTo>
                      <a:pt x="846" y="87"/>
                    </a:lnTo>
                    <a:lnTo>
                      <a:pt x="840" y="85"/>
                    </a:lnTo>
                    <a:lnTo>
                      <a:pt x="830" y="91"/>
                    </a:lnTo>
                    <a:lnTo>
                      <a:pt x="815" y="102"/>
                    </a:lnTo>
                    <a:lnTo>
                      <a:pt x="812" y="109"/>
                    </a:lnTo>
                    <a:lnTo>
                      <a:pt x="801" y="109"/>
                    </a:lnTo>
                    <a:lnTo>
                      <a:pt x="798" y="105"/>
                    </a:lnTo>
                    <a:lnTo>
                      <a:pt x="782" y="109"/>
                    </a:lnTo>
                    <a:lnTo>
                      <a:pt x="776" y="106"/>
                    </a:lnTo>
                    <a:lnTo>
                      <a:pt x="764" y="138"/>
                    </a:lnTo>
                    <a:lnTo>
                      <a:pt x="758" y="142"/>
                    </a:lnTo>
                    <a:lnTo>
                      <a:pt x="756" y="129"/>
                    </a:lnTo>
                    <a:lnTo>
                      <a:pt x="756" y="118"/>
                    </a:lnTo>
                    <a:lnTo>
                      <a:pt x="752" y="112"/>
                    </a:lnTo>
                    <a:lnTo>
                      <a:pt x="752" y="105"/>
                    </a:lnTo>
                    <a:lnTo>
                      <a:pt x="747" y="96"/>
                    </a:lnTo>
                    <a:lnTo>
                      <a:pt x="729" y="72"/>
                    </a:lnTo>
                    <a:lnTo>
                      <a:pt x="720" y="73"/>
                    </a:lnTo>
                    <a:lnTo>
                      <a:pt x="699" y="81"/>
                    </a:lnTo>
                    <a:lnTo>
                      <a:pt x="677" y="66"/>
                    </a:lnTo>
                    <a:lnTo>
                      <a:pt x="668" y="54"/>
                    </a:lnTo>
                    <a:lnTo>
                      <a:pt x="650" y="51"/>
                    </a:lnTo>
                    <a:lnTo>
                      <a:pt x="624" y="45"/>
                    </a:lnTo>
                    <a:lnTo>
                      <a:pt x="606" y="46"/>
                    </a:lnTo>
                    <a:lnTo>
                      <a:pt x="593" y="57"/>
                    </a:lnTo>
                    <a:lnTo>
                      <a:pt x="582" y="57"/>
                    </a:lnTo>
                    <a:lnTo>
                      <a:pt x="578" y="51"/>
                    </a:lnTo>
                    <a:lnTo>
                      <a:pt x="579" y="45"/>
                    </a:lnTo>
                    <a:lnTo>
                      <a:pt x="569" y="43"/>
                    </a:lnTo>
                    <a:lnTo>
                      <a:pt x="569" y="27"/>
                    </a:lnTo>
                    <a:lnTo>
                      <a:pt x="563" y="19"/>
                    </a:lnTo>
                    <a:lnTo>
                      <a:pt x="566" y="13"/>
                    </a:lnTo>
                    <a:lnTo>
                      <a:pt x="558" y="16"/>
                    </a:lnTo>
                    <a:lnTo>
                      <a:pt x="552" y="9"/>
                    </a:lnTo>
                    <a:lnTo>
                      <a:pt x="539" y="4"/>
                    </a:lnTo>
                    <a:lnTo>
                      <a:pt x="524" y="6"/>
                    </a:lnTo>
                    <a:lnTo>
                      <a:pt x="518" y="0"/>
                    </a:lnTo>
                    <a:lnTo>
                      <a:pt x="515" y="0"/>
                    </a:lnTo>
                    <a:lnTo>
                      <a:pt x="513" y="6"/>
                    </a:lnTo>
                    <a:lnTo>
                      <a:pt x="507" y="9"/>
                    </a:lnTo>
                    <a:lnTo>
                      <a:pt x="503" y="4"/>
                    </a:lnTo>
                    <a:lnTo>
                      <a:pt x="489" y="4"/>
                    </a:lnTo>
                    <a:lnTo>
                      <a:pt x="485" y="10"/>
                    </a:lnTo>
                    <a:lnTo>
                      <a:pt x="479" y="12"/>
                    </a:lnTo>
                    <a:lnTo>
                      <a:pt x="471" y="19"/>
                    </a:lnTo>
                    <a:lnTo>
                      <a:pt x="476" y="36"/>
                    </a:lnTo>
                    <a:lnTo>
                      <a:pt x="471" y="51"/>
                    </a:lnTo>
                    <a:lnTo>
                      <a:pt x="458" y="58"/>
                    </a:lnTo>
                    <a:lnTo>
                      <a:pt x="455" y="48"/>
                    </a:lnTo>
                    <a:lnTo>
                      <a:pt x="446" y="57"/>
                    </a:lnTo>
                    <a:lnTo>
                      <a:pt x="440" y="57"/>
                    </a:lnTo>
                    <a:lnTo>
                      <a:pt x="428" y="52"/>
                    </a:lnTo>
                    <a:lnTo>
                      <a:pt x="408" y="64"/>
                    </a:lnTo>
                    <a:lnTo>
                      <a:pt x="413" y="76"/>
                    </a:lnTo>
                    <a:lnTo>
                      <a:pt x="390" y="69"/>
                    </a:lnTo>
                    <a:lnTo>
                      <a:pt x="378" y="73"/>
                    </a:lnTo>
                    <a:lnTo>
                      <a:pt x="368" y="75"/>
                    </a:lnTo>
                    <a:lnTo>
                      <a:pt x="368" y="81"/>
                    </a:lnTo>
                    <a:lnTo>
                      <a:pt x="354" y="79"/>
                    </a:lnTo>
                    <a:lnTo>
                      <a:pt x="351" y="70"/>
                    </a:lnTo>
                    <a:lnTo>
                      <a:pt x="336" y="63"/>
                    </a:lnTo>
                    <a:lnTo>
                      <a:pt x="332" y="64"/>
                    </a:lnTo>
                    <a:lnTo>
                      <a:pt x="327" y="72"/>
                    </a:lnTo>
                    <a:lnTo>
                      <a:pt x="321" y="67"/>
                    </a:lnTo>
                    <a:lnTo>
                      <a:pt x="323" y="57"/>
                    </a:lnTo>
                    <a:lnTo>
                      <a:pt x="311" y="43"/>
                    </a:lnTo>
                    <a:lnTo>
                      <a:pt x="299" y="52"/>
                    </a:lnTo>
                    <a:lnTo>
                      <a:pt x="284" y="52"/>
                    </a:lnTo>
                    <a:lnTo>
                      <a:pt x="270" y="66"/>
                    </a:lnTo>
                    <a:lnTo>
                      <a:pt x="263" y="63"/>
                    </a:lnTo>
                    <a:lnTo>
                      <a:pt x="249" y="75"/>
                    </a:lnTo>
                    <a:lnTo>
                      <a:pt x="236" y="66"/>
                    </a:lnTo>
                    <a:lnTo>
                      <a:pt x="233" y="55"/>
                    </a:lnTo>
                    <a:lnTo>
                      <a:pt x="243" y="45"/>
                    </a:lnTo>
                    <a:lnTo>
                      <a:pt x="246" y="39"/>
                    </a:lnTo>
                    <a:lnTo>
                      <a:pt x="230" y="30"/>
                    </a:lnTo>
                    <a:lnTo>
                      <a:pt x="222" y="36"/>
                    </a:lnTo>
                    <a:lnTo>
                      <a:pt x="213" y="34"/>
                    </a:lnTo>
                    <a:lnTo>
                      <a:pt x="207" y="37"/>
                    </a:lnTo>
                    <a:lnTo>
                      <a:pt x="198" y="28"/>
                    </a:lnTo>
                    <a:lnTo>
                      <a:pt x="186" y="31"/>
                    </a:lnTo>
                    <a:lnTo>
                      <a:pt x="173" y="36"/>
                    </a:lnTo>
                    <a:lnTo>
                      <a:pt x="150" y="36"/>
                    </a:lnTo>
                    <a:lnTo>
                      <a:pt x="135" y="31"/>
                    </a:lnTo>
                    <a:lnTo>
                      <a:pt x="134" y="24"/>
                    </a:lnTo>
                    <a:lnTo>
                      <a:pt x="87" y="42"/>
                    </a:lnTo>
                    <a:lnTo>
                      <a:pt x="50" y="64"/>
                    </a:lnTo>
                    <a:lnTo>
                      <a:pt x="32" y="66"/>
                    </a:lnTo>
                    <a:lnTo>
                      <a:pt x="14" y="75"/>
                    </a:lnTo>
                    <a:lnTo>
                      <a:pt x="20" y="81"/>
                    </a:lnTo>
                    <a:lnTo>
                      <a:pt x="11" y="85"/>
                    </a:lnTo>
                    <a:lnTo>
                      <a:pt x="9" y="93"/>
                    </a:lnTo>
                    <a:lnTo>
                      <a:pt x="14" y="96"/>
                    </a:lnTo>
                    <a:lnTo>
                      <a:pt x="0" y="108"/>
                    </a:lnTo>
                    <a:lnTo>
                      <a:pt x="2" y="112"/>
                    </a:lnTo>
                    <a:lnTo>
                      <a:pt x="0" y="126"/>
                    </a:lnTo>
                    <a:lnTo>
                      <a:pt x="21" y="123"/>
                    </a:lnTo>
                    <a:lnTo>
                      <a:pt x="29" y="130"/>
                    </a:lnTo>
                    <a:lnTo>
                      <a:pt x="23" y="139"/>
                    </a:lnTo>
                    <a:lnTo>
                      <a:pt x="23" y="157"/>
                    </a:lnTo>
                    <a:lnTo>
                      <a:pt x="15" y="163"/>
                    </a:lnTo>
                    <a:lnTo>
                      <a:pt x="44" y="172"/>
                    </a:lnTo>
                    <a:lnTo>
                      <a:pt x="41" y="184"/>
                    </a:lnTo>
                    <a:lnTo>
                      <a:pt x="50" y="199"/>
                    </a:lnTo>
                    <a:lnTo>
                      <a:pt x="51" y="216"/>
                    </a:lnTo>
                    <a:lnTo>
                      <a:pt x="63" y="228"/>
                    </a:lnTo>
                    <a:lnTo>
                      <a:pt x="71" y="255"/>
                    </a:lnTo>
                    <a:lnTo>
                      <a:pt x="78" y="255"/>
                    </a:lnTo>
                    <a:lnTo>
                      <a:pt x="87" y="259"/>
                    </a:lnTo>
                    <a:lnTo>
                      <a:pt x="92" y="258"/>
                    </a:lnTo>
                    <a:lnTo>
                      <a:pt x="98" y="252"/>
                    </a:lnTo>
                    <a:lnTo>
                      <a:pt x="108" y="250"/>
                    </a:lnTo>
                    <a:lnTo>
                      <a:pt x="116" y="256"/>
                    </a:lnTo>
                    <a:lnTo>
                      <a:pt x="122" y="252"/>
                    </a:lnTo>
                    <a:lnTo>
                      <a:pt x="137" y="250"/>
                    </a:lnTo>
                    <a:lnTo>
                      <a:pt x="146" y="256"/>
                    </a:lnTo>
                    <a:lnTo>
                      <a:pt x="156" y="253"/>
                    </a:lnTo>
                    <a:lnTo>
                      <a:pt x="167" y="268"/>
                    </a:lnTo>
                    <a:lnTo>
                      <a:pt x="183" y="268"/>
                    </a:lnTo>
                    <a:lnTo>
                      <a:pt x="195" y="285"/>
                    </a:lnTo>
                    <a:lnTo>
                      <a:pt x="198" y="298"/>
                    </a:lnTo>
                    <a:lnTo>
                      <a:pt x="206" y="300"/>
                    </a:lnTo>
                    <a:lnTo>
                      <a:pt x="209" y="298"/>
                    </a:lnTo>
                    <a:lnTo>
                      <a:pt x="212" y="285"/>
                    </a:lnTo>
                    <a:lnTo>
                      <a:pt x="218" y="288"/>
                    </a:lnTo>
                    <a:lnTo>
                      <a:pt x="227" y="286"/>
                    </a:lnTo>
                    <a:lnTo>
                      <a:pt x="246" y="270"/>
                    </a:lnTo>
                    <a:lnTo>
                      <a:pt x="258" y="282"/>
                    </a:lnTo>
                    <a:lnTo>
                      <a:pt x="263" y="288"/>
                    </a:lnTo>
                    <a:lnTo>
                      <a:pt x="260" y="295"/>
                    </a:lnTo>
                    <a:lnTo>
                      <a:pt x="255" y="304"/>
                    </a:lnTo>
                    <a:lnTo>
                      <a:pt x="264" y="318"/>
                    </a:lnTo>
                    <a:lnTo>
                      <a:pt x="267" y="322"/>
                    </a:lnTo>
                    <a:lnTo>
                      <a:pt x="261" y="330"/>
                    </a:lnTo>
                    <a:lnTo>
                      <a:pt x="252" y="331"/>
                    </a:lnTo>
                    <a:lnTo>
                      <a:pt x="249" y="339"/>
                    </a:lnTo>
                    <a:lnTo>
                      <a:pt x="255" y="345"/>
                    </a:lnTo>
                    <a:lnTo>
                      <a:pt x="245" y="346"/>
                    </a:lnTo>
                    <a:lnTo>
                      <a:pt x="245" y="349"/>
                    </a:lnTo>
                    <a:lnTo>
                      <a:pt x="254" y="351"/>
                    </a:lnTo>
                    <a:lnTo>
                      <a:pt x="251" y="358"/>
                    </a:lnTo>
                    <a:lnTo>
                      <a:pt x="255" y="367"/>
                    </a:lnTo>
                    <a:lnTo>
                      <a:pt x="258" y="376"/>
                    </a:lnTo>
                    <a:lnTo>
                      <a:pt x="254" y="391"/>
                    </a:lnTo>
                    <a:lnTo>
                      <a:pt x="257" y="394"/>
                    </a:lnTo>
                    <a:lnTo>
                      <a:pt x="249" y="396"/>
                    </a:lnTo>
                    <a:lnTo>
                      <a:pt x="248" y="390"/>
                    </a:lnTo>
                    <a:lnTo>
                      <a:pt x="231" y="391"/>
                    </a:lnTo>
                    <a:lnTo>
                      <a:pt x="228" y="396"/>
                    </a:lnTo>
                    <a:lnTo>
                      <a:pt x="218" y="397"/>
                    </a:lnTo>
                    <a:lnTo>
                      <a:pt x="218" y="415"/>
                    </a:lnTo>
                    <a:lnTo>
                      <a:pt x="213" y="427"/>
                    </a:lnTo>
                    <a:lnTo>
                      <a:pt x="201" y="427"/>
                    </a:lnTo>
                    <a:lnTo>
                      <a:pt x="191" y="441"/>
                    </a:lnTo>
                    <a:lnTo>
                      <a:pt x="173" y="432"/>
                    </a:lnTo>
                    <a:lnTo>
                      <a:pt x="165" y="424"/>
                    </a:lnTo>
                    <a:lnTo>
                      <a:pt x="165" y="414"/>
                    </a:lnTo>
                    <a:lnTo>
                      <a:pt x="149" y="429"/>
                    </a:lnTo>
                    <a:lnTo>
                      <a:pt x="150" y="444"/>
                    </a:lnTo>
                    <a:lnTo>
                      <a:pt x="156" y="447"/>
                    </a:lnTo>
                    <a:lnTo>
                      <a:pt x="153" y="453"/>
                    </a:lnTo>
                    <a:lnTo>
                      <a:pt x="162" y="459"/>
                    </a:lnTo>
                    <a:lnTo>
                      <a:pt x="159" y="466"/>
                    </a:lnTo>
                    <a:lnTo>
                      <a:pt x="164" y="468"/>
                    </a:lnTo>
                    <a:lnTo>
                      <a:pt x="164" y="471"/>
                    </a:lnTo>
                    <a:lnTo>
                      <a:pt x="158" y="480"/>
                    </a:lnTo>
                    <a:lnTo>
                      <a:pt x="152" y="480"/>
                    </a:lnTo>
                    <a:lnTo>
                      <a:pt x="159" y="483"/>
                    </a:lnTo>
                    <a:lnTo>
                      <a:pt x="155" y="498"/>
                    </a:lnTo>
                    <a:lnTo>
                      <a:pt x="158" y="507"/>
                    </a:lnTo>
                    <a:lnTo>
                      <a:pt x="161" y="516"/>
                    </a:lnTo>
                    <a:lnTo>
                      <a:pt x="167" y="525"/>
                    </a:lnTo>
                    <a:lnTo>
                      <a:pt x="173" y="526"/>
                    </a:lnTo>
                    <a:lnTo>
                      <a:pt x="183" y="544"/>
                    </a:lnTo>
                    <a:lnTo>
                      <a:pt x="185" y="556"/>
                    </a:lnTo>
                    <a:lnTo>
                      <a:pt x="195" y="564"/>
                    </a:lnTo>
                    <a:lnTo>
                      <a:pt x="204" y="579"/>
                    </a:lnTo>
                    <a:lnTo>
                      <a:pt x="215" y="585"/>
                    </a:lnTo>
                    <a:lnTo>
                      <a:pt x="213" y="591"/>
                    </a:lnTo>
                    <a:lnTo>
                      <a:pt x="221" y="597"/>
                    </a:lnTo>
                    <a:lnTo>
                      <a:pt x="234" y="592"/>
                    </a:lnTo>
                    <a:lnTo>
                      <a:pt x="245" y="586"/>
                    </a:lnTo>
                    <a:lnTo>
                      <a:pt x="254" y="592"/>
                    </a:lnTo>
                    <a:lnTo>
                      <a:pt x="251" y="588"/>
                    </a:lnTo>
                    <a:lnTo>
                      <a:pt x="257" y="586"/>
                    </a:lnTo>
                    <a:lnTo>
                      <a:pt x="272" y="591"/>
                    </a:lnTo>
                    <a:lnTo>
                      <a:pt x="288" y="567"/>
                    </a:lnTo>
                    <a:lnTo>
                      <a:pt x="284" y="567"/>
                    </a:lnTo>
                    <a:lnTo>
                      <a:pt x="276" y="553"/>
                    </a:lnTo>
                    <a:lnTo>
                      <a:pt x="281" y="550"/>
                    </a:lnTo>
                    <a:lnTo>
                      <a:pt x="290" y="558"/>
                    </a:lnTo>
                    <a:lnTo>
                      <a:pt x="294" y="555"/>
                    </a:lnTo>
                    <a:lnTo>
                      <a:pt x="300" y="535"/>
                    </a:lnTo>
                    <a:lnTo>
                      <a:pt x="297" y="525"/>
                    </a:lnTo>
                    <a:lnTo>
                      <a:pt x="291" y="520"/>
                    </a:lnTo>
                    <a:lnTo>
                      <a:pt x="282" y="507"/>
                    </a:lnTo>
                    <a:lnTo>
                      <a:pt x="288" y="502"/>
                    </a:lnTo>
                    <a:lnTo>
                      <a:pt x="308" y="532"/>
                    </a:lnTo>
                    <a:lnTo>
                      <a:pt x="312" y="538"/>
                    </a:lnTo>
                    <a:lnTo>
                      <a:pt x="323" y="531"/>
                    </a:lnTo>
                    <a:lnTo>
                      <a:pt x="321" y="514"/>
                    </a:lnTo>
                    <a:lnTo>
                      <a:pt x="327" y="522"/>
                    </a:lnTo>
                    <a:lnTo>
                      <a:pt x="341" y="510"/>
                    </a:lnTo>
                    <a:lnTo>
                      <a:pt x="344" y="502"/>
                    </a:lnTo>
                    <a:lnTo>
                      <a:pt x="350" y="498"/>
                    </a:lnTo>
                    <a:lnTo>
                      <a:pt x="347" y="489"/>
                    </a:lnTo>
                    <a:lnTo>
                      <a:pt x="353" y="487"/>
                    </a:lnTo>
                    <a:lnTo>
                      <a:pt x="353" y="493"/>
                    </a:lnTo>
                    <a:lnTo>
                      <a:pt x="360" y="495"/>
                    </a:lnTo>
                    <a:lnTo>
                      <a:pt x="353" y="507"/>
                    </a:lnTo>
                    <a:lnTo>
                      <a:pt x="341" y="514"/>
                    </a:lnTo>
                    <a:lnTo>
                      <a:pt x="339" y="529"/>
                    </a:lnTo>
                    <a:lnTo>
                      <a:pt x="333" y="538"/>
                    </a:lnTo>
                    <a:lnTo>
                      <a:pt x="327" y="547"/>
                    </a:lnTo>
                    <a:lnTo>
                      <a:pt x="320" y="549"/>
                    </a:lnTo>
                    <a:lnTo>
                      <a:pt x="317" y="555"/>
                    </a:lnTo>
                    <a:lnTo>
                      <a:pt x="306" y="549"/>
                    </a:lnTo>
                    <a:lnTo>
                      <a:pt x="303" y="555"/>
                    </a:lnTo>
                    <a:lnTo>
                      <a:pt x="306" y="556"/>
                    </a:lnTo>
                    <a:lnTo>
                      <a:pt x="303" y="564"/>
                    </a:lnTo>
                    <a:lnTo>
                      <a:pt x="309" y="567"/>
                    </a:lnTo>
                    <a:lnTo>
                      <a:pt x="308" y="571"/>
                    </a:lnTo>
                    <a:lnTo>
                      <a:pt x="302" y="573"/>
                    </a:lnTo>
                    <a:lnTo>
                      <a:pt x="302" y="579"/>
                    </a:lnTo>
                    <a:lnTo>
                      <a:pt x="290" y="577"/>
                    </a:lnTo>
                    <a:lnTo>
                      <a:pt x="299" y="585"/>
                    </a:lnTo>
                    <a:lnTo>
                      <a:pt x="318" y="586"/>
                    </a:lnTo>
                    <a:lnTo>
                      <a:pt x="318" y="580"/>
                    </a:lnTo>
                    <a:lnTo>
                      <a:pt x="323" y="582"/>
                    </a:lnTo>
                    <a:lnTo>
                      <a:pt x="339" y="576"/>
                    </a:lnTo>
                    <a:lnTo>
                      <a:pt x="332" y="583"/>
                    </a:lnTo>
                    <a:lnTo>
                      <a:pt x="342" y="586"/>
                    </a:lnTo>
                    <a:lnTo>
                      <a:pt x="353" y="589"/>
                    </a:lnTo>
                    <a:lnTo>
                      <a:pt x="359" y="603"/>
                    </a:lnTo>
                    <a:lnTo>
                      <a:pt x="350" y="604"/>
                    </a:lnTo>
                    <a:lnTo>
                      <a:pt x="377" y="624"/>
                    </a:lnTo>
                    <a:lnTo>
                      <a:pt x="381" y="633"/>
                    </a:lnTo>
                    <a:lnTo>
                      <a:pt x="410" y="654"/>
                    </a:lnTo>
                    <a:lnTo>
                      <a:pt x="411" y="645"/>
                    </a:lnTo>
                    <a:lnTo>
                      <a:pt x="410" y="624"/>
                    </a:lnTo>
                    <a:lnTo>
                      <a:pt x="414" y="621"/>
                    </a:lnTo>
                    <a:lnTo>
                      <a:pt x="422" y="612"/>
                    </a:lnTo>
                    <a:lnTo>
                      <a:pt x="416" y="606"/>
                    </a:lnTo>
                    <a:lnTo>
                      <a:pt x="429" y="601"/>
                    </a:lnTo>
                    <a:lnTo>
                      <a:pt x="426" y="594"/>
                    </a:lnTo>
                    <a:lnTo>
                      <a:pt x="426" y="583"/>
                    </a:lnTo>
                    <a:lnTo>
                      <a:pt x="443" y="588"/>
                    </a:lnTo>
                    <a:lnTo>
                      <a:pt x="449" y="583"/>
                    </a:lnTo>
                    <a:lnTo>
                      <a:pt x="443" y="567"/>
                    </a:lnTo>
                    <a:lnTo>
                      <a:pt x="444" y="555"/>
                    </a:lnTo>
                    <a:lnTo>
                      <a:pt x="434" y="549"/>
                    </a:lnTo>
                    <a:lnTo>
                      <a:pt x="431" y="540"/>
                    </a:lnTo>
                    <a:lnTo>
                      <a:pt x="425" y="537"/>
                    </a:lnTo>
                    <a:lnTo>
                      <a:pt x="431" y="537"/>
                    </a:lnTo>
                    <a:lnTo>
                      <a:pt x="443" y="547"/>
                    </a:lnTo>
                    <a:lnTo>
                      <a:pt x="455" y="552"/>
                    </a:lnTo>
                    <a:lnTo>
                      <a:pt x="462" y="535"/>
                    </a:lnTo>
                    <a:lnTo>
                      <a:pt x="467" y="537"/>
                    </a:lnTo>
                    <a:lnTo>
                      <a:pt x="464" y="546"/>
                    </a:lnTo>
                    <a:lnTo>
                      <a:pt x="464" y="550"/>
                    </a:lnTo>
                    <a:lnTo>
                      <a:pt x="467" y="558"/>
                    </a:lnTo>
                    <a:lnTo>
                      <a:pt x="450" y="567"/>
                    </a:lnTo>
                    <a:lnTo>
                      <a:pt x="455" y="582"/>
                    </a:lnTo>
                    <a:lnTo>
                      <a:pt x="458" y="570"/>
                    </a:lnTo>
                    <a:lnTo>
                      <a:pt x="474" y="564"/>
                    </a:lnTo>
                    <a:lnTo>
                      <a:pt x="482" y="558"/>
                    </a:lnTo>
                    <a:lnTo>
                      <a:pt x="492" y="559"/>
                    </a:lnTo>
                    <a:lnTo>
                      <a:pt x="482" y="562"/>
                    </a:lnTo>
                    <a:lnTo>
                      <a:pt x="480" y="567"/>
                    </a:lnTo>
                    <a:lnTo>
                      <a:pt x="474" y="576"/>
                    </a:lnTo>
                    <a:lnTo>
                      <a:pt x="477" y="583"/>
                    </a:lnTo>
                    <a:lnTo>
                      <a:pt x="483" y="591"/>
                    </a:lnTo>
                    <a:lnTo>
                      <a:pt x="479" y="589"/>
                    </a:lnTo>
                    <a:lnTo>
                      <a:pt x="467" y="582"/>
                    </a:lnTo>
                    <a:lnTo>
                      <a:pt x="468" y="573"/>
                    </a:lnTo>
                    <a:lnTo>
                      <a:pt x="462" y="573"/>
                    </a:lnTo>
                    <a:lnTo>
                      <a:pt x="462" y="588"/>
                    </a:lnTo>
                    <a:lnTo>
                      <a:pt x="446" y="592"/>
                    </a:lnTo>
                    <a:lnTo>
                      <a:pt x="447" y="597"/>
                    </a:lnTo>
                    <a:lnTo>
                      <a:pt x="456" y="598"/>
                    </a:lnTo>
                    <a:lnTo>
                      <a:pt x="465" y="589"/>
                    </a:lnTo>
                    <a:lnTo>
                      <a:pt x="471" y="592"/>
                    </a:lnTo>
                    <a:lnTo>
                      <a:pt x="462" y="600"/>
                    </a:lnTo>
                    <a:lnTo>
                      <a:pt x="458" y="606"/>
                    </a:lnTo>
                    <a:lnTo>
                      <a:pt x="452" y="606"/>
                    </a:lnTo>
                    <a:lnTo>
                      <a:pt x="452" y="615"/>
                    </a:lnTo>
                    <a:lnTo>
                      <a:pt x="446" y="610"/>
                    </a:lnTo>
                    <a:lnTo>
                      <a:pt x="435" y="613"/>
                    </a:lnTo>
                    <a:lnTo>
                      <a:pt x="432" y="606"/>
                    </a:lnTo>
                    <a:lnTo>
                      <a:pt x="429" y="610"/>
                    </a:lnTo>
                    <a:lnTo>
                      <a:pt x="432" y="616"/>
                    </a:lnTo>
                    <a:lnTo>
                      <a:pt x="423" y="616"/>
                    </a:lnTo>
                    <a:lnTo>
                      <a:pt x="423" y="622"/>
                    </a:lnTo>
                    <a:lnTo>
                      <a:pt x="414" y="628"/>
                    </a:lnTo>
                    <a:lnTo>
                      <a:pt x="416" y="631"/>
                    </a:lnTo>
                    <a:lnTo>
                      <a:pt x="416" y="642"/>
                    </a:lnTo>
                    <a:lnTo>
                      <a:pt x="417" y="645"/>
                    </a:lnTo>
                    <a:lnTo>
                      <a:pt x="417" y="652"/>
                    </a:lnTo>
                    <a:lnTo>
                      <a:pt x="413" y="658"/>
                    </a:lnTo>
                    <a:lnTo>
                      <a:pt x="423" y="681"/>
                    </a:lnTo>
                    <a:lnTo>
                      <a:pt x="453" y="700"/>
                    </a:lnTo>
                    <a:lnTo>
                      <a:pt x="470" y="730"/>
                    </a:lnTo>
                    <a:lnTo>
                      <a:pt x="473" y="771"/>
                    </a:lnTo>
                    <a:lnTo>
                      <a:pt x="462" y="789"/>
                    </a:lnTo>
                    <a:lnTo>
                      <a:pt x="455" y="792"/>
                    </a:lnTo>
                    <a:lnTo>
                      <a:pt x="453" y="796"/>
                    </a:lnTo>
                    <a:lnTo>
                      <a:pt x="459" y="798"/>
                    </a:lnTo>
                    <a:lnTo>
                      <a:pt x="462" y="814"/>
                    </a:lnTo>
                    <a:lnTo>
                      <a:pt x="459" y="820"/>
                    </a:lnTo>
                    <a:lnTo>
                      <a:pt x="468" y="835"/>
                    </a:lnTo>
                    <a:lnTo>
                      <a:pt x="465" y="844"/>
                    </a:lnTo>
                    <a:lnTo>
                      <a:pt x="473" y="846"/>
                    </a:lnTo>
                    <a:lnTo>
                      <a:pt x="477" y="856"/>
                    </a:lnTo>
                    <a:lnTo>
                      <a:pt x="482" y="850"/>
                    </a:lnTo>
                    <a:lnTo>
                      <a:pt x="488" y="850"/>
                    </a:lnTo>
                    <a:lnTo>
                      <a:pt x="495" y="858"/>
                    </a:lnTo>
                    <a:lnTo>
                      <a:pt x="509" y="858"/>
                    </a:lnTo>
                    <a:lnTo>
                      <a:pt x="507" y="844"/>
                    </a:lnTo>
                    <a:lnTo>
                      <a:pt x="497" y="838"/>
                    </a:lnTo>
                    <a:lnTo>
                      <a:pt x="485" y="820"/>
                    </a:lnTo>
                    <a:lnTo>
                      <a:pt x="486" y="811"/>
                    </a:lnTo>
                    <a:lnTo>
                      <a:pt x="480" y="807"/>
                    </a:lnTo>
                    <a:lnTo>
                      <a:pt x="477" y="784"/>
                    </a:lnTo>
                    <a:lnTo>
                      <a:pt x="474" y="771"/>
                    </a:lnTo>
                    <a:lnTo>
                      <a:pt x="477" y="754"/>
                    </a:lnTo>
                    <a:lnTo>
                      <a:pt x="488" y="735"/>
                    </a:lnTo>
                    <a:lnTo>
                      <a:pt x="477" y="739"/>
                    </a:lnTo>
                    <a:lnTo>
                      <a:pt x="476" y="736"/>
                    </a:lnTo>
                    <a:lnTo>
                      <a:pt x="479" y="711"/>
                    </a:lnTo>
                    <a:lnTo>
                      <a:pt x="500" y="729"/>
                    </a:lnTo>
                    <a:lnTo>
                      <a:pt x="507" y="732"/>
                    </a:lnTo>
                    <a:lnTo>
                      <a:pt x="507" y="738"/>
                    </a:lnTo>
                    <a:lnTo>
                      <a:pt x="500" y="735"/>
                    </a:lnTo>
                    <a:lnTo>
                      <a:pt x="495" y="738"/>
                    </a:lnTo>
                    <a:lnTo>
                      <a:pt x="507" y="750"/>
                    </a:lnTo>
                    <a:lnTo>
                      <a:pt x="530" y="741"/>
                    </a:lnTo>
                    <a:lnTo>
                      <a:pt x="537" y="744"/>
                    </a:lnTo>
                    <a:lnTo>
                      <a:pt x="542" y="733"/>
                    </a:lnTo>
                    <a:lnTo>
                      <a:pt x="546" y="732"/>
                    </a:lnTo>
                    <a:lnTo>
                      <a:pt x="546" y="720"/>
                    </a:lnTo>
                    <a:lnTo>
                      <a:pt x="551" y="735"/>
                    </a:lnTo>
                    <a:lnTo>
                      <a:pt x="561" y="745"/>
                    </a:lnTo>
                    <a:lnTo>
                      <a:pt x="567" y="747"/>
                    </a:lnTo>
                    <a:lnTo>
                      <a:pt x="563" y="735"/>
                    </a:lnTo>
                    <a:lnTo>
                      <a:pt x="560" y="730"/>
                    </a:lnTo>
                    <a:lnTo>
                      <a:pt x="560" y="720"/>
                    </a:lnTo>
                    <a:lnTo>
                      <a:pt x="561" y="717"/>
                    </a:lnTo>
                    <a:lnTo>
                      <a:pt x="561" y="699"/>
                    </a:lnTo>
                    <a:lnTo>
                      <a:pt x="567" y="711"/>
                    </a:lnTo>
                    <a:lnTo>
                      <a:pt x="566" y="721"/>
                    </a:lnTo>
                    <a:lnTo>
                      <a:pt x="578" y="744"/>
                    </a:lnTo>
                    <a:lnTo>
                      <a:pt x="585" y="742"/>
                    </a:lnTo>
                    <a:lnTo>
                      <a:pt x="585" y="726"/>
                    </a:lnTo>
                    <a:lnTo>
                      <a:pt x="599" y="738"/>
                    </a:lnTo>
                    <a:lnTo>
                      <a:pt x="603" y="753"/>
                    </a:lnTo>
                    <a:lnTo>
                      <a:pt x="609" y="759"/>
                    </a:lnTo>
                    <a:lnTo>
                      <a:pt x="617" y="751"/>
                    </a:lnTo>
                    <a:lnTo>
                      <a:pt x="624" y="757"/>
                    </a:lnTo>
                    <a:lnTo>
                      <a:pt x="638" y="757"/>
                    </a:lnTo>
                    <a:lnTo>
                      <a:pt x="609" y="723"/>
                    </a:lnTo>
                    <a:lnTo>
                      <a:pt x="615" y="711"/>
                    </a:lnTo>
                    <a:lnTo>
                      <a:pt x="605" y="700"/>
                    </a:lnTo>
                    <a:lnTo>
                      <a:pt x="617" y="690"/>
                    </a:lnTo>
                    <a:lnTo>
                      <a:pt x="611" y="669"/>
                    </a:lnTo>
                    <a:lnTo>
                      <a:pt x="603" y="667"/>
                    </a:lnTo>
                    <a:lnTo>
                      <a:pt x="602" y="651"/>
                    </a:lnTo>
                    <a:lnTo>
                      <a:pt x="591" y="637"/>
                    </a:lnTo>
                    <a:lnTo>
                      <a:pt x="602" y="642"/>
                    </a:lnTo>
                    <a:lnTo>
                      <a:pt x="611" y="655"/>
                    </a:lnTo>
                    <a:lnTo>
                      <a:pt x="609" y="661"/>
                    </a:lnTo>
                    <a:lnTo>
                      <a:pt x="615" y="661"/>
                    </a:lnTo>
                    <a:lnTo>
                      <a:pt x="612" y="666"/>
                    </a:lnTo>
                    <a:lnTo>
                      <a:pt x="617" y="676"/>
                    </a:lnTo>
                    <a:lnTo>
                      <a:pt x="629" y="675"/>
                    </a:lnTo>
                    <a:close/>
                  </a:path>
                </a:pathLst>
              </a:custGeom>
              <a:grp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79" name="Freeform 272">
                <a:extLst>
                  <a:ext uri="{FF2B5EF4-FFF2-40B4-BE49-F238E27FC236}">
                    <a16:creationId xmlns:a16="http://schemas.microsoft.com/office/drawing/2014/main" id="{280463EF-C124-5815-CF40-C2F888CD186D}"/>
                  </a:ext>
                </a:extLst>
              </p:cNvPr>
              <p:cNvSpPr>
                <a:spLocks/>
              </p:cNvSpPr>
              <p:nvPr/>
            </p:nvSpPr>
            <p:spPr bwMode="auto">
              <a:xfrm>
                <a:off x="2650" y="1870"/>
                <a:ext cx="389" cy="778"/>
              </a:xfrm>
              <a:custGeom>
                <a:avLst/>
                <a:gdLst>
                  <a:gd name="T0" fmla="*/ 0 w 1166"/>
                  <a:gd name="T1" fmla="*/ 0 h 2334"/>
                  <a:gd name="T2" fmla="*/ 0 w 1166"/>
                  <a:gd name="T3" fmla="*/ 0 h 2334"/>
                  <a:gd name="T4" fmla="*/ 0 w 1166"/>
                  <a:gd name="T5" fmla="*/ 0 h 2334"/>
                  <a:gd name="T6" fmla="*/ 0 w 1166"/>
                  <a:gd name="T7" fmla="*/ 0 h 2334"/>
                  <a:gd name="T8" fmla="*/ 0 w 1166"/>
                  <a:gd name="T9" fmla="*/ 0 h 2334"/>
                  <a:gd name="T10" fmla="*/ 0 w 1166"/>
                  <a:gd name="T11" fmla="*/ 0 h 2334"/>
                  <a:gd name="T12" fmla="*/ 0 w 1166"/>
                  <a:gd name="T13" fmla="*/ 0 h 2334"/>
                  <a:gd name="T14" fmla="*/ 0 w 1166"/>
                  <a:gd name="T15" fmla="*/ 0 h 2334"/>
                  <a:gd name="T16" fmla="*/ 0 w 1166"/>
                  <a:gd name="T17" fmla="*/ 0 h 2334"/>
                  <a:gd name="T18" fmla="*/ 0 w 1166"/>
                  <a:gd name="T19" fmla="*/ 0 h 2334"/>
                  <a:gd name="T20" fmla="*/ 0 w 1166"/>
                  <a:gd name="T21" fmla="*/ 0 h 2334"/>
                  <a:gd name="T22" fmla="*/ 0 w 1166"/>
                  <a:gd name="T23" fmla="*/ 0 h 2334"/>
                  <a:gd name="T24" fmla="*/ 0 w 1166"/>
                  <a:gd name="T25" fmla="*/ 0 h 2334"/>
                  <a:gd name="T26" fmla="*/ 0 w 1166"/>
                  <a:gd name="T27" fmla="*/ 0 h 2334"/>
                  <a:gd name="T28" fmla="*/ 0 w 1166"/>
                  <a:gd name="T29" fmla="*/ 0 h 2334"/>
                  <a:gd name="T30" fmla="*/ 0 w 1166"/>
                  <a:gd name="T31" fmla="*/ 0 h 2334"/>
                  <a:gd name="T32" fmla="*/ 0 w 1166"/>
                  <a:gd name="T33" fmla="*/ 0 h 2334"/>
                  <a:gd name="T34" fmla="*/ 0 w 1166"/>
                  <a:gd name="T35" fmla="*/ 0 h 2334"/>
                  <a:gd name="T36" fmla="*/ 0 w 1166"/>
                  <a:gd name="T37" fmla="*/ 0 h 2334"/>
                  <a:gd name="T38" fmla="*/ 0 w 1166"/>
                  <a:gd name="T39" fmla="*/ 0 h 2334"/>
                  <a:gd name="T40" fmla="*/ 0 w 1166"/>
                  <a:gd name="T41" fmla="*/ 0 h 2334"/>
                  <a:gd name="T42" fmla="*/ 0 w 1166"/>
                  <a:gd name="T43" fmla="*/ 0 h 2334"/>
                  <a:gd name="T44" fmla="*/ 0 w 1166"/>
                  <a:gd name="T45" fmla="*/ 0 h 2334"/>
                  <a:gd name="T46" fmla="*/ 0 w 1166"/>
                  <a:gd name="T47" fmla="*/ 0 h 2334"/>
                  <a:gd name="T48" fmla="*/ 0 w 1166"/>
                  <a:gd name="T49" fmla="*/ 0 h 2334"/>
                  <a:gd name="T50" fmla="*/ 0 w 1166"/>
                  <a:gd name="T51" fmla="*/ 0 h 2334"/>
                  <a:gd name="T52" fmla="*/ 0 w 1166"/>
                  <a:gd name="T53" fmla="*/ 0 h 2334"/>
                  <a:gd name="T54" fmla="*/ 0 w 1166"/>
                  <a:gd name="T55" fmla="*/ 0 h 2334"/>
                  <a:gd name="T56" fmla="*/ 0 w 1166"/>
                  <a:gd name="T57" fmla="*/ 0 h 2334"/>
                  <a:gd name="T58" fmla="*/ 0 w 1166"/>
                  <a:gd name="T59" fmla="*/ 0 h 2334"/>
                  <a:gd name="T60" fmla="*/ 0 w 1166"/>
                  <a:gd name="T61" fmla="*/ 0 h 2334"/>
                  <a:gd name="T62" fmla="*/ 0 w 1166"/>
                  <a:gd name="T63" fmla="*/ 0 h 2334"/>
                  <a:gd name="T64" fmla="*/ 0 w 1166"/>
                  <a:gd name="T65" fmla="*/ 0 h 2334"/>
                  <a:gd name="T66" fmla="*/ 0 w 1166"/>
                  <a:gd name="T67" fmla="*/ 0 h 2334"/>
                  <a:gd name="T68" fmla="*/ 0 w 1166"/>
                  <a:gd name="T69" fmla="*/ 0 h 2334"/>
                  <a:gd name="T70" fmla="*/ 0 w 1166"/>
                  <a:gd name="T71" fmla="*/ 0 h 2334"/>
                  <a:gd name="T72" fmla="*/ 0 w 1166"/>
                  <a:gd name="T73" fmla="*/ 0 h 2334"/>
                  <a:gd name="T74" fmla="*/ 0 w 1166"/>
                  <a:gd name="T75" fmla="*/ 0 h 2334"/>
                  <a:gd name="T76" fmla="*/ 0 w 1166"/>
                  <a:gd name="T77" fmla="*/ 0 h 2334"/>
                  <a:gd name="T78" fmla="*/ 0 w 1166"/>
                  <a:gd name="T79" fmla="*/ 0 h 2334"/>
                  <a:gd name="T80" fmla="*/ 0 w 1166"/>
                  <a:gd name="T81" fmla="*/ 0 h 2334"/>
                  <a:gd name="T82" fmla="*/ 0 w 1166"/>
                  <a:gd name="T83" fmla="*/ 0 h 2334"/>
                  <a:gd name="T84" fmla="*/ 0 w 1166"/>
                  <a:gd name="T85" fmla="*/ 0 h 2334"/>
                  <a:gd name="T86" fmla="*/ 0 w 1166"/>
                  <a:gd name="T87" fmla="*/ 0 h 2334"/>
                  <a:gd name="T88" fmla="*/ 0 w 1166"/>
                  <a:gd name="T89" fmla="*/ 0 h 2334"/>
                  <a:gd name="T90" fmla="*/ 0 w 1166"/>
                  <a:gd name="T91" fmla="*/ 0 h 2334"/>
                  <a:gd name="T92" fmla="*/ 0 w 1166"/>
                  <a:gd name="T93" fmla="*/ 0 h 2334"/>
                  <a:gd name="T94" fmla="*/ 0 w 1166"/>
                  <a:gd name="T95" fmla="*/ 0 h 2334"/>
                  <a:gd name="T96" fmla="*/ 0 w 1166"/>
                  <a:gd name="T97" fmla="*/ 0 h 2334"/>
                  <a:gd name="T98" fmla="*/ 0 w 1166"/>
                  <a:gd name="T99" fmla="*/ 0 h 2334"/>
                  <a:gd name="T100" fmla="*/ 0 w 1166"/>
                  <a:gd name="T101" fmla="*/ 0 h 2334"/>
                  <a:gd name="T102" fmla="*/ 0 w 1166"/>
                  <a:gd name="T103" fmla="*/ 0 h 2334"/>
                  <a:gd name="T104" fmla="*/ 0 w 1166"/>
                  <a:gd name="T105" fmla="*/ 0 h 2334"/>
                  <a:gd name="T106" fmla="*/ 0 w 1166"/>
                  <a:gd name="T107" fmla="*/ 0 h 2334"/>
                  <a:gd name="T108" fmla="*/ 0 w 1166"/>
                  <a:gd name="T109" fmla="*/ 0 h 2334"/>
                  <a:gd name="T110" fmla="*/ 0 w 1166"/>
                  <a:gd name="T111" fmla="*/ 0 h 2334"/>
                  <a:gd name="T112" fmla="*/ 0 w 1166"/>
                  <a:gd name="T113" fmla="*/ 0 h 2334"/>
                  <a:gd name="T114" fmla="*/ 0 w 1166"/>
                  <a:gd name="T115" fmla="*/ 0 h 2334"/>
                  <a:gd name="T116" fmla="*/ 0 w 1166"/>
                  <a:gd name="T117" fmla="*/ 0 h 2334"/>
                  <a:gd name="T118" fmla="*/ 0 w 1166"/>
                  <a:gd name="T119" fmla="*/ 0 h 2334"/>
                  <a:gd name="T120" fmla="*/ 0 w 1166"/>
                  <a:gd name="T121" fmla="*/ 0 h 2334"/>
                  <a:gd name="T122" fmla="*/ 0 w 1166"/>
                  <a:gd name="T123" fmla="*/ 0 h 2334"/>
                  <a:gd name="T124" fmla="*/ 0 w 1166"/>
                  <a:gd name="T125" fmla="*/ 0 h 23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66" h="2334">
                    <a:moveTo>
                      <a:pt x="912" y="1319"/>
                    </a:moveTo>
                    <a:lnTo>
                      <a:pt x="914" y="1331"/>
                    </a:lnTo>
                    <a:lnTo>
                      <a:pt x="918" y="1329"/>
                    </a:lnTo>
                    <a:lnTo>
                      <a:pt x="921" y="1335"/>
                    </a:lnTo>
                    <a:lnTo>
                      <a:pt x="926" y="1338"/>
                    </a:lnTo>
                    <a:lnTo>
                      <a:pt x="927" y="1343"/>
                    </a:lnTo>
                    <a:lnTo>
                      <a:pt x="923" y="1350"/>
                    </a:lnTo>
                    <a:lnTo>
                      <a:pt x="921" y="1362"/>
                    </a:lnTo>
                    <a:lnTo>
                      <a:pt x="918" y="1365"/>
                    </a:lnTo>
                    <a:lnTo>
                      <a:pt x="914" y="1361"/>
                    </a:lnTo>
                    <a:lnTo>
                      <a:pt x="878" y="1364"/>
                    </a:lnTo>
                    <a:lnTo>
                      <a:pt x="876" y="1371"/>
                    </a:lnTo>
                    <a:lnTo>
                      <a:pt x="873" y="1377"/>
                    </a:lnTo>
                    <a:lnTo>
                      <a:pt x="876" y="1380"/>
                    </a:lnTo>
                    <a:lnTo>
                      <a:pt x="879" y="1379"/>
                    </a:lnTo>
                    <a:lnTo>
                      <a:pt x="887" y="1382"/>
                    </a:lnTo>
                    <a:lnTo>
                      <a:pt x="891" y="1388"/>
                    </a:lnTo>
                    <a:lnTo>
                      <a:pt x="879" y="1398"/>
                    </a:lnTo>
                    <a:lnTo>
                      <a:pt x="884" y="1412"/>
                    </a:lnTo>
                    <a:lnTo>
                      <a:pt x="891" y="1410"/>
                    </a:lnTo>
                    <a:lnTo>
                      <a:pt x="893" y="1425"/>
                    </a:lnTo>
                    <a:lnTo>
                      <a:pt x="908" y="1437"/>
                    </a:lnTo>
                    <a:lnTo>
                      <a:pt x="900" y="1448"/>
                    </a:lnTo>
                    <a:lnTo>
                      <a:pt x="897" y="1452"/>
                    </a:lnTo>
                    <a:lnTo>
                      <a:pt x="900" y="1457"/>
                    </a:lnTo>
                    <a:lnTo>
                      <a:pt x="888" y="1458"/>
                    </a:lnTo>
                    <a:lnTo>
                      <a:pt x="885" y="1463"/>
                    </a:lnTo>
                    <a:lnTo>
                      <a:pt x="882" y="1475"/>
                    </a:lnTo>
                    <a:lnTo>
                      <a:pt x="887" y="1488"/>
                    </a:lnTo>
                    <a:lnTo>
                      <a:pt x="887" y="1500"/>
                    </a:lnTo>
                    <a:lnTo>
                      <a:pt x="881" y="1512"/>
                    </a:lnTo>
                    <a:lnTo>
                      <a:pt x="873" y="1515"/>
                    </a:lnTo>
                    <a:lnTo>
                      <a:pt x="872" y="1517"/>
                    </a:lnTo>
                    <a:lnTo>
                      <a:pt x="882" y="1526"/>
                    </a:lnTo>
                    <a:lnTo>
                      <a:pt x="872" y="1539"/>
                    </a:lnTo>
                    <a:lnTo>
                      <a:pt x="867" y="1535"/>
                    </a:lnTo>
                    <a:lnTo>
                      <a:pt x="872" y="1527"/>
                    </a:lnTo>
                    <a:lnTo>
                      <a:pt x="867" y="1526"/>
                    </a:lnTo>
                    <a:lnTo>
                      <a:pt x="863" y="1529"/>
                    </a:lnTo>
                    <a:lnTo>
                      <a:pt x="855" y="1526"/>
                    </a:lnTo>
                    <a:lnTo>
                      <a:pt x="842" y="1533"/>
                    </a:lnTo>
                    <a:lnTo>
                      <a:pt x="831" y="1542"/>
                    </a:lnTo>
                    <a:lnTo>
                      <a:pt x="825" y="1544"/>
                    </a:lnTo>
                    <a:lnTo>
                      <a:pt x="821" y="1544"/>
                    </a:lnTo>
                    <a:lnTo>
                      <a:pt x="815" y="1529"/>
                    </a:lnTo>
                    <a:lnTo>
                      <a:pt x="813" y="1523"/>
                    </a:lnTo>
                    <a:lnTo>
                      <a:pt x="809" y="1520"/>
                    </a:lnTo>
                    <a:lnTo>
                      <a:pt x="804" y="1520"/>
                    </a:lnTo>
                    <a:lnTo>
                      <a:pt x="807" y="1511"/>
                    </a:lnTo>
                    <a:lnTo>
                      <a:pt x="801" y="1509"/>
                    </a:lnTo>
                    <a:lnTo>
                      <a:pt x="780" y="1508"/>
                    </a:lnTo>
                    <a:lnTo>
                      <a:pt x="764" y="1508"/>
                    </a:lnTo>
                    <a:lnTo>
                      <a:pt x="759" y="1511"/>
                    </a:lnTo>
                    <a:lnTo>
                      <a:pt x="759" y="1523"/>
                    </a:lnTo>
                    <a:lnTo>
                      <a:pt x="753" y="1532"/>
                    </a:lnTo>
                    <a:lnTo>
                      <a:pt x="744" y="1533"/>
                    </a:lnTo>
                    <a:lnTo>
                      <a:pt x="740" y="1530"/>
                    </a:lnTo>
                    <a:lnTo>
                      <a:pt x="729" y="1529"/>
                    </a:lnTo>
                    <a:lnTo>
                      <a:pt x="716" y="1533"/>
                    </a:lnTo>
                    <a:lnTo>
                      <a:pt x="705" y="1536"/>
                    </a:lnTo>
                    <a:lnTo>
                      <a:pt x="699" y="1532"/>
                    </a:lnTo>
                    <a:lnTo>
                      <a:pt x="678" y="1530"/>
                    </a:lnTo>
                    <a:lnTo>
                      <a:pt x="680" y="1541"/>
                    </a:lnTo>
                    <a:lnTo>
                      <a:pt x="680" y="1545"/>
                    </a:lnTo>
                    <a:lnTo>
                      <a:pt x="675" y="1551"/>
                    </a:lnTo>
                    <a:lnTo>
                      <a:pt x="666" y="1550"/>
                    </a:lnTo>
                    <a:lnTo>
                      <a:pt x="665" y="1553"/>
                    </a:lnTo>
                    <a:lnTo>
                      <a:pt x="656" y="1551"/>
                    </a:lnTo>
                    <a:lnTo>
                      <a:pt x="651" y="1554"/>
                    </a:lnTo>
                    <a:lnTo>
                      <a:pt x="642" y="1553"/>
                    </a:lnTo>
                    <a:lnTo>
                      <a:pt x="639" y="1562"/>
                    </a:lnTo>
                    <a:lnTo>
                      <a:pt x="632" y="1571"/>
                    </a:lnTo>
                    <a:lnTo>
                      <a:pt x="630" y="1583"/>
                    </a:lnTo>
                    <a:lnTo>
                      <a:pt x="638" y="1587"/>
                    </a:lnTo>
                    <a:lnTo>
                      <a:pt x="659" y="1583"/>
                    </a:lnTo>
                    <a:lnTo>
                      <a:pt x="663" y="1580"/>
                    </a:lnTo>
                    <a:lnTo>
                      <a:pt x="672" y="1586"/>
                    </a:lnTo>
                    <a:lnTo>
                      <a:pt x="677" y="1586"/>
                    </a:lnTo>
                    <a:lnTo>
                      <a:pt x="677" y="1590"/>
                    </a:lnTo>
                    <a:lnTo>
                      <a:pt x="666" y="1598"/>
                    </a:lnTo>
                    <a:lnTo>
                      <a:pt x="663" y="1614"/>
                    </a:lnTo>
                    <a:lnTo>
                      <a:pt x="665" y="1619"/>
                    </a:lnTo>
                    <a:lnTo>
                      <a:pt x="665" y="1626"/>
                    </a:lnTo>
                    <a:lnTo>
                      <a:pt x="668" y="1631"/>
                    </a:lnTo>
                    <a:lnTo>
                      <a:pt x="666" y="1638"/>
                    </a:lnTo>
                    <a:lnTo>
                      <a:pt x="662" y="1646"/>
                    </a:lnTo>
                    <a:lnTo>
                      <a:pt x="662" y="1650"/>
                    </a:lnTo>
                    <a:lnTo>
                      <a:pt x="665" y="1650"/>
                    </a:lnTo>
                    <a:lnTo>
                      <a:pt x="677" y="1656"/>
                    </a:lnTo>
                    <a:lnTo>
                      <a:pt x="689" y="1674"/>
                    </a:lnTo>
                    <a:lnTo>
                      <a:pt x="692" y="1679"/>
                    </a:lnTo>
                    <a:lnTo>
                      <a:pt x="684" y="1683"/>
                    </a:lnTo>
                    <a:lnTo>
                      <a:pt x="674" y="1680"/>
                    </a:lnTo>
                    <a:lnTo>
                      <a:pt x="668" y="1692"/>
                    </a:lnTo>
                    <a:lnTo>
                      <a:pt x="657" y="1718"/>
                    </a:lnTo>
                    <a:lnTo>
                      <a:pt x="666" y="1725"/>
                    </a:lnTo>
                    <a:lnTo>
                      <a:pt x="675" y="1724"/>
                    </a:lnTo>
                    <a:lnTo>
                      <a:pt x="689" y="1716"/>
                    </a:lnTo>
                    <a:lnTo>
                      <a:pt x="696" y="1721"/>
                    </a:lnTo>
                    <a:lnTo>
                      <a:pt x="695" y="1730"/>
                    </a:lnTo>
                    <a:lnTo>
                      <a:pt x="707" y="1743"/>
                    </a:lnTo>
                    <a:lnTo>
                      <a:pt x="719" y="1751"/>
                    </a:lnTo>
                    <a:lnTo>
                      <a:pt x="723" y="1751"/>
                    </a:lnTo>
                    <a:lnTo>
                      <a:pt x="726" y="1761"/>
                    </a:lnTo>
                    <a:lnTo>
                      <a:pt x="735" y="1760"/>
                    </a:lnTo>
                    <a:lnTo>
                      <a:pt x="746" y="1767"/>
                    </a:lnTo>
                    <a:lnTo>
                      <a:pt x="750" y="1769"/>
                    </a:lnTo>
                    <a:lnTo>
                      <a:pt x="759" y="1782"/>
                    </a:lnTo>
                    <a:lnTo>
                      <a:pt x="764" y="1788"/>
                    </a:lnTo>
                    <a:lnTo>
                      <a:pt x="752" y="1803"/>
                    </a:lnTo>
                    <a:lnTo>
                      <a:pt x="749" y="1811"/>
                    </a:lnTo>
                    <a:lnTo>
                      <a:pt x="741" y="1814"/>
                    </a:lnTo>
                    <a:lnTo>
                      <a:pt x="747" y="1820"/>
                    </a:lnTo>
                    <a:lnTo>
                      <a:pt x="765" y="1830"/>
                    </a:lnTo>
                    <a:lnTo>
                      <a:pt x="768" y="1827"/>
                    </a:lnTo>
                    <a:lnTo>
                      <a:pt x="780" y="1835"/>
                    </a:lnTo>
                    <a:lnTo>
                      <a:pt x="792" y="1836"/>
                    </a:lnTo>
                    <a:lnTo>
                      <a:pt x="795" y="1838"/>
                    </a:lnTo>
                    <a:lnTo>
                      <a:pt x="789" y="1845"/>
                    </a:lnTo>
                    <a:lnTo>
                      <a:pt x="789" y="1853"/>
                    </a:lnTo>
                    <a:lnTo>
                      <a:pt x="797" y="1859"/>
                    </a:lnTo>
                    <a:lnTo>
                      <a:pt x="806" y="1865"/>
                    </a:lnTo>
                    <a:lnTo>
                      <a:pt x="803" y="1871"/>
                    </a:lnTo>
                    <a:lnTo>
                      <a:pt x="797" y="1872"/>
                    </a:lnTo>
                    <a:lnTo>
                      <a:pt x="789" y="1887"/>
                    </a:lnTo>
                    <a:lnTo>
                      <a:pt x="786" y="1892"/>
                    </a:lnTo>
                    <a:lnTo>
                      <a:pt x="777" y="1890"/>
                    </a:lnTo>
                    <a:lnTo>
                      <a:pt x="773" y="1905"/>
                    </a:lnTo>
                    <a:lnTo>
                      <a:pt x="771" y="1911"/>
                    </a:lnTo>
                    <a:lnTo>
                      <a:pt x="777" y="1911"/>
                    </a:lnTo>
                    <a:lnTo>
                      <a:pt x="780" y="1908"/>
                    </a:lnTo>
                    <a:lnTo>
                      <a:pt x="783" y="1911"/>
                    </a:lnTo>
                    <a:lnTo>
                      <a:pt x="785" y="1919"/>
                    </a:lnTo>
                    <a:lnTo>
                      <a:pt x="791" y="1920"/>
                    </a:lnTo>
                    <a:lnTo>
                      <a:pt x="795" y="1928"/>
                    </a:lnTo>
                    <a:lnTo>
                      <a:pt x="803" y="1931"/>
                    </a:lnTo>
                    <a:lnTo>
                      <a:pt x="801" y="1937"/>
                    </a:lnTo>
                    <a:lnTo>
                      <a:pt x="794" y="1947"/>
                    </a:lnTo>
                    <a:lnTo>
                      <a:pt x="795" y="1952"/>
                    </a:lnTo>
                    <a:lnTo>
                      <a:pt x="812" y="1956"/>
                    </a:lnTo>
                    <a:lnTo>
                      <a:pt x="812" y="1961"/>
                    </a:lnTo>
                    <a:lnTo>
                      <a:pt x="809" y="1967"/>
                    </a:lnTo>
                    <a:lnTo>
                      <a:pt x="800" y="1968"/>
                    </a:lnTo>
                    <a:lnTo>
                      <a:pt x="798" y="1977"/>
                    </a:lnTo>
                    <a:lnTo>
                      <a:pt x="791" y="1976"/>
                    </a:lnTo>
                    <a:lnTo>
                      <a:pt x="783" y="1979"/>
                    </a:lnTo>
                    <a:lnTo>
                      <a:pt x="776" y="1989"/>
                    </a:lnTo>
                    <a:lnTo>
                      <a:pt x="764" y="1991"/>
                    </a:lnTo>
                    <a:lnTo>
                      <a:pt x="752" y="1997"/>
                    </a:lnTo>
                    <a:lnTo>
                      <a:pt x="750" y="2007"/>
                    </a:lnTo>
                    <a:lnTo>
                      <a:pt x="758" y="2009"/>
                    </a:lnTo>
                    <a:lnTo>
                      <a:pt x="765" y="2012"/>
                    </a:lnTo>
                    <a:lnTo>
                      <a:pt x="768" y="2016"/>
                    </a:lnTo>
                    <a:lnTo>
                      <a:pt x="776" y="2018"/>
                    </a:lnTo>
                    <a:lnTo>
                      <a:pt x="776" y="2028"/>
                    </a:lnTo>
                    <a:lnTo>
                      <a:pt x="780" y="2030"/>
                    </a:lnTo>
                    <a:lnTo>
                      <a:pt x="803" y="2028"/>
                    </a:lnTo>
                    <a:lnTo>
                      <a:pt x="800" y="2040"/>
                    </a:lnTo>
                    <a:lnTo>
                      <a:pt x="797" y="2045"/>
                    </a:lnTo>
                    <a:lnTo>
                      <a:pt x="789" y="2045"/>
                    </a:lnTo>
                    <a:lnTo>
                      <a:pt x="777" y="2040"/>
                    </a:lnTo>
                    <a:lnTo>
                      <a:pt x="776" y="2045"/>
                    </a:lnTo>
                    <a:lnTo>
                      <a:pt x="774" y="2057"/>
                    </a:lnTo>
                    <a:lnTo>
                      <a:pt x="767" y="2064"/>
                    </a:lnTo>
                    <a:lnTo>
                      <a:pt x="773" y="2075"/>
                    </a:lnTo>
                    <a:lnTo>
                      <a:pt x="776" y="2088"/>
                    </a:lnTo>
                    <a:lnTo>
                      <a:pt x="794" y="2093"/>
                    </a:lnTo>
                    <a:lnTo>
                      <a:pt x="795" y="2082"/>
                    </a:lnTo>
                    <a:lnTo>
                      <a:pt x="801" y="2076"/>
                    </a:lnTo>
                    <a:lnTo>
                      <a:pt x="813" y="2076"/>
                    </a:lnTo>
                    <a:lnTo>
                      <a:pt x="818" y="2072"/>
                    </a:lnTo>
                    <a:lnTo>
                      <a:pt x="831" y="2081"/>
                    </a:lnTo>
                    <a:lnTo>
                      <a:pt x="836" y="2082"/>
                    </a:lnTo>
                    <a:lnTo>
                      <a:pt x="842" y="2088"/>
                    </a:lnTo>
                    <a:lnTo>
                      <a:pt x="857" y="2085"/>
                    </a:lnTo>
                    <a:lnTo>
                      <a:pt x="867" y="2087"/>
                    </a:lnTo>
                    <a:lnTo>
                      <a:pt x="878" y="2094"/>
                    </a:lnTo>
                    <a:lnTo>
                      <a:pt x="882" y="2108"/>
                    </a:lnTo>
                    <a:lnTo>
                      <a:pt x="897" y="2102"/>
                    </a:lnTo>
                    <a:lnTo>
                      <a:pt x="909" y="2106"/>
                    </a:lnTo>
                    <a:lnTo>
                      <a:pt x="911" y="2109"/>
                    </a:lnTo>
                    <a:lnTo>
                      <a:pt x="908" y="2126"/>
                    </a:lnTo>
                    <a:lnTo>
                      <a:pt x="906" y="2147"/>
                    </a:lnTo>
                    <a:lnTo>
                      <a:pt x="906" y="2154"/>
                    </a:lnTo>
                    <a:lnTo>
                      <a:pt x="915" y="2156"/>
                    </a:lnTo>
                    <a:lnTo>
                      <a:pt x="941" y="2156"/>
                    </a:lnTo>
                    <a:lnTo>
                      <a:pt x="954" y="2153"/>
                    </a:lnTo>
                    <a:lnTo>
                      <a:pt x="962" y="2153"/>
                    </a:lnTo>
                    <a:lnTo>
                      <a:pt x="966" y="2156"/>
                    </a:lnTo>
                    <a:lnTo>
                      <a:pt x="977" y="2172"/>
                    </a:lnTo>
                    <a:lnTo>
                      <a:pt x="990" y="2177"/>
                    </a:lnTo>
                    <a:lnTo>
                      <a:pt x="1004" y="2183"/>
                    </a:lnTo>
                    <a:lnTo>
                      <a:pt x="1002" y="2195"/>
                    </a:lnTo>
                    <a:lnTo>
                      <a:pt x="998" y="2207"/>
                    </a:lnTo>
                    <a:lnTo>
                      <a:pt x="998" y="2217"/>
                    </a:lnTo>
                    <a:lnTo>
                      <a:pt x="996" y="2225"/>
                    </a:lnTo>
                    <a:lnTo>
                      <a:pt x="984" y="2238"/>
                    </a:lnTo>
                    <a:lnTo>
                      <a:pt x="983" y="2244"/>
                    </a:lnTo>
                    <a:lnTo>
                      <a:pt x="986" y="2250"/>
                    </a:lnTo>
                    <a:lnTo>
                      <a:pt x="996" y="2252"/>
                    </a:lnTo>
                    <a:lnTo>
                      <a:pt x="998" y="2255"/>
                    </a:lnTo>
                    <a:lnTo>
                      <a:pt x="996" y="2261"/>
                    </a:lnTo>
                    <a:lnTo>
                      <a:pt x="990" y="2264"/>
                    </a:lnTo>
                    <a:lnTo>
                      <a:pt x="972" y="2274"/>
                    </a:lnTo>
                    <a:lnTo>
                      <a:pt x="972" y="2285"/>
                    </a:lnTo>
                    <a:lnTo>
                      <a:pt x="969" y="2295"/>
                    </a:lnTo>
                    <a:lnTo>
                      <a:pt x="969" y="2313"/>
                    </a:lnTo>
                    <a:lnTo>
                      <a:pt x="963" y="2319"/>
                    </a:lnTo>
                    <a:lnTo>
                      <a:pt x="951" y="2319"/>
                    </a:lnTo>
                    <a:lnTo>
                      <a:pt x="942" y="2319"/>
                    </a:lnTo>
                    <a:lnTo>
                      <a:pt x="924" y="2295"/>
                    </a:lnTo>
                    <a:lnTo>
                      <a:pt x="912" y="2297"/>
                    </a:lnTo>
                    <a:lnTo>
                      <a:pt x="906" y="2303"/>
                    </a:lnTo>
                    <a:lnTo>
                      <a:pt x="891" y="2318"/>
                    </a:lnTo>
                    <a:lnTo>
                      <a:pt x="881" y="2334"/>
                    </a:lnTo>
                    <a:lnTo>
                      <a:pt x="873" y="2334"/>
                    </a:lnTo>
                    <a:lnTo>
                      <a:pt x="869" y="2328"/>
                    </a:lnTo>
                    <a:lnTo>
                      <a:pt x="861" y="2328"/>
                    </a:lnTo>
                    <a:lnTo>
                      <a:pt x="837" y="2324"/>
                    </a:lnTo>
                    <a:lnTo>
                      <a:pt x="830" y="2321"/>
                    </a:lnTo>
                    <a:lnTo>
                      <a:pt x="824" y="2315"/>
                    </a:lnTo>
                    <a:lnTo>
                      <a:pt x="821" y="2310"/>
                    </a:lnTo>
                    <a:lnTo>
                      <a:pt x="816" y="2309"/>
                    </a:lnTo>
                    <a:lnTo>
                      <a:pt x="812" y="2310"/>
                    </a:lnTo>
                    <a:lnTo>
                      <a:pt x="798" y="2312"/>
                    </a:lnTo>
                    <a:lnTo>
                      <a:pt x="782" y="2286"/>
                    </a:lnTo>
                    <a:lnTo>
                      <a:pt x="782" y="2282"/>
                    </a:lnTo>
                    <a:lnTo>
                      <a:pt x="776" y="2280"/>
                    </a:lnTo>
                    <a:lnTo>
                      <a:pt x="773" y="2270"/>
                    </a:lnTo>
                    <a:lnTo>
                      <a:pt x="755" y="2264"/>
                    </a:lnTo>
                    <a:lnTo>
                      <a:pt x="743" y="2276"/>
                    </a:lnTo>
                    <a:lnTo>
                      <a:pt x="737" y="2252"/>
                    </a:lnTo>
                    <a:lnTo>
                      <a:pt x="728" y="2244"/>
                    </a:lnTo>
                    <a:lnTo>
                      <a:pt x="707" y="2238"/>
                    </a:lnTo>
                    <a:lnTo>
                      <a:pt x="687" y="2265"/>
                    </a:lnTo>
                    <a:lnTo>
                      <a:pt x="684" y="2259"/>
                    </a:lnTo>
                    <a:lnTo>
                      <a:pt x="675" y="2223"/>
                    </a:lnTo>
                    <a:lnTo>
                      <a:pt x="672" y="2213"/>
                    </a:lnTo>
                    <a:lnTo>
                      <a:pt x="665" y="2205"/>
                    </a:lnTo>
                    <a:lnTo>
                      <a:pt x="663" y="2196"/>
                    </a:lnTo>
                    <a:lnTo>
                      <a:pt x="666" y="2175"/>
                    </a:lnTo>
                    <a:lnTo>
                      <a:pt x="672" y="2165"/>
                    </a:lnTo>
                    <a:lnTo>
                      <a:pt x="674" y="2154"/>
                    </a:lnTo>
                    <a:lnTo>
                      <a:pt x="660" y="2150"/>
                    </a:lnTo>
                    <a:lnTo>
                      <a:pt x="659" y="2145"/>
                    </a:lnTo>
                    <a:lnTo>
                      <a:pt x="663" y="2135"/>
                    </a:lnTo>
                    <a:lnTo>
                      <a:pt x="666" y="2124"/>
                    </a:lnTo>
                    <a:lnTo>
                      <a:pt x="656" y="2117"/>
                    </a:lnTo>
                    <a:lnTo>
                      <a:pt x="648" y="2112"/>
                    </a:lnTo>
                    <a:lnTo>
                      <a:pt x="630" y="2103"/>
                    </a:lnTo>
                    <a:lnTo>
                      <a:pt x="615" y="2097"/>
                    </a:lnTo>
                    <a:lnTo>
                      <a:pt x="590" y="2106"/>
                    </a:lnTo>
                    <a:lnTo>
                      <a:pt x="561" y="2097"/>
                    </a:lnTo>
                    <a:lnTo>
                      <a:pt x="558" y="2094"/>
                    </a:lnTo>
                    <a:lnTo>
                      <a:pt x="552" y="2091"/>
                    </a:lnTo>
                    <a:lnTo>
                      <a:pt x="543" y="2094"/>
                    </a:lnTo>
                    <a:lnTo>
                      <a:pt x="540" y="2088"/>
                    </a:lnTo>
                    <a:lnTo>
                      <a:pt x="542" y="2070"/>
                    </a:lnTo>
                    <a:lnTo>
                      <a:pt x="545" y="2058"/>
                    </a:lnTo>
                    <a:lnTo>
                      <a:pt x="543" y="2052"/>
                    </a:lnTo>
                    <a:lnTo>
                      <a:pt x="536" y="2043"/>
                    </a:lnTo>
                    <a:lnTo>
                      <a:pt x="528" y="2039"/>
                    </a:lnTo>
                    <a:lnTo>
                      <a:pt x="524" y="2048"/>
                    </a:lnTo>
                    <a:lnTo>
                      <a:pt x="522" y="2055"/>
                    </a:lnTo>
                    <a:lnTo>
                      <a:pt x="522" y="2064"/>
                    </a:lnTo>
                    <a:lnTo>
                      <a:pt x="521" y="2066"/>
                    </a:lnTo>
                    <a:lnTo>
                      <a:pt x="510" y="2061"/>
                    </a:lnTo>
                    <a:lnTo>
                      <a:pt x="495" y="2069"/>
                    </a:lnTo>
                    <a:lnTo>
                      <a:pt x="486" y="2070"/>
                    </a:lnTo>
                    <a:lnTo>
                      <a:pt x="470" y="2063"/>
                    </a:lnTo>
                    <a:lnTo>
                      <a:pt x="440" y="2061"/>
                    </a:lnTo>
                    <a:lnTo>
                      <a:pt x="425" y="2061"/>
                    </a:lnTo>
                    <a:lnTo>
                      <a:pt x="417" y="2019"/>
                    </a:lnTo>
                    <a:lnTo>
                      <a:pt x="411" y="1976"/>
                    </a:lnTo>
                    <a:lnTo>
                      <a:pt x="402" y="1952"/>
                    </a:lnTo>
                    <a:lnTo>
                      <a:pt x="393" y="1935"/>
                    </a:lnTo>
                    <a:lnTo>
                      <a:pt x="381" y="1914"/>
                    </a:lnTo>
                    <a:lnTo>
                      <a:pt x="374" y="1905"/>
                    </a:lnTo>
                    <a:lnTo>
                      <a:pt x="356" y="1880"/>
                    </a:lnTo>
                    <a:lnTo>
                      <a:pt x="317" y="1845"/>
                    </a:lnTo>
                    <a:lnTo>
                      <a:pt x="290" y="1827"/>
                    </a:lnTo>
                    <a:lnTo>
                      <a:pt x="285" y="1830"/>
                    </a:lnTo>
                    <a:lnTo>
                      <a:pt x="273" y="1820"/>
                    </a:lnTo>
                    <a:lnTo>
                      <a:pt x="276" y="1811"/>
                    </a:lnTo>
                    <a:lnTo>
                      <a:pt x="269" y="1805"/>
                    </a:lnTo>
                    <a:lnTo>
                      <a:pt x="261" y="1796"/>
                    </a:lnTo>
                    <a:lnTo>
                      <a:pt x="261" y="1797"/>
                    </a:lnTo>
                    <a:lnTo>
                      <a:pt x="254" y="1796"/>
                    </a:lnTo>
                    <a:lnTo>
                      <a:pt x="246" y="1803"/>
                    </a:lnTo>
                    <a:lnTo>
                      <a:pt x="228" y="1793"/>
                    </a:lnTo>
                    <a:lnTo>
                      <a:pt x="228" y="1782"/>
                    </a:lnTo>
                    <a:lnTo>
                      <a:pt x="219" y="1779"/>
                    </a:lnTo>
                    <a:lnTo>
                      <a:pt x="218" y="1775"/>
                    </a:lnTo>
                    <a:lnTo>
                      <a:pt x="212" y="1773"/>
                    </a:lnTo>
                    <a:lnTo>
                      <a:pt x="212" y="1757"/>
                    </a:lnTo>
                    <a:lnTo>
                      <a:pt x="207" y="1746"/>
                    </a:lnTo>
                    <a:lnTo>
                      <a:pt x="194" y="1746"/>
                    </a:lnTo>
                    <a:lnTo>
                      <a:pt x="197" y="1733"/>
                    </a:lnTo>
                    <a:lnTo>
                      <a:pt x="183" y="1721"/>
                    </a:lnTo>
                    <a:lnTo>
                      <a:pt x="174" y="1727"/>
                    </a:lnTo>
                    <a:lnTo>
                      <a:pt x="165" y="1722"/>
                    </a:lnTo>
                    <a:lnTo>
                      <a:pt x="162" y="1713"/>
                    </a:lnTo>
                    <a:lnTo>
                      <a:pt x="156" y="1718"/>
                    </a:lnTo>
                    <a:lnTo>
                      <a:pt x="144" y="1707"/>
                    </a:lnTo>
                    <a:lnTo>
                      <a:pt x="135" y="1698"/>
                    </a:lnTo>
                    <a:lnTo>
                      <a:pt x="132" y="1701"/>
                    </a:lnTo>
                    <a:lnTo>
                      <a:pt x="123" y="1697"/>
                    </a:lnTo>
                    <a:lnTo>
                      <a:pt x="111" y="1694"/>
                    </a:lnTo>
                    <a:lnTo>
                      <a:pt x="84" y="1671"/>
                    </a:lnTo>
                    <a:lnTo>
                      <a:pt x="54" y="1652"/>
                    </a:lnTo>
                    <a:lnTo>
                      <a:pt x="47" y="1650"/>
                    </a:lnTo>
                    <a:lnTo>
                      <a:pt x="30" y="1668"/>
                    </a:lnTo>
                    <a:lnTo>
                      <a:pt x="14" y="1638"/>
                    </a:lnTo>
                    <a:lnTo>
                      <a:pt x="3" y="1616"/>
                    </a:lnTo>
                    <a:lnTo>
                      <a:pt x="3" y="1574"/>
                    </a:lnTo>
                    <a:lnTo>
                      <a:pt x="0" y="1526"/>
                    </a:lnTo>
                    <a:lnTo>
                      <a:pt x="33" y="1526"/>
                    </a:lnTo>
                    <a:lnTo>
                      <a:pt x="51" y="1520"/>
                    </a:lnTo>
                    <a:lnTo>
                      <a:pt x="65" y="1511"/>
                    </a:lnTo>
                    <a:lnTo>
                      <a:pt x="90" y="1521"/>
                    </a:lnTo>
                    <a:lnTo>
                      <a:pt x="84" y="1530"/>
                    </a:lnTo>
                    <a:lnTo>
                      <a:pt x="86" y="1535"/>
                    </a:lnTo>
                    <a:lnTo>
                      <a:pt x="93" y="1533"/>
                    </a:lnTo>
                    <a:lnTo>
                      <a:pt x="96" y="1539"/>
                    </a:lnTo>
                    <a:lnTo>
                      <a:pt x="104" y="1535"/>
                    </a:lnTo>
                    <a:lnTo>
                      <a:pt x="104" y="1530"/>
                    </a:lnTo>
                    <a:lnTo>
                      <a:pt x="105" y="1520"/>
                    </a:lnTo>
                    <a:lnTo>
                      <a:pt x="99" y="1517"/>
                    </a:lnTo>
                    <a:lnTo>
                      <a:pt x="93" y="1508"/>
                    </a:lnTo>
                    <a:lnTo>
                      <a:pt x="99" y="1497"/>
                    </a:lnTo>
                    <a:lnTo>
                      <a:pt x="87" y="1487"/>
                    </a:lnTo>
                    <a:lnTo>
                      <a:pt x="68" y="1472"/>
                    </a:lnTo>
                    <a:lnTo>
                      <a:pt x="68" y="1461"/>
                    </a:lnTo>
                    <a:lnTo>
                      <a:pt x="108" y="1452"/>
                    </a:lnTo>
                    <a:lnTo>
                      <a:pt x="119" y="1440"/>
                    </a:lnTo>
                    <a:lnTo>
                      <a:pt x="131" y="1424"/>
                    </a:lnTo>
                    <a:lnTo>
                      <a:pt x="138" y="1406"/>
                    </a:lnTo>
                    <a:lnTo>
                      <a:pt x="141" y="1400"/>
                    </a:lnTo>
                    <a:lnTo>
                      <a:pt x="146" y="1371"/>
                    </a:lnTo>
                    <a:lnTo>
                      <a:pt x="144" y="1362"/>
                    </a:lnTo>
                    <a:lnTo>
                      <a:pt x="129" y="1358"/>
                    </a:lnTo>
                    <a:lnTo>
                      <a:pt x="132" y="1346"/>
                    </a:lnTo>
                    <a:lnTo>
                      <a:pt x="149" y="1346"/>
                    </a:lnTo>
                    <a:lnTo>
                      <a:pt x="150" y="1338"/>
                    </a:lnTo>
                    <a:lnTo>
                      <a:pt x="150" y="1332"/>
                    </a:lnTo>
                    <a:lnTo>
                      <a:pt x="144" y="1328"/>
                    </a:lnTo>
                    <a:lnTo>
                      <a:pt x="125" y="1292"/>
                    </a:lnTo>
                    <a:lnTo>
                      <a:pt x="156" y="1287"/>
                    </a:lnTo>
                    <a:lnTo>
                      <a:pt x="164" y="1277"/>
                    </a:lnTo>
                    <a:lnTo>
                      <a:pt x="156" y="1257"/>
                    </a:lnTo>
                    <a:lnTo>
                      <a:pt x="158" y="1229"/>
                    </a:lnTo>
                    <a:lnTo>
                      <a:pt x="138" y="1218"/>
                    </a:lnTo>
                    <a:lnTo>
                      <a:pt x="131" y="1215"/>
                    </a:lnTo>
                    <a:lnTo>
                      <a:pt x="122" y="1176"/>
                    </a:lnTo>
                    <a:lnTo>
                      <a:pt x="120" y="1172"/>
                    </a:lnTo>
                    <a:lnTo>
                      <a:pt x="113" y="1164"/>
                    </a:lnTo>
                    <a:lnTo>
                      <a:pt x="101" y="1172"/>
                    </a:lnTo>
                    <a:lnTo>
                      <a:pt x="95" y="1164"/>
                    </a:lnTo>
                    <a:lnTo>
                      <a:pt x="84" y="1155"/>
                    </a:lnTo>
                    <a:lnTo>
                      <a:pt x="77" y="1140"/>
                    </a:lnTo>
                    <a:lnTo>
                      <a:pt x="74" y="1130"/>
                    </a:lnTo>
                    <a:lnTo>
                      <a:pt x="65" y="1128"/>
                    </a:lnTo>
                    <a:lnTo>
                      <a:pt x="60" y="1109"/>
                    </a:lnTo>
                    <a:lnTo>
                      <a:pt x="48" y="1116"/>
                    </a:lnTo>
                    <a:lnTo>
                      <a:pt x="36" y="1116"/>
                    </a:lnTo>
                    <a:lnTo>
                      <a:pt x="30" y="1109"/>
                    </a:lnTo>
                    <a:lnTo>
                      <a:pt x="23" y="1097"/>
                    </a:lnTo>
                    <a:lnTo>
                      <a:pt x="27" y="1074"/>
                    </a:lnTo>
                    <a:lnTo>
                      <a:pt x="35" y="1070"/>
                    </a:lnTo>
                    <a:lnTo>
                      <a:pt x="41" y="1062"/>
                    </a:lnTo>
                    <a:lnTo>
                      <a:pt x="36" y="1050"/>
                    </a:lnTo>
                    <a:lnTo>
                      <a:pt x="42" y="1037"/>
                    </a:lnTo>
                    <a:lnTo>
                      <a:pt x="51" y="1028"/>
                    </a:lnTo>
                    <a:lnTo>
                      <a:pt x="71" y="1016"/>
                    </a:lnTo>
                    <a:lnTo>
                      <a:pt x="80" y="1013"/>
                    </a:lnTo>
                    <a:lnTo>
                      <a:pt x="95" y="999"/>
                    </a:lnTo>
                    <a:lnTo>
                      <a:pt x="92" y="992"/>
                    </a:lnTo>
                    <a:lnTo>
                      <a:pt x="102" y="981"/>
                    </a:lnTo>
                    <a:lnTo>
                      <a:pt x="116" y="978"/>
                    </a:lnTo>
                    <a:lnTo>
                      <a:pt x="101" y="920"/>
                    </a:lnTo>
                    <a:lnTo>
                      <a:pt x="117" y="912"/>
                    </a:lnTo>
                    <a:lnTo>
                      <a:pt x="141" y="908"/>
                    </a:lnTo>
                    <a:lnTo>
                      <a:pt x="158" y="885"/>
                    </a:lnTo>
                    <a:lnTo>
                      <a:pt x="165" y="881"/>
                    </a:lnTo>
                    <a:lnTo>
                      <a:pt x="173" y="879"/>
                    </a:lnTo>
                    <a:lnTo>
                      <a:pt x="177" y="881"/>
                    </a:lnTo>
                    <a:lnTo>
                      <a:pt x="185" y="876"/>
                    </a:lnTo>
                    <a:lnTo>
                      <a:pt x="191" y="882"/>
                    </a:lnTo>
                    <a:lnTo>
                      <a:pt x="198" y="875"/>
                    </a:lnTo>
                    <a:lnTo>
                      <a:pt x="206" y="879"/>
                    </a:lnTo>
                    <a:lnTo>
                      <a:pt x="225" y="875"/>
                    </a:lnTo>
                    <a:lnTo>
                      <a:pt x="236" y="860"/>
                    </a:lnTo>
                    <a:lnTo>
                      <a:pt x="240" y="860"/>
                    </a:lnTo>
                    <a:lnTo>
                      <a:pt x="246" y="861"/>
                    </a:lnTo>
                    <a:lnTo>
                      <a:pt x="254" y="855"/>
                    </a:lnTo>
                    <a:lnTo>
                      <a:pt x="255" y="861"/>
                    </a:lnTo>
                    <a:lnTo>
                      <a:pt x="249" y="891"/>
                    </a:lnTo>
                    <a:lnTo>
                      <a:pt x="231" y="911"/>
                    </a:lnTo>
                    <a:lnTo>
                      <a:pt x="251" y="927"/>
                    </a:lnTo>
                    <a:lnTo>
                      <a:pt x="258" y="921"/>
                    </a:lnTo>
                    <a:lnTo>
                      <a:pt x="272" y="923"/>
                    </a:lnTo>
                    <a:lnTo>
                      <a:pt x="284" y="918"/>
                    </a:lnTo>
                    <a:lnTo>
                      <a:pt x="288" y="909"/>
                    </a:lnTo>
                    <a:lnTo>
                      <a:pt x="299" y="914"/>
                    </a:lnTo>
                    <a:lnTo>
                      <a:pt x="302" y="903"/>
                    </a:lnTo>
                    <a:lnTo>
                      <a:pt x="309" y="906"/>
                    </a:lnTo>
                    <a:lnTo>
                      <a:pt x="308" y="915"/>
                    </a:lnTo>
                    <a:lnTo>
                      <a:pt x="317" y="920"/>
                    </a:lnTo>
                    <a:lnTo>
                      <a:pt x="318" y="909"/>
                    </a:lnTo>
                    <a:lnTo>
                      <a:pt x="320" y="902"/>
                    </a:lnTo>
                    <a:lnTo>
                      <a:pt x="333" y="891"/>
                    </a:lnTo>
                    <a:lnTo>
                      <a:pt x="342" y="887"/>
                    </a:lnTo>
                    <a:lnTo>
                      <a:pt x="353" y="888"/>
                    </a:lnTo>
                    <a:lnTo>
                      <a:pt x="365" y="888"/>
                    </a:lnTo>
                    <a:lnTo>
                      <a:pt x="353" y="903"/>
                    </a:lnTo>
                    <a:lnTo>
                      <a:pt x="357" y="908"/>
                    </a:lnTo>
                    <a:lnTo>
                      <a:pt x="389" y="917"/>
                    </a:lnTo>
                    <a:lnTo>
                      <a:pt x="399" y="920"/>
                    </a:lnTo>
                    <a:lnTo>
                      <a:pt x="407" y="920"/>
                    </a:lnTo>
                    <a:lnTo>
                      <a:pt x="431" y="926"/>
                    </a:lnTo>
                    <a:lnTo>
                      <a:pt x="438" y="927"/>
                    </a:lnTo>
                    <a:lnTo>
                      <a:pt x="452" y="926"/>
                    </a:lnTo>
                    <a:lnTo>
                      <a:pt x="455" y="924"/>
                    </a:lnTo>
                    <a:lnTo>
                      <a:pt x="462" y="918"/>
                    </a:lnTo>
                    <a:lnTo>
                      <a:pt x="471" y="914"/>
                    </a:lnTo>
                    <a:lnTo>
                      <a:pt x="485" y="909"/>
                    </a:lnTo>
                    <a:lnTo>
                      <a:pt x="491" y="908"/>
                    </a:lnTo>
                    <a:lnTo>
                      <a:pt x="500" y="888"/>
                    </a:lnTo>
                    <a:lnTo>
                      <a:pt x="515" y="884"/>
                    </a:lnTo>
                    <a:lnTo>
                      <a:pt x="521" y="876"/>
                    </a:lnTo>
                    <a:lnTo>
                      <a:pt x="528" y="864"/>
                    </a:lnTo>
                    <a:lnTo>
                      <a:pt x="554" y="863"/>
                    </a:lnTo>
                    <a:lnTo>
                      <a:pt x="558" y="857"/>
                    </a:lnTo>
                    <a:lnTo>
                      <a:pt x="563" y="852"/>
                    </a:lnTo>
                    <a:lnTo>
                      <a:pt x="567" y="831"/>
                    </a:lnTo>
                    <a:lnTo>
                      <a:pt x="564" y="824"/>
                    </a:lnTo>
                    <a:lnTo>
                      <a:pt x="552" y="824"/>
                    </a:lnTo>
                    <a:lnTo>
                      <a:pt x="543" y="815"/>
                    </a:lnTo>
                    <a:lnTo>
                      <a:pt x="525" y="798"/>
                    </a:lnTo>
                    <a:lnTo>
                      <a:pt x="518" y="800"/>
                    </a:lnTo>
                    <a:lnTo>
                      <a:pt x="510" y="819"/>
                    </a:lnTo>
                    <a:lnTo>
                      <a:pt x="501" y="821"/>
                    </a:lnTo>
                    <a:lnTo>
                      <a:pt x="498" y="785"/>
                    </a:lnTo>
                    <a:lnTo>
                      <a:pt x="509" y="768"/>
                    </a:lnTo>
                    <a:lnTo>
                      <a:pt x="509" y="758"/>
                    </a:lnTo>
                    <a:lnTo>
                      <a:pt x="510" y="746"/>
                    </a:lnTo>
                    <a:lnTo>
                      <a:pt x="503" y="722"/>
                    </a:lnTo>
                    <a:lnTo>
                      <a:pt x="504" y="711"/>
                    </a:lnTo>
                    <a:lnTo>
                      <a:pt x="485" y="692"/>
                    </a:lnTo>
                    <a:lnTo>
                      <a:pt x="488" y="675"/>
                    </a:lnTo>
                    <a:lnTo>
                      <a:pt x="501" y="672"/>
                    </a:lnTo>
                    <a:lnTo>
                      <a:pt x="515" y="666"/>
                    </a:lnTo>
                    <a:lnTo>
                      <a:pt x="515" y="654"/>
                    </a:lnTo>
                    <a:lnTo>
                      <a:pt x="513" y="627"/>
                    </a:lnTo>
                    <a:lnTo>
                      <a:pt x="509" y="627"/>
                    </a:lnTo>
                    <a:lnTo>
                      <a:pt x="504" y="620"/>
                    </a:lnTo>
                    <a:lnTo>
                      <a:pt x="503" y="609"/>
                    </a:lnTo>
                    <a:lnTo>
                      <a:pt x="507" y="603"/>
                    </a:lnTo>
                    <a:lnTo>
                      <a:pt x="507" y="596"/>
                    </a:lnTo>
                    <a:lnTo>
                      <a:pt x="503" y="581"/>
                    </a:lnTo>
                    <a:lnTo>
                      <a:pt x="507" y="564"/>
                    </a:lnTo>
                    <a:lnTo>
                      <a:pt x="492" y="540"/>
                    </a:lnTo>
                    <a:lnTo>
                      <a:pt x="488" y="537"/>
                    </a:lnTo>
                    <a:lnTo>
                      <a:pt x="477" y="540"/>
                    </a:lnTo>
                    <a:lnTo>
                      <a:pt x="480" y="530"/>
                    </a:lnTo>
                    <a:lnTo>
                      <a:pt x="489" y="513"/>
                    </a:lnTo>
                    <a:lnTo>
                      <a:pt x="485" y="504"/>
                    </a:lnTo>
                    <a:lnTo>
                      <a:pt x="473" y="495"/>
                    </a:lnTo>
                    <a:lnTo>
                      <a:pt x="467" y="485"/>
                    </a:lnTo>
                    <a:lnTo>
                      <a:pt x="477" y="473"/>
                    </a:lnTo>
                    <a:lnTo>
                      <a:pt x="468" y="456"/>
                    </a:lnTo>
                    <a:lnTo>
                      <a:pt x="452" y="434"/>
                    </a:lnTo>
                    <a:lnTo>
                      <a:pt x="444" y="426"/>
                    </a:lnTo>
                    <a:lnTo>
                      <a:pt x="444" y="416"/>
                    </a:lnTo>
                    <a:lnTo>
                      <a:pt x="440" y="408"/>
                    </a:lnTo>
                    <a:lnTo>
                      <a:pt x="429" y="410"/>
                    </a:lnTo>
                    <a:lnTo>
                      <a:pt x="425" y="401"/>
                    </a:lnTo>
                    <a:lnTo>
                      <a:pt x="420" y="374"/>
                    </a:lnTo>
                    <a:lnTo>
                      <a:pt x="425" y="360"/>
                    </a:lnTo>
                    <a:lnTo>
                      <a:pt x="432" y="353"/>
                    </a:lnTo>
                    <a:lnTo>
                      <a:pt x="443" y="348"/>
                    </a:lnTo>
                    <a:lnTo>
                      <a:pt x="441" y="333"/>
                    </a:lnTo>
                    <a:lnTo>
                      <a:pt x="434" y="327"/>
                    </a:lnTo>
                    <a:lnTo>
                      <a:pt x="417" y="324"/>
                    </a:lnTo>
                    <a:lnTo>
                      <a:pt x="396" y="314"/>
                    </a:lnTo>
                    <a:lnTo>
                      <a:pt x="392" y="311"/>
                    </a:lnTo>
                    <a:lnTo>
                      <a:pt x="383" y="305"/>
                    </a:lnTo>
                    <a:lnTo>
                      <a:pt x="374" y="294"/>
                    </a:lnTo>
                    <a:lnTo>
                      <a:pt x="368" y="287"/>
                    </a:lnTo>
                    <a:lnTo>
                      <a:pt x="353" y="263"/>
                    </a:lnTo>
                    <a:lnTo>
                      <a:pt x="344" y="249"/>
                    </a:lnTo>
                    <a:lnTo>
                      <a:pt x="342" y="231"/>
                    </a:lnTo>
                    <a:lnTo>
                      <a:pt x="347" y="221"/>
                    </a:lnTo>
                    <a:lnTo>
                      <a:pt x="347" y="210"/>
                    </a:lnTo>
                    <a:lnTo>
                      <a:pt x="336" y="207"/>
                    </a:lnTo>
                    <a:lnTo>
                      <a:pt x="330" y="189"/>
                    </a:lnTo>
                    <a:lnTo>
                      <a:pt x="314" y="191"/>
                    </a:lnTo>
                    <a:lnTo>
                      <a:pt x="305" y="165"/>
                    </a:lnTo>
                    <a:lnTo>
                      <a:pt x="299" y="165"/>
                    </a:lnTo>
                    <a:lnTo>
                      <a:pt x="297" y="158"/>
                    </a:lnTo>
                    <a:lnTo>
                      <a:pt x="287" y="152"/>
                    </a:lnTo>
                    <a:lnTo>
                      <a:pt x="288" y="144"/>
                    </a:lnTo>
                    <a:lnTo>
                      <a:pt x="315" y="152"/>
                    </a:lnTo>
                    <a:lnTo>
                      <a:pt x="321" y="137"/>
                    </a:lnTo>
                    <a:lnTo>
                      <a:pt x="336" y="138"/>
                    </a:lnTo>
                    <a:lnTo>
                      <a:pt x="348" y="131"/>
                    </a:lnTo>
                    <a:lnTo>
                      <a:pt x="356" y="137"/>
                    </a:lnTo>
                    <a:lnTo>
                      <a:pt x="366" y="126"/>
                    </a:lnTo>
                    <a:lnTo>
                      <a:pt x="378" y="119"/>
                    </a:lnTo>
                    <a:lnTo>
                      <a:pt x="387" y="128"/>
                    </a:lnTo>
                    <a:lnTo>
                      <a:pt x="405" y="131"/>
                    </a:lnTo>
                    <a:lnTo>
                      <a:pt x="414" y="126"/>
                    </a:lnTo>
                    <a:lnTo>
                      <a:pt x="423" y="137"/>
                    </a:lnTo>
                    <a:lnTo>
                      <a:pt x="435" y="137"/>
                    </a:lnTo>
                    <a:lnTo>
                      <a:pt x="450" y="129"/>
                    </a:lnTo>
                    <a:lnTo>
                      <a:pt x="456" y="129"/>
                    </a:lnTo>
                    <a:lnTo>
                      <a:pt x="470" y="123"/>
                    </a:lnTo>
                    <a:lnTo>
                      <a:pt x="479" y="126"/>
                    </a:lnTo>
                    <a:lnTo>
                      <a:pt x="512" y="126"/>
                    </a:lnTo>
                    <a:lnTo>
                      <a:pt x="527" y="120"/>
                    </a:lnTo>
                    <a:lnTo>
                      <a:pt x="542" y="110"/>
                    </a:lnTo>
                    <a:lnTo>
                      <a:pt x="552" y="98"/>
                    </a:lnTo>
                    <a:lnTo>
                      <a:pt x="567" y="93"/>
                    </a:lnTo>
                    <a:lnTo>
                      <a:pt x="573" y="83"/>
                    </a:lnTo>
                    <a:lnTo>
                      <a:pt x="567" y="72"/>
                    </a:lnTo>
                    <a:lnTo>
                      <a:pt x="558" y="69"/>
                    </a:lnTo>
                    <a:lnTo>
                      <a:pt x="561" y="53"/>
                    </a:lnTo>
                    <a:lnTo>
                      <a:pt x="564" y="45"/>
                    </a:lnTo>
                    <a:lnTo>
                      <a:pt x="602" y="29"/>
                    </a:lnTo>
                    <a:lnTo>
                      <a:pt x="623" y="27"/>
                    </a:lnTo>
                    <a:lnTo>
                      <a:pt x="627" y="32"/>
                    </a:lnTo>
                    <a:lnTo>
                      <a:pt x="618" y="41"/>
                    </a:lnTo>
                    <a:lnTo>
                      <a:pt x="612" y="48"/>
                    </a:lnTo>
                    <a:lnTo>
                      <a:pt x="620" y="56"/>
                    </a:lnTo>
                    <a:lnTo>
                      <a:pt x="627" y="48"/>
                    </a:lnTo>
                    <a:lnTo>
                      <a:pt x="636" y="42"/>
                    </a:lnTo>
                    <a:lnTo>
                      <a:pt x="660" y="39"/>
                    </a:lnTo>
                    <a:lnTo>
                      <a:pt x="671" y="44"/>
                    </a:lnTo>
                    <a:lnTo>
                      <a:pt x="687" y="15"/>
                    </a:lnTo>
                    <a:lnTo>
                      <a:pt x="696" y="18"/>
                    </a:lnTo>
                    <a:lnTo>
                      <a:pt x="702" y="17"/>
                    </a:lnTo>
                    <a:lnTo>
                      <a:pt x="719" y="14"/>
                    </a:lnTo>
                    <a:lnTo>
                      <a:pt x="723" y="15"/>
                    </a:lnTo>
                    <a:lnTo>
                      <a:pt x="732" y="17"/>
                    </a:lnTo>
                    <a:lnTo>
                      <a:pt x="755" y="11"/>
                    </a:lnTo>
                    <a:lnTo>
                      <a:pt x="774" y="2"/>
                    </a:lnTo>
                    <a:lnTo>
                      <a:pt x="785" y="2"/>
                    </a:lnTo>
                    <a:lnTo>
                      <a:pt x="792" y="5"/>
                    </a:lnTo>
                    <a:lnTo>
                      <a:pt x="801" y="3"/>
                    </a:lnTo>
                    <a:lnTo>
                      <a:pt x="806" y="3"/>
                    </a:lnTo>
                    <a:lnTo>
                      <a:pt x="833" y="12"/>
                    </a:lnTo>
                    <a:lnTo>
                      <a:pt x="845" y="9"/>
                    </a:lnTo>
                    <a:lnTo>
                      <a:pt x="852" y="0"/>
                    </a:lnTo>
                    <a:lnTo>
                      <a:pt x="882" y="5"/>
                    </a:lnTo>
                    <a:lnTo>
                      <a:pt x="879" y="17"/>
                    </a:lnTo>
                    <a:lnTo>
                      <a:pt x="861" y="33"/>
                    </a:lnTo>
                    <a:lnTo>
                      <a:pt x="858" y="42"/>
                    </a:lnTo>
                    <a:lnTo>
                      <a:pt x="864" y="48"/>
                    </a:lnTo>
                    <a:lnTo>
                      <a:pt x="878" y="41"/>
                    </a:lnTo>
                    <a:lnTo>
                      <a:pt x="885" y="44"/>
                    </a:lnTo>
                    <a:lnTo>
                      <a:pt x="890" y="59"/>
                    </a:lnTo>
                    <a:lnTo>
                      <a:pt x="899" y="56"/>
                    </a:lnTo>
                    <a:lnTo>
                      <a:pt x="917" y="50"/>
                    </a:lnTo>
                    <a:lnTo>
                      <a:pt x="918" y="78"/>
                    </a:lnTo>
                    <a:lnTo>
                      <a:pt x="918" y="89"/>
                    </a:lnTo>
                    <a:lnTo>
                      <a:pt x="923" y="99"/>
                    </a:lnTo>
                    <a:lnTo>
                      <a:pt x="929" y="114"/>
                    </a:lnTo>
                    <a:lnTo>
                      <a:pt x="923" y="122"/>
                    </a:lnTo>
                    <a:lnTo>
                      <a:pt x="926" y="146"/>
                    </a:lnTo>
                    <a:lnTo>
                      <a:pt x="942" y="134"/>
                    </a:lnTo>
                    <a:lnTo>
                      <a:pt x="965" y="141"/>
                    </a:lnTo>
                    <a:lnTo>
                      <a:pt x="968" y="155"/>
                    </a:lnTo>
                    <a:lnTo>
                      <a:pt x="957" y="171"/>
                    </a:lnTo>
                    <a:lnTo>
                      <a:pt x="969" y="191"/>
                    </a:lnTo>
                    <a:lnTo>
                      <a:pt x="984" y="215"/>
                    </a:lnTo>
                    <a:lnTo>
                      <a:pt x="984" y="236"/>
                    </a:lnTo>
                    <a:lnTo>
                      <a:pt x="968" y="273"/>
                    </a:lnTo>
                    <a:lnTo>
                      <a:pt x="989" y="276"/>
                    </a:lnTo>
                    <a:lnTo>
                      <a:pt x="1017" y="296"/>
                    </a:lnTo>
                    <a:lnTo>
                      <a:pt x="1010" y="314"/>
                    </a:lnTo>
                    <a:lnTo>
                      <a:pt x="1008" y="318"/>
                    </a:lnTo>
                    <a:lnTo>
                      <a:pt x="987" y="305"/>
                    </a:lnTo>
                    <a:lnTo>
                      <a:pt x="959" y="323"/>
                    </a:lnTo>
                    <a:lnTo>
                      <a:pt x="977" y="344"/>
                    </a:lnTo>
                    <a:lnTo>
                      <a:pt x="989" y="335"/>
                    </a:lnTo>
                    <a:lnTo>
                      <a:pt x="996" y="345"/>
                    </a:lnTo>
                    <a:lnTo>
                      <a:pt x="990" y="354"/>
                    </a:lnTo>
                    <a:lnTo>
                      <a:pt x="978" y="369"/>
                    </a:lnTo>
                    <a:lnTo>
                      <a:pt x="977" y="387"/>
                    </a:lnTo>
                    <a:lnTo>
                      <a:pt x="981" y="411"/>
                    </a:lnTo>
                    <a:lnTo>
                      <a:pt x="996" y="407"/>
                    </a:lnTo>
                    <a:lnTo>
                      <a:pt x="1014" y="426"/>
                    </a:lnTo>
                    <a:lnTo>
                      <a:pt x="1022" y="435"/>
                    </a:lnTo>
                    <a:lnTo>
                      <a:pt x="1019" y="443"/>
                    </a:lnTo>
                    <a:lnTo>
                      <a:pt x="995" y="456"/>
                    </a:lnTo>
                    <a:lnTo>
                      <a:pt x="995" y="465"/>
                    </a:lnTo>
                    <a:lnTo>
                      <a:pt x="999" y="467"/>
                    </a:lnTo>
                    <a:lnTo>
                      <a:pt x="998" y="477"/>
                    </a:lnTo>
                    <a:lnTo>
                      <a:pt x="983" y="485"/>
                    </a:lnTo>
                    <a:lnTo>
                      <a:pt x="986" y="494"/>
                    </a:lnTo>
                    <a:lnTo>
                      <a:pt x="978" y="503"/>
                    </a:lnTo>
                    <a:lnTo>
                      <a:pt x="969" y="515"/>
                    </a:lnTo>
                    <a:lnTo>
                      <a:pt x="969" y="527"/>
                    </a:lnTo>
                    <a:lnTo>
                      <a:pt x="944" y="558"/>
                    </a:lnTo>
                    <a:lnTo>
                      <a:pt x="945" y="561"/>
                    </a:lnTo>
                    <a:lnTo>
                      <a:pt x="972" y="558"/>
                    </a:lnTo>
                    <a:lnTo>
                      <a:pt x="992" y="539"/>
                    </a:lnTo>
                    <a:lnTo>
                      <a:pt x="996" y="543"/>
                    </a:lnTo>
                    <a:lnTo>
                      <a:pt x="989" y="570"/>
                    </a:lnTo>
                    <a:lnTo>
                      <a:pt x="999" y="578"/>
                    </a:lnTo>
                    <a:lnTo>
                      <a:pt x="1011" y="573"/>
                    </a:lnTo>
                    <a:lnTo>
                      <a:pt x="1026" y="600"/>
                    </a:lnTo>
                    <a:lnTo>
                      <a:pt x="990" y="636"/>
                    </a:lnTo>
                    <a:lnTo>
                      <a:pt x="1002" y="645"/>
                    </a:lnTo>
                    <a:lnTo>
                      <a:pt x="993" y="681"/>
                    </a:lnTo>
                    <a:lnTo>
                      <a:pt x="977" y="684"/>
                    </a:lnTo>
                    <a:lnTo>
                      <a:pt x="974" y="698"/>
                    </a:lnTo>
                    <a:lnTo>
                      <a:pt x="969" y="741"/>
                    </a:lnTo>
                    <a:lnTo>
                      <a:pt x="984" y="734"/>
                    </a:lnTo>
                    <a:lnTo>
                      <a:pt x="990" y="740"/>
                    </a:lnTo>
                    <a:lnTo>
                      <a:pt x="986" y="759"/>
                    </a:lnTo>
                    <a:lnTo>
                      <a:pt x="990" y="765"/>
                    </a:lnTo>
                    <a:lnTo>
                      <a:pt x="990" y="818"/>
                    </a:lnTo>
                    <a:lnTo>
                      <a:pt x="996" y="831"/>
                    </a:lnTo>
                    <a:lnTo>
                      <a:pt x="1007" y="833"/>
                    </a:lnTo>
                    <a:lnTo>
                      <a:pt x="1020" y="851"/>
                    </a:lnTo>
                    <a:lnTo>
                      <a:pt x="1016" y="872"/>
                    </a:lnTo>
                    <a:lnTo>
                      <a:pt x="1022" y="881"/>
                    </a:lnTo>
                    <a:lnTo>
                      <a:pt x="1014" y="903"/>
                    </a:lnTo>
                    <a:lnTo>
                      <a:pt x="1025" y="900"/>
                    </a:lnTo>
                    <a:lnTo>
                      <a:pt x="1052" y="929"/>
                    </a:lnTo>
                    <a:lnTo>
                      <a:pt x="1055" y="933"/>
                    </a:lnTo>
                    <a:lnTo>
                      <a:pt x="1094" y="884"/>
                    </a:lnTo>
                    <a:lnTo>
                      <a:pt x="1104" y="884"/>
                    </a:lnTo>
                    <a:lnTo>
                      <a:pt x="1113" y="884"/>
                    </a:lnTo>
                    <a:lnTo>
                      <a:pt x="1133" y="902"/>
                    </a:lnTo>
                    <a:lnTo>
                      <a:pt x="1130" y="921"/>
                    </a:lnTo>
                    <a:lnTo>
                      <a:pt x="1128" y="933"/>
                    </a:lnTo>
                    <a:lnTo>
                      <a:pt x="1119" y="933"/>
                    </a:lnTo>
                    <a:lnTo>
                      <a:pt x="1133" y="950"/>
                    </a:lnTo>
                    <a:lnTo>
                      <a:pt x="1131" y="962"/>
                    </a:lnTo>
                    <a:lnTo>
                      <a:pt x="1130" y="974"/>
                    </a:lnTo>
                    <a:lnTo>
                      <a:pt x="1097" y="975"/>
                    </a:lnTo>
                    <a:lnTo>
                      <a:pt x="1104" y="998"/>
                    </a:lnTo>
                    <a:lnTo>
                      <a:pt x="1104" y="1001"/>
                    </a:lnTo>
                    <a:lnTo>
                      <a:pt x="1106" y="1019"/>
                    </a:lnTo>
                    <a:lnTo>
                      <a:pt x="1085" y="1035"/>
                    </a:lnTo>
                    <a:lnTo>
                      <a:pt x="1083" y="1067"/>
                    </a:lnTo>
                    <a:lnTo>
                      <a:pt x="1103" y="1070"/>
                    </a:lnTo>
                    <a:lnTo>
                      <a:pt x="1119" y="1097"/>
                    </a:lnTo>
                    <a:lnTo>
                      <a:pt x="1130" y="1103"/>
                    </a:lnTo>
                    <a:lnTo>
                      <a:pt x="1148" y="1109"/>
                    </a:lnTo>
                    <a:lnTo>
                      <a:pt x="1152" y="1098"/>
                    </a:lnTo>
                    <a:lnTo>
                      <a:pt x="1166" y="1103"/>
                    </a:lnTo>
                    <a:lnTo>
                      <a:pt x="1166" y="1122"/>
                    </a:lnTo>
                    <a:lnTo>
                      <a:pt x="1151" y="1146"/>
                    </a:lnTo>
                    <a:lnTo>
                      <a:pt x="1148" y="1164"/>
                    </a:lnTo>
                    <a:lnTo>
                      <a:pt x="1151" y="1172"/>
                    </a:lnTo>
                    <a:lnTo>
                      <a:pt x="1139" y="1181"/>
                    </a:lnTo>
                    <a:lnTo>
                      <a:pt x="1133" y="1190"/>
                    </a:lnTo>
                    <a:lnTo>
                      <a:pt x="1128" y="1185"/>
                    </a:lnTo>
                    <a:lnTo>
                      <a:pt x="1121" y="1173"/>
                    </a:lnTo>
                    <a:lnTo>
                      <a:pt x="1113" y="1167"/>
                    </a:lnTo>
                    <a:lnTo>
                      <a:pt x="1109" y="1167"/>
                    </a:lnTo>
                    <a:lnTo>
                      <a:pt x="1104" y="1164"/>
                    </a:lnTo>
                    <a:lnTo>
                      <a:pt x="1091" y="1169"/>
                    </a:lnTo>
                    <a:lnTo>
                      <a:pt x="1083" y="1170"/>
                    </a:lnTo>
                    <a:lnTo>
                      <a:pt x="1076" y="1163"/>
                    </a:lnTo>
                    <a:lnTo>
                      <a:pt x="1071" y="1166"/>
                    </a:lnTo>
                    <a:lnTo>
                      <a:pt x="1074" y="1173"/>
                    </a:lnTo>
                    <a:lnTo>
                      <a:pt x="1068" y="1176"/>
                    </a:lnTo>
                    <a:lnTo>
                      <a:pt x="1061" y="1175"/>
                    </a:lnTo>
                    <a:lnTo>
                      <a:pt x="1049" y="1178"/>
                    </a:lnTo>
                    <a:lnTo>
                      <a:pt x="1038" y="1191"/>
                    </a:lnTo>
                    <a:lnTo>
                      <a:pt x="1043" y="1197"/>
                    </a:lnTo>
                    <a:lnTo>
                      <a:pt x="1038" y="1202"/>
                    </a:lnTo>
                    <a:lnTo>
                      <a:pt x="1031" y="1202"/>
                    </a:lnTo>
                    <a:lnTo>
                      <a:pt x="1019" y="1209"/>
                    </a:lnTo>
                    <a:lnTo>
                      <a:pt x="1013" y="1221"/>
                    </a:lnTo>
                    <a:lnTo>
                      <a:pt x="1001" y="1212"/>
                    </a:lnTo>
                    <a:lnTo>
                      <a:pt x="987" y="1217"/>
                    </a:lnTo>
                    <a:lnTo>
                      <a:pt x="977" y="1218"/>
                    </a:lnTo>
                    <a:lnTo>
                      <a:pt x="969" y="1221"/>
                    </a:lnTo>
                    <a:lnTo>
                      <a:pt x="971" y="1233"/>
                    </a:lnTo>
                    <a:lnTo>
                      <a:pt x="978" y="1245"/>
                    </a:lnTo>
                    <a:lnTo>
                      <a:pt x="975" y="1248"/>
                    </a:lnTo>
                    <a:lnTo>
                      <a:pt x="966" y="1260"/>
                    </a:lnTo>
                    <a:lnTo>
                      <a:pt x="959" y="1266"/>
                    </a:lnTo>
                    <a:lnTo>
                      <a:pt x="956" y="1277"/>
                    </a:lnTo>
                    <a:lnTo>
                      <a:pt x="950" y="1283"/>
                    </a:lnTo>
                    <a:lnTo>
                      <a:pt x="954" y="1286"/>
                    </a:lnTo>
                    <a:lnTo>
                      <a:pt x="962" y="1286"/>
                    </a:lnTo>
                    <a:lnTo>
                      <a:pt x="963" y="1290"/>
                    </a:lnTo>
                    <a:lnTo>
                      <a:pt x="954" y="1296"/>
                    </a:lnTo>
                    <a:lnTo>
                      <a:pt x="947" y="1298"/>
                    </a:lnTo>
                    <a:lnTo>
                      <a:pt x="942" y="1305"/>
                    </a:lnTo>
                    <a:lnTo>
                      <a:pt x="930" y="1305"/>
                    </a:lnTo>
                    <a:lnTo>
                      <a:pt x="912" y="1319"/>
                    </a:lnTo>
                    <a:close/>
                  </a:path>
                </a:pathLst>
              </a:custGeom>
              <a:solidFill>
                <a:sysClr val="window" lastClr="FFFFFF"/>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0" name="Freeform 277">
                <a:extLst>
                  <a:ext uri="{FF2B5EF4-FFF2-40B4-BE49-F238E27FC236}">
                    <a16:creationId xmlns:a16="http://schemas.microsoft.com/office/drawing/2014/main" id="{BEF53ED1-79DD-931D-3BF5-5BE8D827F0BF}"/>
                  </a:ext>
                </a:extLst>
              </p:cNvPr>
              <p:cNvSpPr>
                <a:spLocks/>
              </p:cNvSpPr>
              <p:nvPr/>
            </p:nvSpPr>
            <p:spPr bwMode="auto">
              <a:xfrm>
                <a:off x="2608" y="2275"/>
                <a:ext cx="59" cy="95"/>
              </a:xfrm>
              <a:custGeom>
                <a:avLst/>
                <a:gdLst>
                  <a:gd name="T0" fmla="*/ 0 w 177"/>
                  <a:gd name="T1" fmla="*/ 0 h 286"/>
                  <a:gd name="T2" fmla="*/ 0 w 177"/>
                  <a:gd name="T3" fmla="*/ 0 h 286"/>
                  <a:gd name="T4" fmla="*/ 0 w 177"/>
                  <a:gd name="T5" fmla="*/ 0 h 286"/>
                  <a:gd name="T6" fmla="*/ 0 w 177"/>
                  <a:gd name="T7" fmla="*/ 0 h 286"/>
                  <a:gd name="T8" fmla="*/ 0 w 177"/>
                  <a:gd name="T9" fmla="*/ 0 h 286"/>
                  <a:gd name="T10" fmla="*/ 0 w 177"/>
                  <a:gd name="T11" fmla="*/ 0 h 286"/>
                  <a:gd name="T12" fmla="*/ 0 w 177"/>
                  <a:gd name="T13" fmla="*/ 0 h 286"/>
                  <a:gd name="T14" fmla="*/ 0 w 177"/>
                  <a:gd name="T15" fmla="*/ 0 h 286"/>
                  <a:gd name="T16" fmla="*/ 0 w 177"/>
                  <a:gd name="T17" fmla="*/ 0 h 286"/>
                  <a:gd name="T18" fmla="*/ 0 w 177"/>
                  <a:gd name="T19" fmla="*/ 0 h 286"/>
                  <a:gd name="T20" fmla="*/ 0 w 177"/>
                  <a:gd name="T21" fmla="*/ 0 h 286"/>
                  <a:gd name="T22" fmla="*/ 0 w 177"/>
                  <a:gd name="T23" fmla="*/ 0 h 286"/>
                  <a:gd name="T24" fmla="*/ 0 w 177"/>
                  <a:gd name="T25" fmla="*/ 0 h 286"/>
                  <a:gd name="T26" fmla="*/ 0 w 177"/>
                  <a:gd name="T27" fmla="*/ 0 h 286"/>
                  <a:gd name="T28" fmla="*/ 0 w 177"/>
                  <a:gd name="T29" fmla="*/ 0 h 286"/>
                  <a:gd name="T30" fmla="*/ 0 w 177"/>
                  <a:gd name="T31" fmla="*/ 0 h 286"/>
                  <a:gd name="T32" fmla="*/ 0 w 177"/>
                  <a:gd name="T33" fmla="*/ 0 h 286"/>
                  <a:gd name="T34" fmla="*/ 0 w 177"/>
                  <a:gd name="T35" fmla="*/ 0 h 286"/>
                  <a:gd name="T36" fmla="*/ 0 w 177"/>
                  <a:gd name="T37" fmla="*/ 0 h 286"/>
                  <a:gd name="T38" fmla="*/ 0 w 177"/>
                  <a:gd name="T39" fmla="*/ 0 h 286"/>
                  <a:gd name="T40" fmla="*/ 0 w 177"/>
                  <a:gd name="T41" fmla="*/ 0 h 286"/>
                  <a:gd name="T42" fmla="*/ 0 w 177"/>
                  <a:gd name="T43" fmla="*/ 0 h 286"/>
                  <a:gd name="T44" fmla="*/ 0 w 177"/>
                  <a:gd name="T45" fmla="*/ 0 h 286"/>
                  <a:gd name="T46" fmla="*/ 0 w 177"/>
                  <a:gd name="T47" fmla="*/ 0 h 286"/>
                  <a:gd name="T48" fmla="*/ 0 w 177"/>
                  <a:gd name="T49" fmla="*/ 0 h 286"/>
                  <a:gd name="T50" fmla="*/ 0 w 177"/>
                  <a:gd name="T51" fmla="*/ 0 h 286"/>
                  <a:gd name="T52" fmla="*/ 0 w 177"/>
                  <a:gd name="T53" fmla="*/ 0 h 286"/>
                  <a:gd name="T54" fmla="*/ 0 w 177"/>
                  <a:gd name="T55" fmla="*/ 0 h 286"/>
                  <a:gd name="T56" fmla="*/ 0 w 177"/>
                  <a:gd name="T57" fmla="*/ 0 h 286"/>
                  <a:gd name="T58" fmla="*/ 0 w 177"/>
                  <a:gd name="T59" fmla="*/ 0 h 286"/>
                  <a:gd name="T60" fmla="*/ 0 w 177"/>
                  <a:gd name="T61" fmla="*/ 0 h 286"/>
                  <a:gd name="T62" fmla="*/ 0 w 177"/>
                  <a:gd name="T63" fmla="*/ 0 h 286"/>
                  <a:gd name="T64" fmla="*/ 0 w 177"/>
                  <a:gd name="T65" fmla="*/ 0 h 286"/>
                  <a:gd name="T66" fmla="*/ 0 w 177"/>
                  <a:gd name="T67" fmla="*/ 0 h 286"/>
                  <a:gd name="T68" fmla="*/ 0 w 177"/>
                  <a:gd name="T69" fmla="*/ 0 h 286"/>
                  <a:gd name="T70" fmla="*/ 0 w 177"/>
                  <a:gd name="T71" fmla="*/ 0 h 286"/>
                  <a:gd name="T72" fmla="*/ 0 w 177"/>
                  <a:gd name="T73" fmla="*/ 0 h 286"/>
                  <a:gd name="T74" fmla="*/ 0 w 177"/>
                  <a:gd name="T75" fmla="*/ 0 h 2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77" h="286">
                    <a:moveTo>
                      <a:pt x="75" y="57"/>
                    </a:moveTo>
                    <a:lnTo>
                      <a:pt x="79" y="67"/>
                    </a:lnTo>
                    <a:lnTo>
                      <a:pt x="102" y="69"/>
                    </a:lnTo>
                    <a:lnTo>
                      <a:pt x="138" y="73"/>
                    </a:lnTo>
                    <a:lnTo>
                      <a:pt x="142" y="82"/>
                    </a:lnTo>
                    <a:lnTo>
                      <a:pt x="144" y="94"/>
                    </a:lnTo>
                    <a:lnTo>
                      <a:pt x="144" y="115"/>
                    </a:lnTo>
                    <a:lnTo>
                      <a:pt x="153" y="126"/>
                    </a:lnTo>
                    <a:lnTo>
                      <a:pt x="148" y="144"/>
                    </a:lnTo>
                    <a:lnTo>
                      <a:pt x="157" y="165"/>
                    </a:lnTo>
                    <a:lnTo>
                      <a:pt x="177" y="178"/>
                    </a:lnTo>
                    <a:lnTo>
                      <a:pt x="174" y="214"/>
                    </a:lnTo>
                    <a:lnTo>
                      <a:pt x="159" y="219"/>
                    </a:lnTo>
                    <a:lnTo>
                      <a:pt x="169" y="249"/>
                    </a:lnTo>
                    <a:lnTo>
                      <a:pt x="166" y="262"/>
                    </a:lnTo>
                    <a:lnTo>
                      <a:pt x="154" y="271"/>
                    </a:lnTo>
                    <a:lnTo>
                      <a:pt x="144" y="286"/>
                    </a:lnTo>
                    <a:lnTo>
                      <a:pt x="127" y="280"/>
                    </a:lnTo>
                    <a:lnTo>
                      <a:pt x="124" y="258"/>
                    </a:lnTo>
                    <a:lnTo>
                      <a:pt x="126" y="240"/>
                    </a:lnTo>
                    <a:lnTo>
                      <a:pt x="120" y="217"/>
                    </a:lnTo>
                    <a:lnTo>
                      <a:pt x="106" y="193"/>
                    </a:lnTo>
                    <a:lnTo>
                      <a:pt x="96" y="190"/>
                    </a:lnTo>
                    <a:lnTo>
                      <a:pt x="88" y="175"/>
                    </a:lnTo>
                    <a:lnTo>
                      <a:pt x="54" y="147"/>
                    </a:lnTo>
                    <a:lnTo>
                      <a:pt x="30" y="123"/>
                    </a:lnTo>
                    <a:lnTo>
                      <a:pt x="21" y="114"/>
                    </a:lnTo>
                    <a:lnTo>
                      <a:pt x="18" y="90"/>
                    </a:lnTo>
                    <a:lnTo>
                      <a:pt x="16" y="82"/>
                    </a:lnTo>
                    <a:lnTo>
                      <a:pt x="16" y="61"/>
                    </a:lnTo>
                    <a:lnTo>
                      <a:pt x="1" y="42"/>
                    </a:lnTo>
                    <a:lnTo>
                      <a:pt x="0" y="9"/>
                    </a:lnTo>
                    <a:lnTo>
                      <a:pt x="1" y="0"/>
                    </a:lnTo>
                    <a:lnTo>
                      <a:pt x="27" y="4"/>
                    </a:lnTo>
                    <a:lnTo>
                      <a:pt x="34" y="13"/>
                    </a:lnTo>
                    <a:lnTo>
                      <a:pt x="54" y="25"/>
                    </a:lnTo>
                    <a:lnTo>
                      <a:pt x="72" y="48"/>
                    </a:lnTo>
                    <a:lnTo>
                      <a:pt x="75" y="57"/>
                    </a:lnTo>
                    <a:close/>
                  </a:path>
                </a:pathLst>
              </a:custGeom>
              <a:grpFill/>
              <a:ln w="12700">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1" name="Freeform 281">
                <a:extLst>
                  <a:ext uri="{FF2B5EF4-FFF2-40B4-BE49-F238E27FC236}">
                    <a16:creationId xmlns:a16="http://schemas.microsoft.com/office/drawing/2014/main" id="{5601B740-C311-69BD-4A03-AB66FB07B07B}"/>
                  </a:ext>
                </a:extLst>
              </p:cNvPr>
              <p:cNvSpPr>
                <a:spLocks/>
              </p:cNvSpPr>
              <p:nvPr/>
            </p:nvSpPr>
            <p:spPr bwMode="auto">
              <a:xfrm>
                <a:off x="2710" y="2810"/>
                <a:ext cx="4" cy="5"/>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w 12"/>
                  <a:gd name="T11" fmla="*/ 0 h 15"/>
                  <a:gd name="T12" fmla="*/ 0 w 12"/>
                  <a:gd name="T13" fmla="*/ 0 h 15"/>
                  <a:gd name="T14" fmla="*/ 0 w 12"/>
                  <a:gd name="T15" fmla="*/ 0 h 15"/>
                  <a:gd name="T16" fmla="*/ 0 w 12"/>
                  <a:gd name="T17" fmla="*/ 0 h 15"/>
                  <a:gd name="T18" fmla="*/ 0 w 12"/>
                  <a:gd name="T19" fmla="*/ 0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9" y="3"/>
                    </a:moveTo>
                    <a:lnTo>
                      <a:pt x="11" y="4"/>
                    </a:lnTo>
                    <a:lnTo>
                      <a:pt x="9" y="6"/>
                    </a:lnTo>
                    <a:lnTo>
                      <a:pt x="12" y="12"/>
                    </a:lnTo>
                    <a:lnTo>
                      <a:pt x="12" y="15"/>
                    </a:lnTo>
                    <a:lnTo>
                      <a:pt x="9" y="15"/>
                    </a:lnTo>
                    <a:lnTo>
                      <a:pt x="5" y="10"/>
                    </a:lnTo>
                    <a:lnTo>
                      <a:pt x="0" y="9"/>
                    </a:lnTo>
                    <a:lnTo>
                      <a:pt x="0" y="0"/>
                    </a:lnTo>
                    <a:lnTo>
                      <a:pt x="9" y="3"/>
                    </a:lnTo>
                    <a:close/>
                  </a:path>
                </a:pathLst>
              </a:custGeom>
              <a:grpFill/>
              <a:ln w="1587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2" name="Freeform 282">
                <a:extLst>
                  <a:ext uri="{FF2B5EF4-FFF2-40B4-BE49-F238E27FC236}">
                    <a16:creationId xmlns:a16="http://schemas.microsoft.com/office/drawing/2014/main" id="{A924EBEC-E4B6-C180-0961-21BC3853E14C}"/>
                  </a:ext>
                </a:extLst>
              </p:cNvPr>
              <p:cNvSpPr>
                <a:spLocks/>
              </p:cNvSpPr>
              <p:nvPr/>
            </p:nvSpPr>
            <p:spPr bwMode="auto">
              <a:xfrm>
                <a:off x="2468" y="856"/>
                <a:ext cx="770" cy="595"/>
              </a:xfrm>
              <a:custGeom>
                <a:avLst/>
                <a:gdLst>
                  <a:gd name="T0" fmla="*/ 0 w 2310"/>
                  <a:gd name="T1" fmla="*/ 0 h 1783"/>
                  <a:gd name="T2" fmla="*/ 0 w 2310"/>
                  <a:gd name="T3" fmla="*/ 0 h 1783"/>
                  <a:gd name="T4" fmla="*/ 0 w 2310"/>
                  <a:gd name="T5" fmla="*/ 0 h 1783"/>
                  <a:gd name="T6" fmla="*/ 0 w 2310"/>
                  <a:gd name="T7" fmla="*/ 0 h 1783"/>
                  <a:gd name="T8" fmla="*/ 0 w 2310"/>
                  <a:gd name="T9" fmla="*/ 0 h 1783"/>
                  <a:gd name="T10" fmla="*/ 0 w 2310"/>
                  <a:gd name="T11" fmla="*/ 0 h 1783"/>
                  <a:gd name="T12" fmla="*/ 0 w 2310"/>
                  <a:gd name="T13" fmla="*/ 0 h 1783"/>
                  <a:gd name="T14" fmla="*/ 0 w 2310"/>
                  <a:gd name="T15" fmla="*/ 0 h 1783"/>
                  <a:gd name="T16" fmla="*/ 0 w 2310"/>
                  <a:gd name="T17" fmla="*/ 0 h 1783"/>
                  <a:gd name="T18" fmla="*/ 0 w 2310"/>
                  <a:gd name="T19" fmla="*/ 0 h 1783"/>
                  <a:gd name="T20" fmla="*/ 0 w 2310"/>
                  <a:gd name="T21" fmla="*/ 0 h 1783"/>
                  <a:gd name="T22" fmla="*/ 0 w 2310"/>
                  <a:gd name="T23" fmla="*/ 0 h 1783"/>
                  <a:gd name="T24" fmla="*/ 0 w 2310"/>
                  <a:gd name="T25" fmla="*/ 0 h 1783"/>
                  <a:gd name="T26" fmla="*/ 0 w 2310"/>
                  <a:gd name="T27" fmla="*/ 0 h 1783"/>
                  <a:gd name="T28" fmla="*/ 0 w 2310"/>
                  <a:gd name="T29" fmla="*/ 0 h 1783"/>
                  <a:gd name="T30" fmla="*/ 0 w 2310"/>
                  <a:gd name="T31" fmla="*/ 0 h 1783"/>
                  <a:gd name="T32" fmla="*/ 0 w 2310"/>
                  <a:gd name="T33" fmla="*/ 0 h 1783"/>
                  <a:gd name="T34" fmla="*/ 0 w 2310"/>
                  <a:gd name="T35" fmla="*/ 0 h 1783"/>
                  <a:gd name="T36" fmla="*/ 0 w 2310"/>
                  <a:gd name="T37" fmla="*/ 0 h 1783"/>
                  <a:gd name="T38" fmla="*/ 0 w 2310"/>
                  <a:gd name="T39" fmla="*/ 0 h 1783"/>
                  <a:gd name="T40" fmla="*/ 0 w 2310"/>
                  <a:gd name="T41" fmla="*/ 0 h 1783"/>
                  <a:gd name="T42" fmla="*/ 0 w 2310"/>
                  <a:gd name="T43" fmla="*/ 0 h 1783"/>
                  <a:gd name="T44" fmla="*/ 0 w 2310"/>
                  <a:gd name="T45" fmla="*/ 0 h 1783"/>
                  <a:gd name="T46" fmla="*/ 0 w 2310"/>
                  <a:gd name="T47" fmla="*/ 0 h 1783"/>
                  <a:gd name="T48" fmla="*/ 0 w 2310"/>
                  <a:gd name="T49" fmla="*/ 0 h 1783"/>
                  <a:gd name="T50" fmla="*/ 0 w 2310"/>
                  <a:gd name="T51" fmla="*/ 0 h 1783"/>
                  <a:gd name="T52" fmla="*/ 0 w 2310"/>
                  <a:gd name="T53" fmla="*/ 0 h 1783"/>
                  <a:gd name="T54" fmla="*/ 0 w 2310"/>
                  <a:gd name="T55" fmla="*/ 0 h 1783"/>
                  <a:gd name="T56" fmla="*/ 0 w 2310"/>
                  <a:gd name="T57" fmla="*/ 0 h 1783"/>
                  <a:gd name="T58" fmla="*/ 0 w 2310"/>
                  <a:gd name="T59" fmla="*/ 0 h 1783"/>
                  <a:gd name="T60" fmla="*/ 0 w 2310"/>
                  <a:gd name="T61" fmla="*/ 0 h 1783"/>
                  <a:gd name="T62" fmla="*/ 0 w 2310"/>
                  <a:gd name="T63" fmla="*/ 0 h 1783"/>
                  <a:gd name="T64" fmla="*/ 0 w 2310"/>
                  <a:gd name="T65" fmla="*/ 0 h 1783"/>
                  <a:gd name="T66" fmla="*/ 0 w 2310"/>
                  <a:gd name="T67" fmla="*/ 0 h 1783"/>
                  <a:gd name="T68" fmla="*/ 0 w 2310"/>
                  <a:gd name="T69" fmla="*/ 0 h 1783"/>
                  <a:gd name="T70" fmla="*/ 0 w 2310"/>
                  <a:gd name="T71" fmla="*/ 0 h 1783"/>
                  <a:gd name="T72" fmla="*/ 0 w 2310"/>
                  <a:gd name="T73" fmla="*/ 0 h 1783"/>
                  <a:gd name="T74" fmla="*/ 0 w 2310"/>
                  <a:gd name="T75" fmla="*/ 0 h 1783"/>
                  <a:gd name="T76" fmla="*/ 0 w 2310"/>
                  <a:gd name="T77" fmla="*/ 0 h 1783"/>
                  <a:gd name="T78" fmla="*/ 0 w 2310"/>
                  <a:gd name="T79" fmla="*/ 0 h 1783"/>
                  <a:gd name="T80" fmla="*/ 0 w 2310"/>
                  <a:gd name="T81" fmla="*/ 0 h 1783"/>
                  <a:gd name="T82" fmla="*/ 0 w 2310"/>
                  <a:gd name="T83" fmla="*/ 0 h 1783"/>
                  <a:gd name="T84" fmla="*/ 0 w 2310"/>
                  <a:gd name="T85" fmla="*/ 0 h 1783"/>
                  <a:gd name="T86" fmla="*/ 0 w 2310"/>
                  <a:gd name="T87" fmla="*/ 0 h 1783"/>
                  <a:gd name="T88" fmla="*/ 0 w 2310"/>
                  <a:gd name="T89" fmla="*/ 0 h 1783"/>
                  <a:gd name="T90" fmla="*/ 0 w 2310"/>
                  <a:gd name="T91" fmla="*/ 0 h 1783"/>
                  <a:gd name="T92" fmla="*/ 0 w 2310"/>
                  <a:gd name="T93" fmla="*/ 0 h 1783"/>
                  <a:gd name="T94" fmla="*/ 0 w 2310"/>
                  <a:gd name="T95" fmla="*/ 0 h 1783"/>
                  <a:gd name="T96" fmla="*/ 0 w 2310"/>
                  <a:gd name="T97" fmla="*/ 0 h 1783"/>
                  <a:gd name="T98" fmla="*/ 0 w 2310"/>
                  <a:gd name="T99" fmla="*/ 0 h 1783"/>
                  <a:gd name="T100" fmla="*/ 0 w 2310"/>
                  <a:gd name="T101" fmla="*/ 0 h 1783"/>
                  <a:gd name="T102" fmla="*/ 0 w 2310"/>
                  <a:gd name="T103" fmla="*/ 0 h 1783"/>
                  <a:gd name="T104" fmla="*/ 0 w 2310"/>
                  <a:gd name="T105" fmla="*/ 0 h 1783"/>
                  <a:gd name="T106" fmla="*/ 0 w 2310"/>
                  <a:gd name="T107" fmla="*/ 0 h 1783"/>
                  <a:gd name="T108" fmla="*/ 0 w 2310"/>
                  <a:gd name="T109" fmla="*/ 0 h 1783"/>
                  <a:gd name="T110" fmla="*/ 0 w 2310"/>
                  <a:gd name="T111" fmla="*/ 0 h 1783"/>
                  <a:gd name="T112" fmla="*/ 0 w 2310"/>
                  <a:gd name="T113" fmla="*/ 0 h 1783"/>
                  <a:gd name="T114" fmla="*/ 0 w 2310"/>
                  <a:gd name="T115" fmla="*/ 0 h 1783"/>
                  <a:gd name="T116" fmla="*/ 0 w 2310"/>
                  <a:gd name="T117" fmla="*/ 0 h 1783"/>
                  <a:gd name="T118" fmla="*/ 0 w 2310"/>
                  <a:gd name="T119" fmla="*/ 0 h 1783"/>
                  <a:gd name="T120" fmla="*/ 0 w 2310"/>
                  <a:gd name="T121" fmla="*/ 0 h 1783"/>
                  <a:gd name="T122" fmla="*/ 0 w 2310"/>
                  <a:gd name="T123" fmla="*/ 0 h 1783"/>
                  <a:gd name="T124" fmla="*/ 0 w 2310"/>
                  <a:gd name="T125" fmla="*/ 0 h 178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10" h="1783">
                    <a:moveTo>
                      <a:pt x="1872" y="898"/>
                    </a:moveTo>
                    <a:lnTo>
                      <a:pt x="1857" y="924"/>
                    </a:lnTo>
                    <a:lnTo>
                      <a:pt x="1852" y="931"/>
                    </a:lnTo>
                    <a:lnTo>
                      <a:pt x="1852" y="937"/>
                    </a:lnTo>
                    <a:lnTo>
                      <a:pt x="1848" y="943"/>
                    </a:lnTo>
                    <a:lnTo>
                      <a:pt x="1861" y="949"/>
                    </a:lnTo>
                    <a:lnTo>
                      <a:pt x="1866" y="955"/>
                    </a:lnTo>
                    <a:lnTo>
                      <a:pt x="1878" y="958"/>
                    </a:lnTo>
                    <a:lnTo>
                      <a:pt x="1876" y="964"/>
                    </a:lnTo>
                    <a:lnTo>
                      <a:pt x="1879" y="972"/>
                    </a:lnTo>
                    <a:lnTo>
                      <a:pt x="1890" y="973"/>
                    </a:lnTo>
                    <a:lnTo>
                      <a:pt x="1894" y="969"/>
                    </a:lnTo>
                    <a:lnTo>
                      <a:pt x="1899" y="970"/>
                    </a:lnTo>
                    <a:lnTo>
                      <a:pt x="1896" y="976"/>
                    </a:lnTo>
                    <a:lnTo>
                      <a:pt x="1902" y="981"/>
                    </a:lnTo>
                    <a:lnTo>
                      <a:pt x="1906" y="979"/>
                    </a:lnTo>
                    <a:lnTo>
                      <a:pt x="1906" y="976"/>
                    </a:lnTo>
                    <a:lnTo>
                      <a:pt x="1908" y="970"/>
                    </a:lnTo>
                    <a:lnTo>
                      <a:pt x="1918" y="970"/>
                    </a:lnTo>
                    <a:lnTo>
                      <a:pt x="1930" y="978"/>
                    </a:lnTo>
                    <a:lnTo>
                      <a:pt x="1935" y="981"/>
                    </a:lnTo>
                    <a:lnTo>
                      <a:pt x="1947" y="981"/>
                    </a:lnTo>
                    <a:lnTo>
                      <a:pt x="1956" y="978"/>
                    </a:lnTo>
                    <a:lnTo>
                      <a:pt x="1959" y="979"/>
                    </a:lnTo>
                    <a:lnTo>
                      <a:pt x="1980" y="987"/>
                    </a:lnTo>
                    <a:lnTo>
                      <a:pt x="1984" y="982"/>
                    </a:lnTo>
                    <a:lnTo>
                      <a:pt x="1996" y="966"/>
                    </a:lnTo>
                    <a:lnTo>
                      <a:pt x="2004" y="963"/>
                    </a:lnTo>
                    <a:lnTo>
                      <a:pt x="2017" y="969"/>
                    </a:lnTo>
                    <a:lnTo>
                      <a:pt x="2017" y="975"/>
                    </a:lnTo>
                    <a:lnTo>
                      <a:pt x="2010" y="978"/>
                    </a:lnTo>
                    <a:lnTo>
                      <a:pt x="2008" y="984"/>
                    </a:lnTo>
                    <a:lnTo>
                      <a:pt x="2013" y="987"/>
                    </a:lnTo>
                    <a:lnTo>
                      <a:pt x="2019" y="984"/>
                    </a:lnTo>
                    <a:lnTo>
                      <a:pt x="2022" y="985"/>
                    </a:lnTo>
                    <a:lnTo>
                      <a:pt x="2026" y="982"/>
                    </a:lnTo>
                    <a:lnTo>
                      <a:pt x="2026" y="987"/>
                    </a:lnTo>
                    <a:lnTo>
                      <a:pt x="2022" y="990"/>
                    </a:lnTo>
                    <a:lnTo>
                      <a:pt x="2022" y="997"/>
                    </a:lnTo>
                    <a:lnTo>
                      <a:pt x="2029" y="1005"/>
                    </a:lnTo>
                    <a:lnTo>
                      <a:pt x="2029" y="1008"/>
                    </a:lnTo>
                    <a:lnTo>
                      <a:pt x="2035" y="1011"/>
                    </a:lnTo>
                    <a:lnTo>
                      <a:pt x="2047" y="1006"/>
                    </a:lnTo>
                    <a:lnTo>
                      <a:pt x="2047" y="1009"/>
                    </a:lnTo>
                    <a:lnTo>
                      <a:pt x="2032" y="1017"/>
                    </a:lnTo>
                    <a:lnTo>
                      <a:pt x="2032" y="1026"/>
                    </a:lnTo>
                    <a:lnTo>
                      <a:pt x="2026" y="1030"/>
                    </a:lnTo>
                    <a:lnTo>
                      <a:pt x="2026" y="1035"/>
                    </a:lnTo>
                    <a:lnTo>
                      <a:pt x="2035" y="1036"/>
                    </a:lnTo>
                    <a:lnTo>
                      <a:pt x="2044" y="1042"/>
                    </a:lnTo>
                    <a:lnTo>
                      <a:pt x="2055" y="1053"/>
                    </a:lnTo>
                    <a:lnTo>
                      <a:pt x="2067" y="1060"/>
                    </a:lnTo>
                    <a:lnTo>
                      <a:pt x="2076" y="1065"/>
                    </a:lnTo>
                    <a:lnTo>
                      <a:pt x="2086" y="1078"/>
                    </a:lnTo>
                    <a:lnTo>
                      <a:pt x="2098" y="1081"/>
                    </a:lnTo>
                    <a:lnTo>
                      <a:pt x="2106" y="1086"/>
                    </a:lnTo>
                    <a:lnTo>
                      <a:pt x="2110" y="1087"/>
                    </a:lnTo>
                    <a:lnTo>
                      <a:pt x="2115" y="1086"/>
                    </a:lnTo>
                    <a:lnTo>
                      <a:pt x="2121" y="1086"/>
                    </a:lnTo>
                    <a:lnTo>
                      <a:pt x="2128" y="1092"/>
                    </a:lnTo>
                    <a:lnTo>
                      <a:pt x="2133" y="1102"/>
                    </a:lnTo>
                    <a:lnTo>
                      <a:pt x="2140" y="1102"/>
                    </a:lnTo>
                    <a:lnTo>
                      <a:pt x="2142" y="1110"/>
                    </a:lnTo>
                    <a:lnTo>
                      <a:pt x="2139" y="1116"/>
                    </a:lnTo>
                    <a:lnTo>
                      <a:pt x="2154" y="1135"/>
                    </a:lnTo>
                    <a:lnTo>
                      <a:pt x="2154" y="1143"/>
                    </a:lnTo>
                    <a:lnTo>
                      <a:pt x="2145" y="1155"/>
                    </a:lnTo>
                    <a:lnTo>
                      <a:pt x="2142" y="1164"/>
                    </a:lnTo>
                    <a:lnTo>
                      <a:pt x="2131" y="1168"/>
                    </a:lnTo>
                    <a:lnTo>
                      <a:pt x="2118" y="1179"/>
                    </a:lnTo>
                    <a:lnTo>
                      <a:pt x="2122" y="1183"/>
                    </a:lnTo>
                    <a:lnTo>
                      <a:pt x="2139" y="1180"/>
                    </a:lnTo>
                    <a:lnTo>
                      <a:pt x="2151" y="1192"/>
                    </a:lnTo>
                    <a:lnTo>
                      <a:pt x="2145" y="1200"/>
                    </a:lnTo>
                    <a:lnTo>
                      <a:pt x="2145" y="1209"/>
                    </a:lnTo>
                    <a:lnTo>
                      <a:pt x="2152" y="1212"/>
                    </a:lnTo>
                    <a:lnTo>
                      <a:pt x="2149" y="1213"/>
                    </a:lnTo>
                    <a:lnTo>
                      <a:pt x="2151" y="1221"/>
                    </a:lnTo>
                    <a:lnTo>
                      <a:pt x="2157" y="1222"/>
                    </a:lnTo>
                    <a:lnTo>
                      <a:pt x="2160" y="1224"/>
                    </a:lnTo>
                    <a:lnTo>
                      <a:pt x="2163" y="1225"/>
                    </a:lnTo>
                    <a:lnTo>
                      <a:pt x="2169" y="1216"/>
                    </a:lnTo>
                    <a:lnTo>
                      <a:pt x="2187" y="1221"/>
                    </a:lnTo>
                    <a:lnTo>
                      <a:pt x="2187" y="1233"/>
                    </a:lnTo>
                    <a:lnTo>
                      <a:pt x="2196" y="1245"/>
                    </a:lnTo>
                    <a:lnTo>
                      <a:pt x="2191" y="1261"/>
                    </a:lnTo>
                    <a:lnTo>
                      <a:pt x="2199" y="1264"/>
                    </a:lnTo>
                    <a:lnTo>
                      <a:pt x="2188" y="1285"/>
                    </a:lnTo>
                    <a:lnTo>
                      <a:pt x="2196" y="1291"/>
                    </a:lnTo>
                    <a:lnTo>
                      <a:pt x="2199" y="1291"/>
                    </a:lnTo>
                    <a:lnTo>
                      <a:pt x="2205" y="1293"/>
                    </a:lnTo>
                    <a:lnTo>
                      <a:pt x="2212" y="1291"/>
                    </a:lnTo>
                    <a:lnTo>
                      <a:pt x="2212" y="1320"/>
                    </a:lnTo>
                    <a:lnTo>
                      <a:pt x="2229" y="1335"/>
                    </a:lnTo>
                    <a:lnTo>
                      <a:pt x="2239" y="1333"/>
                    </a:lnTo>
                    <a:lnTo>
                      <a:pt x="2250" y="1336"/>
                    </a:lnTo>
                    <a:lnTo>
                      <a:pt x="2262" y="1345"/>
                    </a:lnTo>
                    <a:lnTo>
                      <a:pt x="2272" y="1350"/>
                    </a:lnTo>
                    <a:lnTo>
                      <a:pt x="2275" y="1350"/>
                    </a:lnTo>
                    <a:lnTo>
                      <a:pt x="2283" y="1362"/>
                    </a:lnTo>
                    <a:lnTo>
                      <a:pt x="2278" y="1378"/>
                    </a:lnTo>
                    <a:lnTo>
                      <a:pt x="2280" y="1381"/>
                    </a:lnTo>
                    <a:lnTo>
                      <a:pt x="2293" y="1387"/>
                    </a:lnTo>
                    <a:lnTo>
                      <a:pt x="2304" y="1393"/>
                    </a:lnTo>
                    <a:lnTo>
                      <a:pt x="2302" y="1399"/>
                    </a:lnTo>
                    <a:lnTo>
                      <a:pt x="2295" y="1414"/>
                    </a:lnTo>
                    <a:lnTo>
                      <a:pt x="2287" y="1419"/>
                    </a:lnTo>
                    <a:lnTo>
                      <a:pt x="2293" y="1426"/>
                    </a:lnTo>
                    <a:lnTo>
                      <a:pt x="2293" y="1440"/>
                    </a:lnTo>
                    <a:lnTo>
                      <a:pt x="2287" y="1443"/>
                    </a:lnTo>
                    <a:lnTo>
                      <a:pt x="2284" y="1443"/>
                    </a:lnTo>
                    <a:lnTo>
                      <a:pt x="2280" y="1447"/>
                    </a:lnTo>
                    <a:lnTo>
                      <a:pt x="2283" y="1455"/>
                    </a:lnTo>
                    <a:lnTo>
                      <a:pt x="2289" y="1470"/>
                    </a:lnTo>
                    <a:lnTo>
                      <a:pt x="2299" y="1485"/>
                    </a:lnTo>
                    <a:lnTo>
                      <a:pt x="2310" y="1485"/>
                    </a:lnTo>
                    <a:lnTo>
                      <a:pt x="2308" y="1492"/>
                    </a:lnTo>
                    <a:lnTo>
                      <a:pt x="2298" y="1501"/>
                    </a:lnTo>
                    <a:lnTo>
                      <a:pt x="2292" y="1510"/>
                    </a:lnTo>
                    <a:lnTo>
                      <a:pt x="2289" y="1515"/>
                    </a:lnTo>
                    <a:lnTo>
                      <a:pt x="2286" y="1527"/>
                    </a:lnTo>
                    <a:lnTo>
                      <a:pt x="2289" y="1534"/>
                    </a:lnTo>
                    <a:lnTo>
                      <a:pt x="2281" y="1539"/>
                    </a:lnTo>
                    <a:lnTo>
                      <a:pt x="2271" y="1551"/>
                    </a:lnTo>
                    <a:lnTo>
                      <a:pt x="2263" y="1558"/>
                    </a:lnTo>
                    <a:lnTo>
                      <a:pt x="2262" y="1566"/>
                    </a:lnTo>
                    <a:lnTo>
                      <a:pt x="2257" y="1569"/>
                    </a:lnTo>
                    <a:lnTo>
                      <a:pt x="2253" y="1564"/>
                    </a:lnTo>
                    <a:lnTo>
                      <a:pt x="2247" y="1572"/>
                    </a:lnTo>
                    <a:lnTo>
                      <a:pt x="2239" y="1584"/>
                    </a:lnTo>
                    <a:lnTo>
                      <a:pt x="2230" y="1585"/>
                    </a:lnTo>
                    <a:lnTo>
                      <a:pt x="2230" y="1579"/>
                    </a:lnTo>
                    <a:lnTo>
                      <a:pt x="2218" y="1593"/>
                    </a:lnTo>
                    <a:lnTo>
                      <a:pt x="2205" y="1587"/>
                    </a:lnTo>
                    <a:lnTo>
                      <a:pt x="2202" y="1588"/>
                    </a:lnTo>
                    <a:lnTo>
                      <a:pt x="2205" y="1594"/>
                    </a:lnTo>
                    <a:lnTo>
                      <a:pt x="2203" y="1596"/>
                    </a:lnTo>
                    <a:lnTo>
                      <a:pt x="2194" y="1599"/>
                    </a:lnTo>
                    <a:lnTo>
                      <a:pt x="2187" y="1594"/>
                    </a:lnTo>
                    <a:lnTo>
                      <a:pt x="2184" y="1594"/>
                    </a:lnTo>
                    <a:lnTo>
                      <a:pt x="2178" y="1599"/>
                    </a:lnTo>
                    <a:lnTo>
                      <a:pt x="2164" y="1608"/>
                    </a:lnTo>
                    <a:lnTo>
                      <a:pt x="2158" y="1615"/>
                    </a:lnTo>
                    <a:lnTo>
                      <a:pt x="2154" y="1626"/>
                    </a:lnTo>
                    <a:lnTo>
                      <a:pt x="2148" y="1635"/>
                    </a:lnTo>
                    <a:lnTo>
                      <a:pt x="2140" y="1638"/>
                    </a:lnTo>
                    <a:lnTo>
                      <a:pt x="2142" y="1641"/>
                    </a:lnTo>
                    <a:lnTo>
                      <a:pt x="2137" y="1650"/>
                    </a:lnTo>
                    <a:lnTo>
                      <a:pt x="2142" y="1653"/>
                    </a:lnTo>
                    <a:lnTo>
                      <a:pt x="2149" y="1651"/>
                    </a:lnTo>
                    <a:lnTo>
                      <a:pt x="2155" y="1650"/>
                    </a:lnTo>
                    <a:lnTo>
                      <a:pt x="2167" y="1660"/>
                    </a:lnTo>
                    <a:lnTo>
                      <a:pt x="2176" y="1663"/>
                    </a:lnTo>
                    <a:lnTo>
                      <a:pt x="2167" y="1669"/>
                    </a:lnTo>
                    <a:lnTo>
                      <a:pt x="2161" y="1686"/>
                    </a:lnTo>
                    <a:lnTo>
                      <a:pt x="2163" y="1696"/>
                    </a:lnTo>
                    <a:lnTo>
                      <a:pt x="2173" y="1713"/>
                    </a:lnTo>
                    <a:lnTo>
                      <a:pt x="2190" y="1744"/>
                    </a:lnTo>
                    <a:lnTo>
                      <a:pt x="2194" y="1752"/>
                    </a:lnTo>
                    <a:lnTo>
                      <a:pt x="2191" y="1756"/>
                    </a:lnTo>
                    <a:lnTo>
                      <a:pt x="2187" y="1756"/>
                    </a:lnTo>
                    <a:lnTo>
                      <a:pt x="2181" y="1761"/>
                    </a:lnTo>
                    <a:lnTo>
                      <a:pt x="2175" y="1759"/>
                    </a:lnTo>
                    <a:lnTo>
                      <a:pt x="2176" y="1768"/>
                    </a:lnTo>
                    <a:lnTo>
                      <a:pt x="2172" y="1774"/>
                    </a:lnTo>
                    <a:lnTo>
                      <a:pt x="2155" y="1779"/>
                    </a:lnTo>
                    <a:lnTo>
                      <a:pt x="2146" y="1783"/>
                    </a:lnTo>
                    <a:lnTo>
                      <a:pt x="2130" y="1783"/>
                    </a:lnTo>
                    <a:lnTo>
                      <a:pt x="2121" y="1773"/>
                    </a:lnTo>
                    <a:lnTo>
                      <a:pt x="2112" y="1765"/>
                    </a:lnTo>
                    <a:lnTo>
                      <a:pt x="2109" y="1756"/>
                    </a:lnTo>
                    <a:lnTo>
                      <a:pt x="2103" y="1752"/>
                    </a:lnTo>
                    <a:lnTo>
                      <a:pt x="2094" y="1737"/>
                    </a:lnTo>
                    <a:lnTo>
                      <a:pt x="2091" y="1728"/>
                    </a:lnTo>
                    <a:lnTo>
                      <a:pt x="2083" y="1720"/>
                    </a:lnTo>
                    <a:lnTo>
                      <a:pt x="2083" y="1711"/>
                    </a:lnTo>
                    <a:lnTo>
                      <a:pt x="2076" y="1705"/>
                    </a:lnTo>
                    <a:lnTo>
                      <a:pt x="2058" y="1695"/>
                    </a:lnTo>
                    <a:lnTo>
                      <a:pt x="2046" y="1696"/>
                    </a:lnTo>
                    <a:lnTo>
                      <a:pt x="2038" y="1704"/>
                    </a:lnTo>
                    <a:lnTo>
                      <a:pt x="2044" y="1723"/>
                    </a:lnTo>
                    <a:lnTo>
                      <a:pt x="2040" y="1728"/>
                    </a:lnTo>
                    <a:lnTo>
                      <a:pt x="2035" y="1726"/>
                    </a:lnTo>
                    <a:lnTo>
                      <a:pt x="2040" y="1719"/>
                    </a:lnTo>
                    <a:lnTo>
                      <a:pt x="2014" y="1716"/>
                    </a:lnTo>
                    <a:lnTo>
                      <a:pt x="1996" y="1716"/>
                    </a:lnTo>
                    <a:lnTo>
                      <a:pt x="1975" y="1714"/>
                    </a:lnTo>
                    <a:lnTo>
                      <a:pt x="1965" y="1698"/>
                    </a:lnTo>
                    <a:lnTo>
                      <a:pt x="1957" y="1693"/>
                    </a:lnTo>
                    <a:lnTo>
                      <a:pt x="1951" y="1690"/>
                    </a:lnTo>
                    <a:lnTo>
                      <a:pt x="1941" y="1686"/>
                    </a:lnTo>
                    <a:lnTo>
                      <a:pt x="1932" y="1672"/>
                    </a:lnTo>
                    <a:lnTo>
                      <a:pt x="1939" y="1660"/>
                    </a:lnTo>
                    <a:lnTo>
                      <a:pt x="1929" y="1644"/>
                    </a:lnTo>
                    <a:lnTo>
                      <a:pt x="1921" y="1653"/>
                    </a:lnTo>
                    <a:lnTo>
                      <a:pt x="1906" y="1650"/>
                    </a:lnTo>
                    <a:lnTo>
                      <a:pt x="1891" y="1647"/>
                    </a:lnTo>
                    <a:lnTo>
                      <a:pt x="1885" y="1644"/>
                    </a:lnTo>
                    <a:lnTo>
                      <a:pt x="1882" y="1636"/>
                    </a:lnTo>
                    <a:lnTo>
                      <a:pt x="1873" y="1633"/>
                    </a:lnTo>
                    <a:lnTo>
                      <a:pt x="1864" y="1632"/>
                    </a:lnTo>
                    <a:lnTo>
                      <a:pt x="1860" y="1627"/>
                    </a:lnTo>
                    <a:lnTo>
                      <a:pt x="1852" y="1621"/>
                    </a:lnTo>
                    <a:lnTo>
                      <a:pt x="1846" y="1603"/>
                    </a:lnTo>
                    <a:lnTo>
                      <a:pt x="1848" y="1597"/>
                    </a:lnTo>
                    <a:lnTo>
                      <a:pt x="1845" y="1585"/>
                    </a:lnTo>
                    <a:lnTo>
                      <a:pt x="1846" y="1575"/>
                    </a:lnTo>
                    <a:lnTo>
                      <a:pt x="1843" y="1566"/>
                    </a:lnTo>
                    <a:lnTo>
                      <a:pt x="1840" y="1549"/>
                    </a:lnTo>
                    <a:lnTo>
                      <a:pt x="1833" y="1522"/>
                    </a:lnTo>
                    <a:lnTo>
                      <a:pt x="1839" y="1518"/>
                    </a:lnTo>
                    <a:lnTo>
                      <a:pt x="1840" y="1510"/>
                    </a:lnTo>
                    <a:lnTo>
                      <a:pt x="1837" y="1504"/>
                    </a:lnTo>
                    <a:lnTo>
                      <a:pt x="1836" y="1500"/>
                    </a:lnTo>
                    <a:lnTo>
                      <a:pt x="1836" y="1492"/>
                    </a:lnTo>
                    <a:lnTo>
                      <a:pt x="1830" y="1477"/>
                    </a:lnTo>
                    <a:lnTo>
                      <a:pt x="1818" y="1465"/>
                    </a:lnTo>
                    <a:lnTo>
                      <a:pt x="1794" y="1453"/>
                    </a:lnTo>
                    <a:lnTo>
                      <a:pt x="1789" y="1452"/>
                    </a:lnTo>
                    <a:lnTo>
                      <a:pt x="1780" y="1450"/>
                    </a:lnTo>
                    <a:lnTo>
                      <a:pt x="1779" y="1440"/>
                    </a:lnTo>
                    <a:lnTo>
                      <a:pt x="1765" y="1441"/>
                    </a:lnTo>
                    <a:lnTo>
                      <a:pt x="1750" y="1438"/>
                    </a:lnTo>
                    <a:lnTo>
                      <a:pt x="1738" y="1443"/>
                    </a:lnTo>
                    <a:lnTo>
                      <a:pt x="1734" y="1446"/>
                    </a:lnTo>
                    <a:lnTo>
                      <a:pt x="1726" y="1449"/>
                    </a:lnTo>
                    <a:lnTo>
                      <a:pt x="1713" y="1449"/>
                    </a:lnTo>
                    <a:lnTo>
                      <a:pt x="1705" y="1450"/>
                    </a:lnTo>
                    <a:lnTo>
                      <a:pt x="1695" y="1461"/>
                    </a:lnTo>
                    <a:lnTo>
                      <a:pt x="1684" y="1461"/>
                    </a:lnTo>
                    <a:lnTo>
                      <a:pt x="1677" y="1467"/>
                    </a:lnTo>
                    <a:lnTo>
                      <a:pt x="1680" y="1477"/>
                    </a:lnTo>
                    <a:lnTo>
                      <a:pt x="1669" y="1479"/>
                    </a:lnTo>
                    <a:lnTo>
                      <a:pt x="1659" y="1470"/>
                    </a:lnTo>
                    <a:lnTo>
                      <a:pt x="1656" y="1471"/>
                    </a:lnTo>
                    <a:lnTo>
                      <a:pt x="1659" y="1477"/>
                    </a:lnTo>
                    <a:lnTo>
                      <a:pt x="1665" y="1486"/>
                    </a:lnTo>
                    <a:lnTo>
                      <a:pt x="1665" y="1491"/>
                    </a:lnTo>
                    <a:lnTo>
                      <a:pt x="1659" y="1492"/>
                    </a:lnTo>
                    <a:lnTo>
                      <a:pt x="1647" y="1497"/>
                    </a:lnTo>
                    <a:lnTo>
                      <a:pt x="1639" y="1501"/>
                    </a:lnTo>
                    <a:lnTo>
                      <a:pt x="1627" y="1509"/>
                    </a:lnTo>
                    <a:lnTo>
                      <a:pt x="1623" y="1518"/>
                    </a:lnTo>
                    <a:lnTo>
                      <a:pt x="1612" y="1524"/>
                    </a:lnTo>
                    <a:lnTo>
                      <a:pt x="1606" y="1525"/>
                    </a:lnTo>
                    <a:lnTo>
                      <a:pt x="1593" y="1531"/>
                    </a:lnTo>
                    <a:lnTo>
                      <a:pt x="1587" y="1534"/>
                    </a:lnTo>
                    <a:lnTo>
                      <a:pt x="1584" y="1537"/>
                    </a:lnTo>
                    <a:lnTo>
                      <a:pt x="1585" y="1543"/>
                    </a:lnTo>
                    <a:lnTo>
                      <a:pt x="1590" y="1551"/>
                    </a:lnTo>
                    <a:lnTo>
                      <a:pt x="1588" y="1555"/>
                    </a:lnTo>
                    <a:lnTo>
                      <a:pt x="1585" y="1558"/>
                    </a:lnTo>
                    <a:lnTo>
                      <a:pt x="1575" y="1558"/>
                    </a:lnTo>
                    <a:lnTo>
                      <a:pt x="1566" y="1557"/>
                    </a:lnTo>
                    <a:lnTo>
                      <a:pt x="1549" y="1558"/>
                    </a:lnTo>
                    <a:lnTo>
                      <a:pt x="1540" y="1542"/>
                    </a:lnTo>
                    <a:lnTo>
                      <a:pt x="1539" y="1540"/>
                    </a:lnTo>
                    <a:lnTo>
                      <a:pt x="1530" y="1543"/>
                    </a:lnTo>
                    <a:lnTo>
                      <a:pt x="1524" y="1543"/>
                    </a:lnTo>
                    <a:lnTo>
                      <a:pt x="1524" y="1554"/>
                    </a:lnTo>
                    <a:lnTo>
                      <a:pt x="1513" y="1554"/>
                    </a:lnTo>
                    <a:lnTo>
                      <a:pt x="1513" y="1558"/>
                    </a:lnTo>
                    <a:lnTo>
                      <a:pt x="1503" y="1561"/>
                    </a:lnTo>
                    <a:lnTo>
                      <a:pt x="1498" y="1566"/>
                    </a:lnTo>
                    <a:lnTo>
                      <a:pt x="1495" y="1558"/>
                    </a:lnTo>
                    <a:lnTo>
                      <a:pt x="1494" y="1551"/>
                    </a:lnTo>
                    <a:lnTo>
                      <a:pt x="1497" y="1546"/>
                    </a:lnTo>
                    <a:lnTo>
                      <a:pt x="1495" y="1542"/>
                    </a:lnTo>
                    <a:lnTo>
                      <a:pt x="1494" y="1536"/>
                    </a:lnTo>
                    <a:lnTo>
                      <a:pt x="1495" y="1527"/>
                    </a:lnTo>
                    <a:lnTo>
                      <a:pt x="1497" y="1521"/>
                    </a:lnTo>
                    <a:lnTo>
                      <a:pt x="1497" y="1510"/>
                    </a:lnTo>
                    <a:lnTo>
                      <a:pt x="1498" y="1507"/>
                    </a:lnTo>
                    <a:lnTo>
                      <a:pt x="1494" y="1504"/>
                    </a:lnTo>
                    <a:lnTo>
                      <a:pt x="1494" y="1501"/>
                    </a:lnTo>
                    <a:lnTo>
                      <a:pt x="1500" y="1488"/>
                    </a:lnTo>
                    <a:lnTo>
                      <a:pt x="1500" y="1471"/>
                    </a:lnTo>
                    <a:lnTo>
                      <a:pt x="1492" y="1473"/>
                    </a:lnTo>
                    <a:lnTo>
                      <a:pt x="1488" y="1470"/>
                    </a:lnTo>
                    <a:lnTo>
                      <a:pt x="1485" y="1470"/>
                    </a:lnTo>
                    <a:lnTo>
                      <a:pt x="1482" y="1479"/>
                    </a:lnTo>
                    <a:lnTo>
                      <a:pt x="1476" y="1479"/>
                    </a:lnTo>
                    <a:lnTo>
                      <a:pt x="1452" y="1479"/>
                    </a:lnTo>
                    <a:lnTo>
                      <a:pt x="1440" y="1476"/>
                    </a:lnTo>
                    <a:lnTo>
                      <a:pt x="1437" y="1476"/>
                    </a:lnTo>
                    <a:lnTo>
                      <a:pt x="1425" y="1470"/>
                    </a:lnTo>
                    <a:lnTo>
                      <a:pt x="1422" y="1461"/>
                    </a:lnTo>
                    <a:lnTo>
                      <a:pt x="1423" y="1452"/>
                    </a:lnTo>
                    <a:lnTo>
                      <a:pt x="1420" y="1446"/>
                    </a:lnTo>
                    <a:lnTo>
                      <a:pt x="1422" y="1443"/>
                    </a:lnTo>
                    <a:lnTo>
                      <a:pt x="1419" y="1432"/>
                    </a:lnTo>
                    <a:lnTo>
                      <a:pt x="1416" y="1425"/>
                    </a:lnTo>
                    <a:lnTo>
                      <a:pt x="1405" y="1416"/>
                    </a:lnTo>
                    <a:lnTo>
                      <a:pt x="1405" y="1408"/>
                    </a:lnTo>
                    <a:lnTo>
                      <a:pt x="1417" y="1396"/>
                    </a:lnTo>
                    <a:lnTo>
                      <a:pt x="1425" y="1396"/>
                    </a:lnTo>
                    <a:lnTo>
                      <a:pt x="1426" y="1387"/>
                    </a:lnTo>
                    <a:lnTo>
                      <a:pt x="1399" y="1372"/>
                    </a:lnTo>
                    <a:lnTo>
                      <a:pt x="1387" y="1354"/>
                    </a:lnTo>
                    <a:lnTo>
                      <a:pt x="1380" y="1353"/>
                    </a:lnTo>
                    <a:lnTo>
                      <a:pt x="1377" y="1347"/>
                    </a:lnTo>
                    <a:lnTo>
                      <a:pt x="1371" y="1353"/>
                    </a:lnTo>
                    <a:lnTo>
                      <a:pt x="1359" y="1348"/>
                    </a:lnTo>
                    <a:lnTo>
                      <a:pt x="1351" y="1342"/>
                    </a:lnTo>
                    <a:lnTo>
                      <a:pt x="1347" y="1345"/>
                    </a:lnTo>
                    <a:lnTo>
                      <a:pt x="1347" y="1354"/>
                    </a:lnTo>
                    <a:lnTo>
                      <a:pt x="1339" y="1359"/>
                    </a:lnTo>
                    <a:lnTo>
                      <a:pt x="1335" y="1363"/>
                    </a:lnTo>
                    <a:lnTo>
                      <a:pt x="1347" y="1371"/>
                    </a:lnTo>
                    <a:lnTo>
                      <a:pt x="1350" y="1377"/>
                    </a:lnTo>
                    <a:lnTo>
                      <a:pt x="1342" y="1389"/>
                    </a:lnTo>
                    <a:lnTo>
                      <a:pt x="1335" y="1389"/>
                    </a:lnTo>
                    <a:lnTo>
                      <a:pt x="1323" y="1399"/>
                    </a:lnTo>
                    <a:lnTo>
                      <a:pt x="1330" y="1402"/>
                    </a:lnTo>
                    <a:lnTo>
                      <a:pt x="1324" y="1410"/>
                    </a:lnTo>
                    <a:lnTo>
                      <a:pt x="1317" y="1411"/>
                    </a:lnTo>
                    <a:lnTo>
                      <a:pt x="1315" y="1398"/>
                    </a:lnTo>
                    <a:lnTo>
                      <a:pt x="1309" y="1401"/>
                    </a:lnTo>
                    <a:lnTo>
                      <a:pt x="1302" y="1399"/>
                    </a:lnTo>
                    <a:lnTo>
                      <a:pt x="1287" y="1395"/>
                    </a:lnTo>
                    <a:lnTo>
                      <a:pt x="1275" y="1408"/>
                    </a:lnTo>
                    <a:lnTo>
                      <a:pt x="1273" y="1419"/>
                    </a:lnTo>
                    <a:lnTo>
                      <a:pt x="1263" y="1419"/>
                    </a:lnTo>
                    <a:lnTo>
                      <a:pt x="1258" y="1426"/>
                    </a:lnTo>
                    <a:lnTo>
                      <a:pt x="1263" y="1434"/>
                    </a:lnTo>
                    <a:lnTo>
                      <a:pt x="1255" y="1437"/>
                    </a:lnTo>
                    <a:lnTo>
                      <a:pt x="1251" y="1432"/>
                    </a:lnTo>
                    <a:lnTo>
                      <a:pt x="1251" y="1428"/>
                    </a:lnTo>
                    <a:lnTo>
                      <a:pt x="1240" y="1423"/>
                    </a:lnTo>
                    <a:lnTo>
                      <a:pt x="1231" y="1419"/>
                    </a:lnTo>
                    <a:lnTo>
                      <a:pt x="1231" y="1411"/>
                    </a:lnTo>
                    <a:lnTo>
                      <a:pt x="1227" y="1407"/>
                    </a:lnTo>
                    <a:lnTo>
                      <a:pt x="1227" y="1408"/>
                    </a:lnTo>
                    <a:lnTo>
                      <a:pt x="1216" y="1413"/>
                    </a:lnTo>
                    <a:lnTo>
                      <a:pt x="1207" y="1410"/>
                    </a:lnTo>
                    <a:lnTo>
                      <a:pt x="1185" y="1402"/>
                    </a:lnTo>
                    <a:lnTo>
                      <a:pt x="1168" y="1405"/>
                    </a:lnTo>
                    <a:lnTo>
                      <a:pt x="1170" y="1408"/>
                    </a:lnTo>
                    <a:lnTo>
                      <a:pt x="1165" y="1416"/>
                    </a:lnTo>
                    <a:lnTo>
                      <a:pt x="1156" y="1416"/>
                    </a:lnTo>
                    <a:lnTo>
                      <a:pt x="1150" y="1416"/>
                    </a:lnTo>
                    <a:lnTo>
                      <a:pt x="1141" y="1411"/>
                    </a:lnTo>
                    <a:lnTo>
                      <a:pt x="1135" y="1414"/>
                    </a:lnTo>
                    <a:lnTo>
                      <a:pt x="1129" y="1423"/>
                    </a:lnTo>
                    <a:lnTo>
                      <a:pt x="1122" y="1423"/>
                    </a:lnTo>
                    <a:lnTo>
                      <a:pt x="1113" y="1438"/>
                    </a:lnTo>
                    <a:lnTo>
                      <a:pt x="1105" y="1441"/>
                    </a:lnTo>
                    <a:lnTo>
                      <a:pt x="1105" y="1449"/>
                    </a:lnTo>
                    <a:lnTo>
                      <a:pt x="1096" y="1452"/>
                    </a:lnTo>
                    <a:lnTo>
                      <a:pt x="1092" y="1447"/>
                    </a:lnTo>
                    <a:lnTo>
                      <a:pt x="1087" y="1456"/>
                    </a:lnTo>
                    <a:lnTo>
                      <a:pt x="1077" y="1453"/>
                    </a:lnTo>
                    <a:lnTo>
                      <a:pt x="1068" y="1452"/>
                    </a:lnTo>
                    <a:lnTo>
                      <a:pt x="1053" y="1467"/>
                    </a:lnTo>
                    <a:lnTo>
                      <a:pt x="1029" y="1482"/>
                    </a:lnTo>
                    <a:lnTo>
                      <a:pt x="1024" y="1468"/>
                    </a:lnTo>
                    <a:lnTo>
                      <a:pt x="1020" y="1456"/>
                    </a:lnTo>
                    <a:lnTo>
                      <a:pt x="1023" y="1447"/>
                    </a:lnTo>
                    <a:lnTo>
                      <a:pt x="1020" y="1446"/>
                    </a:lnTo>
                    <a:lnTo>
                      <a:pt x="1018" y="1441"/>
                    </a:lnTo>
                    <a:lnTo>
                      <a:pt x="1012" y="1435"/>
                    </a:lnTo>
                    <a:lnTo>
                      <a:pt x="1012" y="1438"/>
                    </a:lnTo>
                    <a:lnTo>
                      <a:pt x="1006" y="1438"/>
                    </a:lnTo>
                    <a:lnTo>
                      <a:pt x="1005" y="1444"/>
                    </a:lnTo>
                    <a:lnTo>
                      <a:pt x="997" y="1444"/>
                    </a:lnTo>
                    <a:lnTo>
                      <a:pt x="999" y="1453"/>
                    </a:lnTo>
                    <a:lnTo>
                      <a:pt x="985" y="1458"/>
                    </a:lnTo>
                    <a:lnTo>
                      <a:pt x="985" y="1456"/>
                    </a:lnTo>
                    <a:lnTo>
                      <a:pt x="987" y="1449"/>
                    </a:lnTo>
                    <a:lnTo>
                      <a:pt x="981" y="1449"/>
                    </a:lnTo>
                    <a:lnTo>
                      <a:pt x="973" y="1455"/>
                    </a:lnTo>
                    <a:lnTo>
                      <a:pt x="967" y="1450"/>
                    </a:lnTo>
                    <a:lnTo>
                      <a:pt x="960" y="1458"/>
                    </a:lnTo>
                    <a:lnTo>
                      <a:pt x="960" y="1465"/>
                    </a:lnTo>
                    <a:lnTo>
                      <a:pt x="975" y="1473"/>
                    </a:lnTo>
                    <a:lnTo>
                      <a:pt x="975" y="1477"/>
                    </a:lnTo>
                    <a:lnTo>
                      <a:pt x="964" y="1483"/>
                    </a:lnTo>
                    <a:lnTo>
                      <a:pt x="951" y="1485"/>
                    </a:lnTo>
                    <a:lnTo>
                      <a:pt x="948" y="1491"/>
                    </a:lnTo>
                    <a:lnTo>
                      <a:pt x="937" y="1491"/>
                    </a:lnTo>
                    <a:lnTo>
                      <a:pt x="924" y="1480"/>
                    </a:lnTo>
                    <a:lnTo>
                      <a:pt x="924" y="1459"/>
                    </a:lnTo>
                    <a:lnTo>
                      <a:pt x="909" y="1461"/>
                    </a:lnTo>
                    <a:lnTo>
                      <a:pt x="906" y="1467"/>
                    </a:lnTo>
                    <a:lnTo>
                      <a:pt x="897" y="1470"/>
                    </a:lnTo>
                    <a:lnTo>
                      <a:pt x="897" y="1462"/>
                    </a:lnTo>
                    <a:lnTo>
                      <a:pt x="894" y="1450"/>
                    </a:lnTo>
                    <a:lnTo>
                      <a:pt x="889" y="1447"/>
                    </a:lnTo>
                    <a:lnTo>
                      <a:pt x="888" y="1447"/>
                    </a:lnTo>
                    <a:lnTo>
                      <a:pt x="888" y="1444"/>
                    </a:lnTo>
                    <a:lnTo>
                      <a:pt x="883" y="1443"/>
                    </a:lnTo>
                    <a:lnTo>
                      <a:pt x="883" y="1438"/>
                    </a:lnTo>
                    <a:lnTo>
                      <a:pt x="877" y="1437"/>
                    </a:lnTo>
                    <a:lnTo>
                      <a:pt x="870" y="1422"/>
                    </a:lnTo>
                    <a:lnTo>
                      <a:pt x="862" y="1420"/>
                    </a:lnTo>
                    <a:lnTo>
                      <a:pt x="855" y="1426"/>
                    </a:lnTo>
                    <a:lnTo>
                      <a:pt x="844" y="1425"/>
                    </a:lnTo>
                    <a:lnTo>
                      <a:pt x="835" y="1429"/>
                    </a:lnTo>
                    <a:lnTo>
                      <a:pt x="832" y="1426"/>
                    </a:lnTo>
                    <a:lnTo>
                      <a:pt x="825" y="1428"/>
                    </a:lnTo>
                    <a:lnTo>
                      <a:pt x="813" y="1419"/>
                    </a:lnTo>
                    <a:lnTo>
                      <a:pt x="814" y="1407"/>
                    </a:lnTo>
                    <a:lnTo>
                      <a:pt x="793" y="1405"/>
                    </a:lnTo>
                    <a:lnTo>
                      <a:pt x="790" y="1404"/>
                    </a:lnTo>
                    <a:lnTo>
                      <a:pt x="784" y="1404"/>
                    </a:lnTo>
                    <a:lnTo>
                      <a:pt x="780" y="1410"/>
                    </a:lnTo>
                    <a:lnTo>
                      <a:pt x="780" y="1419"/>
                    </a:lnTo>
                    <a:lnTo>
                      <a:pt x="778" y="1422"/>
                    </a:lnTo>
                    <a:lnTo>
                      <a:pt x="774" y="1422"/>
                    </a:lnTo>
                    <a:lnTo>
                      <a:pt x="772" y="1428"/>
                    </a:lnTo>
                    <a:lnTo>
                      <a:pt x="771" y="1429"/>
                    </a:lnTo>
                    <a:lnTo>
                      <a:pt x="757" y="1429"/>
                    </a:lnTo>
                    <a:lnTo>
                      <a:pt x="748" y="1434"/>
                    </a:lnTo>
                    <a:lnTo>
                      <a:pt x="744" y="1429"/>
                    </a:lnTo>
                    <a:lnTo>
                      <a:pt x="738" y="1429"/>
                    </a:lnTo>
                    <a:lnTo>
                      <a:pt x="730" y="1423"/>
                    </a:lnTo>
                    <a:lnTo>
                      <a:pt x="720" y="1419"/>
                    </a:lnTo>
                    <a:lnTo>
                      <a:pt x="720" y="1414"/>
                    </a:lnTo>
                    <a:lnTo>
                      <a:pt x="711" y="1411"/>
                    </a:lnTo>
                    <a:lnTo>
                      <a:pt x="700" y="1402"/>
                    </a:lnTo>
                    <a:lnTo>
                      <a:pt x="693" y="1413"/>
                    </a:lnTo>
                    <a:lnTo>
                      <a:pt x="688" y="1407"/>
                    </a:lnTo>
                    <a:lnTo>
                      <a:pt x="666" y="1404"/>
                    </a:lnTo>
                    <a:lnTo>
                      <a:pt x="657" y="1395"/>
                    </a:lnTo>
                    <a:lnTo>
                      <a:pt x="630" y="1398"/>
                    </a:lnTo>
                    <a:lnTo>
                      <a:pt x="618" y="1389"/>
                    </a:lnTo>
                    <a:lnTo>
                      <a:pt x="615" y="1381"/>
                    </a:lnTo>
                    <a:lnTo>
                      <a:pt x="600" y="1384"/>
                    </a:lnTo>
                    <a:lnTo>
                      <a:pt x="595" y="1384"/>
                    </a:lnTo>
                    <a:lnTo>
                      <a:pt x="585" y="1371"/>
                    </a:lnTo>
                    <a:lnTo>
                      <a:pt x="561" y="1374"/>
                    </a:lnTo>
                    <a:lnTo>
                      <a:pt x="550" y="1368"/>
                    </a:lnTo>
                    <a:lnTo>
                      <a:pt x="532" y="1378"/>
                    </a:lnTo>
                    <a:lnTo>
                      <a:pt x="534" y="1390"/>
                    </a:lnTo>
                    <a:lnTo>
                      <a:pt x="526" y="1407"/>
                    </a:lnTo>
                    <a:lnTo>
                      <a:pt x="522" y="1408"/>
                    </a:lnTo>
                    <a:lnTo>
                      <a:pt x="514" y="1411"/>
                    </a:lnTo>
                    <a:lnTo>
                      <a:pt x="510" y="1417"/>
                    </a:lnTo>
                    <a:lnTo>
                      <a:pt x="498" y="1422"/>
                    </a:lnTo>
                    <a:lnTo>
                      <a:pt x="496" y="1419"/>
                    </a:lnTo>
                    <a:lnTo>
                      <a:pt x="492" y="1420"/>
                    </a:lnTo>
                    <a:lnTo>
                      <a:pt x="487" y="1422"/>
                    </a:lnTo>
                    <a:lnTo>
                      <a:pt x="483" y="1431"/>
                    </a:lnTo>
                    <a:lnTo>
                      <a:pt x="477" y="1429"/>
                    </a:lnTo>
                    <a:lnTo>
                      <a:pt x="471" y="1438"/>
                    </a:lnTo>
                    <a:lnTo>
                      <a:pt x="474" y="1449"/>
                    </a:lnTo>
                    <a:lnTo>
                      <a:pt x="460" y="1456"/>
                    </a:lnTo>
                    <a:lnTo>
                      <a:pt x="451" y="1464"/>
                    </a:lnTo>
                    <a:lnTo>
                      <a:pt x="447" y="1467"/>
                    </a:lnTo>
                    <a:lnTo>
                      <a:pt x="433" y="1464"/>
                    </a:lnTo>
                    <a:lnTo>
                      <a:pt x="409" y="1464"/>
                    </a:lnTo>
                    <a:lnTo>
                      <a:pt x="400" y="1452"/>
                    </a:lnTo>
                    <a:lnTo>
                      <a:pt x="402" y="1446"/>
                    </a:lnTo>
                    <a:lnTo>
                      <a:pt x="394" y="1435"/>
                    </a:lnTo>
                    <a:lnTo>
                      <a:pt x="385" y="1438"/>
                    </a:lnTo>
                    <a:lnTo>
                      <a:pt x="376" y="1434"/>
                    </a:lnTo>
                    <a:lnTo>
                      <a:pt x="370" y="1437"/>
                    </a:lnTo>
                    <a:lnTo>
                      <a:pt x="361" y="1431"/>
                    </a:lnTo>
                    <a:lnTo>
                      <a:pt x="357" y="1410"/>
                    </a:lnTo>
                    <a:lnTo>
                      <a:pt x="340" y="1386"/>
                    </a:lnTo>
                    <a:lnTo>
                      <a:pt x="339" y="1375"/>
                    </a:lnTo>
                    <a:lnTo>
                      <a:pt x="328" y="1369"/>
                    </a:lnTo>
                    <a:lnTo>
                      <a:pt x="325" y="1360"/>
                    </a:lnTo>
                    <a:lnTo>
                      <a:pt x="330" y="1357"/>
                    </a:lnTo>
                    <a:lnTo>
                      <a:pt x="328" y="1350"/>
                    </a:lnTo>
                    <a:lnTo>
                      <a:pt x="334" y="1345"/>
                    </a:lnTo>
                    <a:lnTo>
                      <a:pt x="328" y="1335"/>
                    </a:lnTo>
                    <a:lnTo>
                      <a:pt x="330" y="1327"/>
                    </a:lnTo>
                    <a:lnTo>
                      <a:pt x="318" y="1329"/>
                    </a:lnTo>
                    <a:lnTo>
                      <a:pt x="316" y="1318"/>
                    </a:lnTo>
                    <a:lnTo>
                      <a:pt x="322" y="1306"/>
                    </a:lnTo>
                    <a:lnTo>
                      <a:pt x="316" y="1305"/>
                    </a:lnTo>
                    <a:lnTo>
                      <a:pt x="315" y="1297"/>
                    </a:lnTo>
                    <a:lnTo>
                      <a:pt x="307" y="1293"/>
                    </a:lnTo>
                    <a:lnTo>
                      <a:pt x="301" y="1288"/>
                    </a:lnTo>
                    <a:lnTo>
                      <a:pt x="298" y="1281"/>
                    </a:lnTo>
                    <a:lnTo>
                      <a:pt x="294" y="1275"/>
                    </a:lnTo>
                    <a:lnTo>
                      <a:pt x="295" y="1261"/>
                    </a:lnTo>
                    <a:lnTo>
                      <a:pt x="312" y="1264"/>
                    </a:lnTo>
                    <a:lnTo>
                      <a:pt x="327" y="1263"/>
                    </a:lnTo>
                    <a:lnTo>
                      <a:pt x="340" y="1269"/>
                    </a:lnTo>
                    <a:lnTo>
                      <a:pt x="340" y="1258"/>
                    </a:lnTo>
                    <a:lnTo>
                      <a:pt x="346" y="1257"/>
                    </a:lnTo>
                    <a:lnTo>
                      <a:pt x="348" y="1264"/>
                    </a:lnTo>
                    <a:lnTo>
                      <a:pt x="354" y="1266"/>
                    </a:lnTo>
                    <a:lnTo>
                      <a:pt x="360" y="1266"/>
                    </a:lnTo>
                    <a:lnTo>
                      <a:pt x="361" y="1270"/>
                    </a:lnTo>
                    <a:lnTo>
                      <a:pt x="367" y="1270"/>
                    </a:lnTo>
                    <a:lnTo>
                      <a:pt x="376" y="1269"/>
                    </a:lnTo>
                    <a:lnTo>
                      <a:pt x="372" y="1263"/>
                    </a:lnTo>
                    <a:lnTo>
                      <a:pt x="378" y="1260"/>
                    </a:lnTo>
                    <a:lnTo>
                      <a:pt x="390" y="1266"/>
                    </a:lnTo>
                    <a:lnTo>
                      <a:pt x="391" y="1258"/>
                    </a:lnTo>
                    <a:lnTo>
                      <a:pt x="402" y="1257"/>
                    </a:lnTo>
                    <a:lnTo>
                      <a:pt x="412" y="1254"/>
                    </a:lnTo>
                    <a:lnTo>
                      <a:pt x="415" y="1254"/>
                    </a:lnTo>
                    <a:lnTo>
                      <a:pt x="430" y="1252"/>
                    </a:lnTo>
                    <a:lnTo>
                      <a:pt x="435" y="1254"/>
                    </a:lnTo>
                    <a:lnTo>
                      <a:pt x="441" y="1252"/>
                    </a:lnTo>
                    <a:lnTo>
                      <a:pt x="448" y="1257"/>
                    </a:lnTo>
                    <a:lnTo>
                      <a:pt x="451" y="1254"/>
                    </a:lnTo>
                    <a:lnTo>
                      <a:pt x="457" y="1254"/>
                    </a:lnTo>
                    <a:lnTo>
                      <a:pt x="460" y="1261"/>
                    </a:lnTo>
                    <a:lnTo>
                      <a:pt x="463" y="1264"/>
                    </a:lnTo>
                    <a:lnTo>
                      <a:pt x="468" y="1264"/>
                    </a:lnTo>
                    <a:lnTo>
                      <a:pt x="460" y="1246"/>
                    </a:lnTo>
                    <a:lnTo>
                      <a:pt x="454" y="1248"/>
                    </a:lnTo>
                    <a:lnTo>
                      <a:pt x="448" y="1243"/>
                    </a:lnTo>
                    <a:lnTo>
                      <a:pt x="439" y="1243"/>
                    </a:lnTo>
                    <a:lnTo>
                      <a:pt x="436" y="1240"/>
                    </a:lnTo>
                    <a:lnTo>
                      <a:pt x="424" y="1236"/>
                    </a:lnTo>
                    <a:lnTo>
                      <a:pt x="423" y="1231"/>
                    </a:lnTo>
                    <a:lnTo>
                      <a:pt x="427" y="1221"/>
                    </a:lnTo>
                    <a:lnTo>
                      <a:pt x="426" y="1219"/>
                    </a:lnTo>
                    <a:lnTo>
                      <a:pt x="415" y="1222"/>
                    </a:lnTo>
                    <a:lnTo>
                      <a:pt x="414" y="1227"/>
                    </a:lnTo>
                    <a:lnTo>
                      <a:pt x="408" y="1227"/>
                    </a:lnTo>
                    <a:lnTo>
                      <a:pt x="402" y="1237"/>
                    </a:lnTo>
                    <a:lnTo>
                      <a:pt x="396" y="1237"/>
                    </a:lnTo>
                    <a:lnTo>
                      <a:pt x="394" y="1231"/>
                    </a:lnTo>
                    <a:lnTo>
                      <a:pt x="396" y="1224"/>
                    </a:lnTo>
                    <a:lnTo>
                      <a:pt x="387" y="1215"/>
                    </a:lnTo>
                    <a:lnTo>
                      <a:pt x="379" y="1215"/>
                    </a:lnTo>
                    <a:lnTo>
                      <a:pt x="375" y="1209"/>
                    </a:lnTo>
                    <a:lnTo>
                      <a:pt x="366" y="1210"/>
                    </a:lnTo>
                    <a:lnTo>
                      <a:pt x="355" y="1206"/>
                    </a:lnTo>
                    <a:lnTo>
                      <a:pt x="346" y="1194"/>
                    </a:lnTo>
                    <a:lnTo>
                      <a:pt x="345" y="1183"/>
                    </a:lnTo>
                    <a:lnTo>
                      <a:pt x="342" y="1171"/>
                    </a:lnTo>
                    <a:lnTo>
                      <a:pt x="339" y="1165"/>
                    </a:lnTo>
                    <a:lnTo>
                      <a:pt x="330" y="1149"/>
                    </a:lnTo>
                    <a:lnTo>
                      <a:pt x="312" y="1146"/>
                    </a:lnTo>
                    <a:lnTo>
                      <a:pt x="310" y="1144"/>
                    </a:lnTo>
                    <a:lnTo>
                      <a:pt x="298" y="1132"/>
                    </a:lnTo>
                    <a:lnTo>
                      <a:pt x="298" y="1126"/>
                    </a:lnTo>
                    <a:lnTo>
                      <a:pt x="295" y="1122"/>
                    </a:lnTo>
                    <a:lnTo>
                      <a:pt x="298" y="1114"/>
                    </a:lnTo>
                    <a:lnTo>
                      <a:pt x="298" y="1098"/>
                    </a:lnTo>
                    <a:lnTo>
                      <a:pt x="297" y="1068"/>
                    </a:lnTo>
                    <a:lnTo>
                      <a:pt x="295" y="1060"/>
                    </a:lnTo>
                    <a:lnTo>
                      <a:pt x="294" y="1047"/>
                    </a:lnTo>
                    <a:lnTo>
                      <a:pt x="286" y="1035"/>
                    </a:lnTo>
                    <a:lnTo>
                      <a:pt x="276" y="1029"/>
                    </a:lnTo>
                    <a:lnTo>
                      <a:pt x="268" y="1033"/>
                    </a:lnTo>
                    <a:lnTo>
                      <a:pt x="262" y="1027"/>
                    </a:lnTo>
                    <a:lnTo>
                      <a:pt x="283" y="1017"/>
                    </a:lnTo>
                    <a:lnTo>
                      <a:pt x="288" y="1011"/>
                    </a:lnTo>
                    <a:lnTo>
                      <a:pt x="291" y="997"/>
                    </a:lnTo>
                    <a:lnTo>
                      <a:pt x="297" y="972"/>
                    </a:lnTo>
                    <a:lnTo>
                      <a:pt x="298" y="964"/>
                    </a:lnTo>
                    <a:lnTo>
                      <a:pt x="300" y="945"/>
                    </a:lnTo>
                    <a:lnTo>
                      <a:pt x="303" y="924"/>
                    </a:lnTo>
                    <a:lnTo>
                      <a:pt x="310" y="915"/>
                    </a:lnTo>
                    <a:lnTo>
                      <a:pt x="303" y="907"/>
                    </a:lnTo>
                    <a:lnTo>
                      <a:pt x="303" y="895"/>
                    </a:lnTo>
                    <a:lnTo>
                      <a:pt x="306" y="877"/>
                    </a:lnTo>
                    <a:lnTo>
                      <a:pt x="303" y="862"/>
                    </a:lnTo>
                    <a:lnTo>
                      <a:pt x="306" y="843"/>
                    </a:lnTo>
                    <a:lnTo>
                      <a:pt x="309" y="835"/>
                    </a:lnTo>
                    <a:lnTo>
                      <a:pt x="307" y="829"/>
                    </a:lnTo>
                    <a:lnTo>
                      <a:pt x="301" y="831"/>
                    </a:lnTo>
                    <a:lnTo>
                      <a:pt x="295" y="835"/>
                    </a:lnTo>
                    <a:lnTo>
                      <a:pt x="295" y="838"/>
                    </a:lnTo>
                    <a:lnTo>
                      <a:pt x="289" y="835"/>
                    </a:lnTo>
                    <a:lnTo>
                      <a:pt x="279" y="814"/>
                    </a:lnTo>
                    <a:lnTo>
                      <a:pt x="271" y="769"/>
                    </a:lnTo>
                    <a:lnTo>
                      <a:pt x="268" y="744"/>
                    </a:lnTo>
                    <a:lnTo>
                      <a:pt x="270" y="706"/>
                    </a:lnTo>
                    <a:lnTo>
                      <a:pt x="280" y="679"/>
                    </a:lnTo>
                    <a:lnTo>
                      <a:pt x="279" y="669"/>
                    </a:lnTo>
                    <a:lnTo>
                      <a:pt x="273" y="619"/>
                    </a:lnTo>
                    <a:lnTo>
                      <a:pt x="271" y="616"/>
                    </a:lnTo>
                    <a:lnTo>
                      <a:pt x="268" y="609"/>
                    </a:lnTo>
                    <a:lnTo>
                      <a:pt x="270" y="597"/>
                    </a:lnTo>
                    <a:lnTo>
                      <a:pt x="265" y="591"/>
                    </a:lnTo>
                    <a:lnTo>
                      <a:pt x="253" y="595"/>
                    </a:lnTo>
                    <a:lnTo>
                      <a:pt x="238" y="576"/>
                    </a:lnTo>
                    <a:lnTo>
                      <a:pt x="235" y="564"/>
                    </a:lnTo>
                    <a:lnTo>
                      <a:pt x="228" y="538"/>
                    </a:lnTo>
                    <a:lnTo>
                      <a:pt x="222" y="528"/>
                    </a:lnTo>
                    <a:lnTo>
                      <a:pt x="213" y="516"/>
                    </a:lnTo>
                    <a:lnTo>
                      <a:pt x="213" y="511"/>
                    </a:lnTo>
                    <a:lnTo>
                      <a:pt x="202" y="493"/>
                    </a:lnTo>
                    <a:lnTo>
                      <a:pt x="195" y="481"/>
                    </a:lnTo>
                    <a:lnTo>
                      <a:pt x="187" y="469"/>
                    </a:lnTo>
                    <a:lnTo>
                      <a:pt x="186" y="460"/>
                    </a:lnTo>
                    <a:lnTo>
                      <a:pt x="175" y="460"/>
                    </a:lnTo>
                    <a:lnTo>
                      <a:pt x="159" y="436"/>
                    </a:lnTo>
                    <a:lnTo>
                      <a:pt x="154" y="430"/>
                    </a:lnTo>
                    <a:lnTo>
                      <a:pt x="148" y="421"/>
                    </a:lnTo>
                    <a:lnTo>
                      <a:pt x="129" y="405"/>
                    </a:lnTo>
                    <a:lnTo>
                      <a:pt x="126" y="405"/>
                    </a:lnTo>
                    <a:lnTo>
                      <a:pt x="124" y="411"/>
                    </a:lnTo>
                    <a:lnTo>
                      <a:pt x="118" y="408"/>
                    </a:lnTo>
                    <a:lnTo>
                      <a:pt x="111" y="409"/>
                    </a:lnTo>
                    <a:lnTo>
                      <a:pt x="109" y="408"/>
                    </a:lnTo>
                    <a:lnTo>
                      <a:pt x="106" y="403"/>
                    </a:lnTo>
                    <a:lnTo>
                      <a:pt x="100" y="387"/>
                    </a:lnTo>
                    <a:lnTo>
                      <a:pt x="97" y="378"/>
                    </a:lnTo>
                    <a:lnTo>
                      <a:pt x="99" y="361"/>
                    </a:lnTo>
                    <a:lnTo>
                      <a:pt x="94" y="330"/>
                    </a:lnTo>
                    <a:lnTo>
                      <a:pt x="91" y="309"/>
                    </a:lnTo>
                    <a:lnTo>
                      <a:pt x="85" y="295"/>
                    </a:lnTo>
                    <a:lnTo>
                      <a:pt x="78" y="292"/>
                    </a:lnTo>
                    <a:lnTo>
                      <a:pt x="79" y="267"/>
                    </a:lnTo>
                    <a:lnTo>
                      <a:pt x="73" y="250"/>
                    </a:lnTo>
                    <a:lnTo>
                      <a:pt x="66" y="244"/>
                    </a:lnTo>
                    <a:lnTo>
                      <a:pt x="52" y="240"/>
                    </a:lnTo>
                    <a:lnTo>
                      <a:pt x="46" y="231"/>
                    </a:lnTo>
                    <a:lnTo>
                      <a:pt x="49" y="213"/>
                    </a:lnTo>
                    <a:lnTo>
                      <a:pt x="60" y="204"/>
                    </a:lnTo>
                    <a:lnTo>
                      <a:pt x="69" y="199"/>
                    </a:lnTo>
                    <a:lnTo>
                      <a:pt x="72" y="189"/>
                    </a:lnTo>
                    <a:lnTo>
                      <a:pt x="78" y="184"/>
                    </a:lnTo>
                    <a:lnTo>
                      <a:pt x="81" y="177"/>
                    </a:lnTo>
                    <a:lnTo>
                      <a:pt x="82" y="163"/>
                    </a:lnTo>
                    <a:lnTo>
                      <a:pt x="81" y="147"/>
                    </a:lnTo>
                    <a:lnTo>
                      <a:pt x="79" y="129"/>
                    </a:lnTo>
                    <a:lnTo>
                      <a:pt x="73" y="100"/>
                    </a:lnTo>
                    <a:lnTo>
                      <a:pt x="63" y="84"/>
                    </a:lnTo>
                    <a:lnTo>
                      <a:pt x="55" y="78"/>
                    </a:lnTo>
                    <a:lnTo>
                      <a:pt x="45" y="75"/>
                    </a:lnTo>
                    <a:lnTo>
                      <a:pt x="37" y="69"/>
                    </a:lnTo>
                    <a:lnTo>
                      <a:pt x="33" y="67"/>
                    </a:lnTo>
                    <a:lnTo>
                      <a:pt x="22" y="70"/>
                    </a:lnTo>
                    <a:lnTo>
                      <a:pt x="12" y="61"/>
                    </a:lnTo>
                    <a:lnTo>
                      <a:pt x="0" y="58"/>
                    </a:lnTo>
                    <a:lnTo>
                      <a:pt x="1" y="54"/>
                    </a:lnTo>
                    <a:lnTo>
                      <a:pt x="6" y="48"/>
                    </a:lnTo>
                    <a:lnTo>
                      <a:pt x="9" y="40"/>
                    </a:lnTo>
                    <a:lnTo>
                      <a:pt x="3" y="33"/>
                    </a:lnTo>
                    <a:lnTo>
                      <a:pt x="0" y="22"/>
                    </a:lnTo>
                    <a:lnTo>
                      <a:pt x="1" y="13"/>
                    </a:lnTo>
                    <a:lnTo>
                      <a:pt x="0" y="6"/>
                    </a:lnTo>
                    <a:lnTo>
                      <a:pt x="3" y="1"/>
                    </a:lnTo>
                    <a:lnTo>
                      <a:pt x="9" y="0"/>
                    </a:lnTo>
                    <a:lnTo>
                      <a:pt x="19" y="0"/>
                    </a:lnTo>
                    <a:lnTo>
                      <a:pt x="28" y="6"/>
                    </a:lnTo>
                    <a:lnTo>
                      <a:pt x="40" y="12"/>
                    </a:lnTo>
                    <a:lnTo>
                      <a:pt x="42" y="21"/>
                    </a:lnTo>
                    <a:lnTo>
                      <a:pt x="48" y="22"/>
                    </a:lnTo>
                    <a:lnTo>
                      <a:pt x="54" y="22"/>
                    </a:lnTo>
                    <a:lnTo>
                      <a:pt x="67" y="13"/>
                    </a:lnTo>
                    <a:lnTo>
                      <a:pt x="75" y="12"/>
                    </a:lnTo>
                    <a:lnTo>
                      <a:pt x="76" y="16"/>
                    </a:lnTo>
                    <a:lnTo>
                      <a:pt x="84" y="16"/>
                    </a:lnTo>
                    <a:lnTo>
                      <a:pt x="93" y="34"/>
                    </a:lnTo>
                    <a:lnTo>
                      <a:pt x="93" y="39"/>
                    </a:lnTo>
                    <a:lnTo>
                      <a:pt x="103" y="43"/>
                    </a:lnTo>
                    <a:lnTo>
                      <a:pt x="120" y="43"/>
                    </a:lnTo>
                    <a:lnTo>
                      <a:pt x="144" y="54"/>
                    </a:lnTo>
                    <a:lnTo>
                      <a:pt x="174" y="55"/>
                    </a:lnTo>
                    <a:lnTo>
                      <a:pt x="178" y="51"/>
                    </a:lnTo>
                    <a:lnTo>
                      <a:pt x="184" y="54"/>
                    </a:lnTo>
                    <a:lnTo>
                      <a:pt x="186" y="57"/>
                    </a:lnTo>
                    <a:lnTo>
                      <a:pt x="192" y="63"/>
                    </a:lnTo>
                    <a:lnTo>
                      <a:pt x="204" y="61"/>
                    </a:lnTo>
                    <a:lnTo>
                      <a:pt x="207" y="66"/>
                    </a:lnTo>
                    <a:lnTo>
                      <a:pt x="210" y="72"/>
                    </a:lnTo>
                    <a:lnTo>
                      <a:pt x="216" y="78"/>
                    </a:lnTo>
                    <a:lnTo>
                      <a:pt x="234" y="79"/>
                    </a:lnTo>
                    <a:lnTo>
                      <a:pt x="249" y="76"/>
                    </a:lnTo>
                    <a:lnTo>
                      <a:pt x="249" y="84"/>
                    </a:lnTo>
                    <a:lnTo>
                      <a:pt x="253" y="93"/>
                    </a:lnTo>
                    <a:lnTo>
                      <a:pt x="259" y="96"/>
                    </a:lnTo>
                    <a:lnTo>
                      <a:pt x="268" y="93"/>
                    </a:lnTo>
                    <a:lnTo>
                      <a:pt x="273" y="85"/>
                    </a:lnTo>
                    <a:lnTo>
                      <a:pt x="289" y="81"/>
                    </a:lnTo>
                    <a:lnTo>
                      <a:pt x="312" y="82"/>
                    </a:lnTo>
                    <a:lnTo>
                      <a:pt x="328" y="82"/>
                    </a:lnTo>
                    <a:lnTo>
                      <a:pt x="331" y="78"/>
                    </a:lnTo>
                    <a:lnTo>
                      <a:pt x="334" y="79"/>
                    </a:lnTo>
                    <a:lnTo>
                      <a:pt x="345" y="75"/>
                    </a:lnTo>
                    <a:lnTo>
                      <a:pt x="349" y="70"/>
                    </a:lnTo>
                    <a:lnTo>
                      <a:pt x="361" y="66"/>
                    </a:lnTo>
                    <a:lnTo>
                      <a:pt x="366" y="66"/>
                    </a:lnTo>
                    <a:lnTo>
                      <a:pt x="364" y="57"/>
                    </a:lnTo>
                    <a:lnTo>
                      <a:pt x="372" y="51"/>
                    </a:lnTo>
                    <a:lnTo>
                      <a:pt x="375" y="40"/>
                    </a:lnTo>
                    <a:lnTo>
                      <a:pt x="394" y="42"/>
                    </a:lnTo>
                    <a:lnTo>
                      <a:pt x="405" y="30"/>
                    </a:lnTo>
                    <a:lnTo>
                      <a:pt x="411" y="30"/>
                    </a:lnTo>
                    <a:lnTo>
                      <a:pt x="439" y="22"/>
                    </a:lnTo>
                    <a:lnTo>
                      <a:pt x="457" y="24"/>
                    </a:lnTo>
                    <a:lnTo>
                      <a:pt x="465" y="24"/>
                    </a:lnTo>
                    <a:lnTo>
                      <a:pt x="475" y="28"/>
                    </a:lnTo>
                    <a:lnTo>
                      <a:pt x="484" y="28"/>
                    </a:lnTo>
                    <a:lnTo>
                      <a:pt x="490" y="31"/>
                    </a:lnTo>
                    <a:lnTo>
                      <a:pt x="510" y="37"/>
                    </a:lnTo>
                    <a:lnTo>
                      <a:pt x="517" y="39"/>
                    </a:lnTo>
                    <a:lnTo>
                      <a:pt x="526" y="36"/>
                    </a:lnTo>
                    <a:lnTo>
                      <a:pt x="537" y="36"/>
                    </a:lnTo>
                    <a:lnTo>
                      <a:pt x="537" y="42"/>
                    </a:lnTo>
                    <a:lnTo>
                      <a:pt x="534" y="46"/>
                    </a:lnTo>
                    <a:lnTo>
                      <a:pt x="534" y="52"/>
                    </a:lnTo>
                    <a:lnTo>
                      <a:pt x="537" y="55"/>
                    </a:lnTo>
                    <a:lnTo>
                      <a:pt x="538" y="61"/>
                    </a:lnTo>
                    <a:lnTo>
                      <a:pt x="546" y="66"/>
                    </a:lnTo>
                    <a:lnTo>
                      <a:pt x="547" y="70"/>
                    </a:lnTo>
                    <a:lnTo>
                      <a:pt x="559" y="85"/>
                    </a:lnTo>
                    <a:lnTo>
                      <a:pt x="556" y="90"/>
                    </a:lnTo>
                    <a:lnTo>
                      <a:pt x="567" y="118"/>
                    </a:lnTo>
                    <a:lnTo>
                      <a:pt x="568" y="130"/>
                    </a:lnTo>
                    <a:lnTo>
                      <a:pt x="558" y="135"/>
                    </a:lnTo>
                    <a:lnTo>
                      <a:pt x="547" y="135"/>
                    </a:lnTo>
                    <a:lnTo>
                      <a:pt x="537" y="154"/>
                    </a:lnTo>
                    <a:lnTo>
                      <a:pt x="541" y="163"/>
                    </a:lnTo>
                    <a:lnTo>
                      <a:pt x="535" y="163"/>
                    </a:lnTo>
                    <a:lnTo>
                      <a:pt x="528" y="160"/>
                    </a:lnTo>
                    <a:lnTo>
                      <a:pt x="522" y="160"/>
                    </a:lnTo>
                    <a:lnTo>
                      <a:pt x="510" y="169"/>
                    </a:lnTo>
                    <a:lnTo>
                      <a:pt x="504" y="192"/>
                    </a:lnTo>
                    <a:lnTo>
                      <a:pt x="504" y="207"/>
                    </a:lnTo>
                    <a:lnTo>
                      <a:pt x="508" y="219"/>
                    </a:lnTo>
                    <a:lnTo>
                      <a:pt x="516" y="231"/>
                    </a:lnTo>
                    <a:lnTo>
                      <a:pt x="520" y="238"/>
                    </a:lnTo>
                    <a:lnTo>
                      <a:pt x="528" y="252"/>
                    </a:lnTo>
                    <a:lnTo>
                      <a:pt x="531" y="256"/>
                    </a:lnTo>
                    <a:lnTo>
                      <a:pt x="537" y="262"/>
                    </a:lnTo>
                    <a:lnTo>
                      <a:pt x="547" y="280"/>
                    </a:lnTo>
                    <a:lnTo>
                      <a:pt x="556" y="289"/>
                    </a:lnTo>
                    <a:lnTo>
                      <a:pt x="564" y="306"/>
                    </a:lnTo>
                    <a:lnTo>
                      <a:pt x="570" y="313"/>
                    </a:lnTo>
                    <a:lnTo>
                      <a:pt x="579" y="324"/>
                    </a:lnTo>
                    <a:lnTo>
                      <a:pt x="591" y="337"/>
                    </a:lnTo>
                    <a:lnTo>
                      <a:pt x="600" y="345"/>
                    </a:lnTo>
                    <a:lnTo>
                      <a:pt x="615" y="358"/>
                    </a:lnTo>
                    <a:lnTo>
                      <a:pt x="606" y="417"/>
                    </a:lnTo>
                    <a:lnTo>
                      <a:pt x="604" y="417"/>
                    </a:lnTo>
                    <a:lnTo>
                      <a:pt x="600" y="424"/>
                    </a:lnTo>
                    <a:lnTo>
                      <a:pt x="609" y="429"/>
                    </a:lnTo>
                    <a:lnTo>
                      <a:pt x="616" y="427"/>
                    </a:lnTo>
                    <a:lnTo>
                      <a:pt x="624" y="421"/>
                    </a:lnTo>
                    <a:lnTo>
                      <a:pt x="640" y="424"/>
                    </a:lnTo>
                    <a:lnTo>
                      <a:pt x="639" y="427"/>
                    </a:lnTo>
                    <a:lnTo>
                      <a:pt x="628" y="433"/>
                    </a:lnTo>
                    <a:lnTo>
                      <a:pt x="634" y="447"/>
                    </a:lnTo>
                    <a:lnTo>
                      <a:pt x="645" y="453"/>
                    </a:lnTo>
                    <a:lnTo>
                      <a:pt x="658" y="451"/>
                    </a:lnTo>
                    <a:lnTo>
                      <a:pt x="667" y="441"/>
                    </a:lnTo>
                    <a:lnTo>
                      <a:pt x="655" y="429"/>
                    </a:lnTo>
                    <a:lnTo>
                      <a:pt x="678" y="402"/>
                    </a:lnTo>
                    <a:lnTo>
                      <a:pt x="681" y="394"/>
                    </a:lnTo>
                    <a:lnTo>
                      <a:pt x="700" y="390"/>
                    </a:lnTo>
                    <a:lnTo>
                      <a:pt x="715" y="394"/>
                    </a:lnTo>
                    <a:lnTo>
                      <a:pt x="733" y="387"/>
                    </a:lnTo>
                    <a:lnTo>
                      <a:pt x="760" y="385"/>
                    </a:lnTo>
                    <a:lnTo>
                      <a:pt x="780" y="385"/>
                    </a:lnTo>
                    <a:lnTo>
                      <a:pt x="808" y="390"/>
                    </a:lnTo>
                    <a:lnTo>
                      <a:pt x="819" y="397"/>
                    </a:lnTo>
                    <a:lnTo>
                      <a:pt x="844" y="414"/>
                    </a:lnTo>
                    <a:lnTo>
                      <a:pt x="859" y="420"/>
                    </a:lnTo>
                    <a:lnTo>
                      <a:pt x="885" y="429"/>
                    </a:lnTo>
                    <a:lnTo>
                      <a:pt x="915" y="433"/>
                    </a:lnTo>
                    <a:lnTo>
                      <a:pt x="955" y="439"/>
                    </a:lnTo>
                    <a:lnTo>
                      <a:pt x="972" y="441"/>
                    </a:lnTo>
                    <a:lnTo>
                      <a:pt x="985" y="439"/>
                    </a:lnTo>
                    <a:lnTo>
                      <a:pt x="1000" y="441"/>
                    </a:lnTo>
                    <a:lnTo>
                      <a:pt x="1012" y="441"/>
                    </a:lnTo>
                    <a:lnTo>
                      <a:pt x="1030" y="442"/>
                    </a:lnTo>
                    <a:lnTo>
                      <a:pt x="1033" y="442"/>
                    </a:lnTo>
                    <a:lnTo>
                      <a:pt x="1047" y="448"/>
                    </a:lnTo>
                    <a:lnTo>
                      <a:pt x="1059" y="448"/>
                    </a:lnTo>
                    <a:lnTo>
                      <a:pt x="1071" y="448"/>
                    </a:lnTo>
                    <a:lnTo>
                      <a:pt x="1089" y="442"/>
                    </a:lnTo>
                    <a:lnTo>
                      <a:pt x="1104" y="441"/>
                    </a:lnTo>
                    <a:lnTo>
                      <a:pt x="1116" y="439"/>
                    </a:lnTo>
                    <a:lnTo>
                      <a:pt x="1141" y="444"/>
                    </a:lnTo>
                    <a:lnTo>
                      <a:pt x="1173" y="451"/>
                    </a:lnTo>
                    <a:lnTo>
                      <a:pt x="1198" y="453"/>
                    </a:lnTo>
                    <a:lnTo>
                      <a:pt x="1212" y="453"/>
                    </a:lnTo>
                    <a:lnTo>
                      <a:pt x="1230" y="456"/>
                    </a:lnTo>
                    <a:lnTo>
                      <a:pt x="1246" y="462"/>
                    </a:lnTo>
                    <a:lnTo>
                      <a:pt x="1258" y="469"/>
                    </a:lnTo>
                    <a:lnTo>
                      <a:pt x="1275" y="478"/>
                    </a:lnTo>
                    <a:lnTo>
                      <a:pt x="1297" y="493"/>
                    </a:lnTo>
                    <a:lnTo>
                      <a:pt x="1315" y="499"/>
                    </a:lnTo>
                    <a:lnTo>
                      <a:pt x="1323" y="502"/>
                    </a:lnTo>
                    <a:lnTo>
                      <a:pt x="1344" y="505"/>
                    </a:lnTo>
                    <a:lnTo>
                      <a:pt x="1347" y="510"/>
                    </a:lnTo>
                    <a:lnTo>
                      <a:pt x="1369" y="514"/>
                    </a:lnTo>
                    <a:lnTo>
                      <a:pt x="1380" y="511"/>
                    </a:lnTo>
                    <a:lnTo>
                      <a:pt x="1408" y="511"/>
                    </a:lnTo>
                    <a:lnTo>
                      <a:pt x="1422" y="507"/>
                    </a:lnTo>
                    <a:lnTo>
                      <a:pt x="1429" y="505"/>
                    </a:lnTo>
                    <a:lnTo>
                      <a:pt x="1449" y="499"/>
                    </a:lnTo>
                    <a:lnTo>
                      <a:pt x="1473" y="493"/>
                    </a:lnTo>
                    <a:lnTo>
                      <a:pt x="1491" y="484"/>
                    </a:lnTo>
                    <a:lnTo>
                      <a:pt x="1510" y="478"/>
                    </a:lnTo>
                    <a:lnTo>
                      <a:pt x="1531" y="469"/>
                    </a:lnTo>
                    <a:lnTo>
                      <a:pt x="1555" y="456"/>
                    </a:lnTo>
                    <a:lnTo>
                      <a:pt x="1570" y="445"/>
                    </a:lnTo>
                    <a:lnTo>
                      <a:pt x="1585" y="433"/>
                    </a:lnTo>
                    <a:lnTo>
                      <a:pt x="1602" y="415"/>
                    </a:lnTo>
                    <a:lnTo>
                      <a:pt x="1620" y="397"/>
                    </a:lnTo>
                    <a:lnTo>
                      <a:pt x="1627" y="391"/>
                    </a:lnTo>
                    <a:lnTo>
                      <a:pt x="1629" y="388"/>
                    </a:lnTo>
                    <a:lnTo>
                      <a:pt x="1647" y="372"/>
                    </a:lnTo>
                    <a:lnTo>
                      <a:pt x="1656" y="369"/>
                    </a:lnTo>
                    <a:lnTo>
                      <a:pt x="1662" y="367"/>
                    </a:lnTo>
                    <a:lnTo>
                      <a:pt x="1677" y="364"/>
                    </a:lnTo>
                    <a:lnTo>
                      <a:pt x="1690" y="361"/>
                    </a:lnTo>
                    <a:lnTo>
                      <a:pt x="1719" y="346"/>
                    </a:lnTo>
                    <a:lnTo>
                      <a:pt x="1747" y="345"/>
                    </a:lnTo>
                    <a:lnTo>
                      <a:pt x="1756" y="345"/>
                    </a:lnTo>
                    <a:lnTo>
                      <a:pt x="1767" y="340"/>
                    </a:lnTo>
                    <a:lnTo>
                      <a:pt x="1780" y="334"/>
                    </a:lnTo>
                    <a:lnTo>
                      <a:pt x="1779" y="364"/>
                    </a:lnTo>
                    <a:lnTo>
                      <a:pt x="1785" y="373"/>
                    </a:lnTo>
                    <a:lnTo>
                      <a:pt x="1789" y="394"/>
                    </a:lnTo>
                    <a:lnTo>
                      <a:pt x="1782" y="411"/>
                    </a:lnTo>
                    <a:lnTo>
                      <a:pt x="1786" y="420"/>
                    </a:lnTo>
                    <a:lnTo>
                      <a:pt x="1789" y="426"/>
                    </a:lnTo>
                    <a:lnTo>
                      <a:pt x="1797" y="439"/>
                    </a:lnTo>
                    <a:lnTo>
                      <a:pt x="1798" y="444"/>
                    </a:lnTo>
                    <a:lnTo>
                      <a:pt x="1801" y="444"/>
                    </a:lnTo>
                    <a:lnTo>
                      <a:pt x="1795" y="457"/>
                    </a:lnTo>
                    <a:lnTo>
                      <a:pt x="1789" y="469"/>
                    </a:lnTo>
                    <a:lnTo>
                      <a:pt x="1776" y="474"/>
                    </a:lnTo>
                    <a:lnTo>
                      <a:pt x="1794" y="480"/>
                    </a:lnTo>
                    <a:lnTo>
                      <a:pt x="1792" y="484"/>
                    </a:lnTo>
                    <a:lnTo>
                      <a:pt x="1798" y="492"/>
                    </a:lnTo>
                    <a:lnTo>
                      <a:pt x="1798" y="499"/>
                    </a:lnTo>
                    <a:lnTo>
                      <a:pt x="1791" y="505"/>
                    </a:lnTo>
                    <a:lnTo>
                      <a:pt x="1786" y="513"/>
                    </a:lnTo>
                    <a:lnTo>
                      <a:pt x="1800" y="517"/>
                    </a:lnTo>
                    <a:lnTo>
                      <a:pt x="1815" y="499"/>
                    </a:lnTo>
                    <a:lnTo>
                      <a:pt x="1827" y="498"/>
                    </a:lnTo>
                    <a:lnTo>
                      <a:pt x="1833" y="499"/>
                    </a:lnTo>
                    <a:lnTo>
                      <a:pt x="1843" y="508"/>
                    </a:lnTo>
                    <a:lnTo>
                      <a:pt x="1842" y="516"/>
                    </a:lnTo>
                    <a:lnTo>
                      <a:pt x="1843" y="535"/>
                    </a:lnTo>
                    <a:lnTo>
                      <a:pt x="1831" y="538"/>
                    </a:lnTo>
                    <a:lnTo>
                      <a:pt x="1828" y="537"/>
                    </a:lnTo>
                    <a:lnTo>
                      <a:pt x="1798" y="552"/>
                    </a:lnTo>
                    <a:lnTo>
                      <a:pt x="1807" y="565"/>
                    </a:lnTo>
                    <a:lnTo>
                      <a:pt x="1809" y="573"/>
                    </a:lnTo>
                    <a:lnTo>
                      <a:pt x="1819" y="574"/>
                    </a:lnTo>
                    <a:lnTo>
                      <a:pt x="1833" y="588"/>
                    </a:lnTo>
                    <a:lnTo>
                      <a:pt x="1851" y="588"/>
                    </a:lnTo>
                    <a:lnTo>
                      <a:pt x="1851" y="595"/>
                    </a:lnTo>
                    <a:lnTo>
                      <a:pt x="1858" y="601"/>
                    </a:lnTo>
                    <a:lnTo>
                      <a:pt x="1849" y="613"/>
                    </a:lnTo>
                    <a:lnTo>
                      <a:pt x="1849" y="622"/>
                    </a:lnTo>
                    <a:lnTo>
                      <a:pt x="1857" y="634"/>
                    </a:lnTo>
                    <a:lnTo>
                      <a:pt x="1851" y="658"/>
                    </a:lnTo>
                    <a:lnTo>
                      <a:pt x="1858" y="666"/>
                    </a:lnTo>
                    <a:lnTo>
                      <a:pt x="1866" y="663"/>
                    </a:lnTo>
                    <a:lnTo>
                      <a:pt x="1866" y="669"/>
                    </a:lnTo>
                    <a:lnTo>
                      <a:pt x="1875" y="667"/>
                    </a:lnTo>
                    <a:lnTo>
                      <a:pt x="1879" y="667"/>
                    </a:lnTo>
                    <a:lnTo>
                      <a:pt x="1882" y="678"/>
                    </a:lnTo>
                    <a:lnTo>
                      <a:pt x="1879" y="687"/>
                    </a:lnTo>
                    <a:lnTo>
                      <a:pt x="1867" y="690"/>
                    </a:lnTo>
                    <a:lnTo>
                      <a:pt x="1866" y="699"/>
                    </a:lnTo>
                    <a:lnTo>
                      <a:pt x="1866" y="709"/>
                    </a:lnTo>
                    <a:lnTo>
                      <a:pt x="1864" y="711"/>
                    </a:lnTo>
                    <a:lnTo>
                      <a:pt x="1860" y="721"/>
                    </a:lnTo>
                    <a:lnTo>
                      <a:pt x="1863" y="726"/>
                    </a:lnTo>
                    <a:lnTo>
                      <a:pt x="1872" y="726"/>
                    </a:lnTo>
                    <a:lnTo>
                      <a:pt x="1861" y="733"/>
                    </a:lnTo>
                    <a:lnTo>
                      <a:pt x="1866" y="739"/>
                    </a:lnTo>
                    <a:lnTo>
                      <a:pt x="1875" y="736"/>
                    </a:lnTo>
                    <a:lnTo>
                      <a:pt x="1878" y="742"/>
                    </a:lnTo>
                    <a:lnTo>
                      <a:pt x="1875" y="754"/>
                    </a:lnTo>
                    <a:lnTo>
                      <a:pt x="1869" y="750"/>
                    </a:lnTo>
                    <a:lnTo>
                      <a:pt x="1858" y="748"/>
                    </a:lnTo>
                    <a:lnTo>
                      <a:pt x="1857" y="753"/>
                    </a:lnTo>
                    <a:lnTo>
                      <a:pt x="1849" y="754"/>
                    </a:lnTo>
                    <a:lnTo>
                      <a:pt x="1845" y="760"/>
                    </a:lnTo>
                    <a:lnTo>
                      <a:pt x="1848" y="768"/>
                    </a:lnTo>
                    <a:lnTo>
                      <a:pt x="1839" y="775"/>
                    </a:lnTo>
                    <a:lnTo>
                      <a:pt x="1842" y="780"/>
                    </a:lnTo>
                    <a:lnTo>
                      <a:pt x="1845" y="780"/>
                    </a:lnTo>
                    <a:lnTo>
                      <a:pt x="1848" y="786"/>
                    </a:lnTo>
                    <a:lnTo>
                      <a:pt x="1848" y="793"/>
                    </a:lnTo>
                    <a:lnTo>
                      <a:pt x="1860" y="799"/>
                    </a:lnTo>
                    <a:lnTo>
                      <a:pt x="1872" y="799"/>
                    </a:lnTo>
                    <a:lnTo>
                      <a:pt x="1879" y="799"/>
                    </a:lnTo>
                    <a:lnTo>
                      <a:pt x="1887" y="804"/>
                    </a:lnTo>
                    <a:lnTo>
                      <a:pt x="1888" y="810"/>
                    </a:lnTo>
                    <a:lnTo>
                      <a:pt x="1896" y="808"/>
                    </a:lnTo>
                    <a:lnTo>
                      <a:pt x="1902" y="810"/>
                    </a:lnTo>
                    <a:lnTo>
                      <a:pt x="1902" y="814"/>
                    </a:lnTo>
                    <a:lnTo>
                      <a:pt x="1900" y="819"/>
                    </a:lnTo>
                    <a:lnTo>
                      <a:pt x="1891" y="828"/>
                    </a:lnTo>
                    <a:lnTo>
                      <a:pt x="1890" y="838"/>
                    </a:lnTo>
                    <a:lnTo>
                      <a:pt x="1890" y="846"/>
                    </a:lnTo>
                    <a:lnTo>
                      <a:pt x="1882" y="855"/>
                    </a:lnTo>
                    <a:lnTo>
                      <a:pt x="1882" y="858"/>
                    </a:lnTo>
                    <a:lnTo>
                      <a:pt x="1887" y="864"/>
                    </a:lnTo>
                    <a:lnTo>
                      <a:pt x="1887" y="868"/>
                    </a:lnTo>
                    <a:lnTo>
                      <a:pt x="1887" y="874"/>
                    </a:lnTo>
                    <a:lnTo>
                      <a:pt x="1882" y="879"/>
                    </a:lnTo>
                    <a:lnTo>
                      <a:pt x="1872" y="898"/>
                    </a:lnTo>
                    <a:close/>
                  </a:path>
                </a:pathLst>
              </a:custGeom>
              <a:no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3" name="Freeform 291">
                <a:extLst>
                  <a:ext uri="{FF2B5EF4-FFF2-40B4-BE49-F238E27FC236}">
                    <a16:creationId xmlns:a16="http://schemas.microsoft.com/office/drawing/2014/main" id="{AEEA0CE2-D803-E11F-0288-90FE5FE28991}"/>
                  </a:ext>
                </a:extLst>
              </p:cNvPr>
              <p:cNvSpPr>
                <a:spLocks/>
              </p:cNvSpPr>
              <p:nvPr/>
            </p:nvSpPr>
            <p:spPr bwMode="auto">
              <a:xfrm>
                <a:off x="2956" y="1634"/>
                <a:ext cx="387" cy="641"/>
              </a:xfrm>
              <a:custGeom>
                <a:avLst/>
                <a:gdLst>
                  <a:gd name="T0" fmla="*/ 0 w 1161"/>
                  <a:gd name="T1" fmla="*/ 0 h 1923"/>
                  <a:gd name="T2" fmla="*/ 0 w 1161"/>
                  <a:gd name="T3" fmla="*/ 0 h 1923"/>
                  <a:gd name="T4" fmla="*/ 0 w 1161"/>
                  <a:gd name="T5" fmla="*/ 0 h 1923"/>
                  <a:gd name="T6" fmla="*/ 0 w 1161"/>
                  <a:gd name="T7" fmla="*/ 0 h 1923"/>
                  <a:gd name="T8" fmla="*/ 0 w 1161"/>
                  <a:gd name="T9" fmla="*/ 0 h 1923"/>
                  <a:gd name="T10" fmla="*/ 0 w 1161"/>
                  <a:gd name="T11" fmla="*/ 0 h 1923"/>
                  <a:gd name="T12" fmla="*/ 0 w 1161"/>
                  <a:gd name="T13" fmla="*/ 0 h 1923"/>
                  <a:gd name="T14" fmla="*/ 0 w 1161"/>
                  <a:gd name="T15" fmla="*/ 0 h 1923"/>
                  <a:gd name="T16" fmla="*/ 0 w 1161"/>
                  <a:gd name="T17" fmla="*/ 0 h 1923"/>
                  <a:gd name="T18" fmla="*/ 0 w 1161"/>
                  <a:gd name="T19" fmla="*/ 0 h 1923"/>
                  <a:gd name="T20" fmla="*/ 0 w 1161"/>
                  <a:gd name="T21" fmla="*/ 0 h 1923"/>
                  <a:gd name="T22" fmla="*/ 0 w 1161"/>
                  <a:gd name="T23" fmla="*/ 0 h 1923"/>
                  <a:gd name="T24" fmla="*/ 0 w 1161"/>
                  <a:gd name="T25" fmla="*/ 0 h 1923"/>
                  <a:gd name="T26" fmla="*/ 0 w 1161"/>
                  <a:gd name="T27" fmla="*/ 0 h 1923"/>
                  <a:gd name="T28" fmla="*/ 0 w 1161"/>
                  <a:gd name="T29" fmla="*/ 0 h 1923"/>
                  <a:gd name="T30" fmla="*/ 0 w 1161"/>
                  <a:gd name="T31" fmla="*/ 0 h 1923"/>
                  <a:gd name="T32" fmla="*/ 0 w 1161"/>
                  <a:gd name="T33" fmla="*/ 0 h 1923"/>
                  <a:gd name="T34" fmla="*/ 0 w 1161"/>
                  <a:gd name="T35" fmla="*/ 0 h 1923"/>
                  <a:gd name="T36" fmla="*/ 0 w 1161"/>
                  <a:gd name="T37" fmla="*/ 0 h 1923"/>
                  <a:gd name="T38" fmla="*/ 0 w 1161"/>
                  <a:gd name="T39" fmla="*/ 0 h 1923"/>
                  <a:gd name="T40" fmla="*/ 0 w 1161"/>
                  <a:gd name="T41" fmla="*/ 0 h 1923"/>
                  <a:gd name="T42" fmla="*/ 0 w 1161"/>
                  <a:gd name="T43" fmla="*/ 0 h 1923"/>
                  <a:gd name="T44" fmla="*/ 0 w 1161"/>
                  <a:gd name="T45" fmla="*/ 0 h 1923"/>
                  <a:gd name="T46" fmla="*/ 0 w 1161"/>
                  <a:gd name="T47" fmla="*/ 0 h 1923"/>
                  <a:gd name="T48" fmla="*/ 0 w 1161"/>
                  <a:gd name="T49" fmla="*/ 0 h 1923"/>
                  <a:gd name="T50" fmla="*/ 0 w 1161"/>
                  <a:gd name="T51" fmla="*/ 0 h 1923"/>
                  <a:gd name="T52" fmla="*/ 0 w 1161"/>
                  <a:gd name="T53" fmla="*/ 0 h 1923"/>
                  <a:gd name="T54" fmla="*/ 0 w 1161"/>
                  <a:gd name="T55" fmla="*/ 0 h 1923"/>
                  <a:gd name="T56" fmla="*/ 0 w 1161"/>
                  <a:gd name="T57" fmla="*/ 0 h 1923"/>
                  <a:gd name="T58" fmla="*/ 0 w 1161"/>
                  <a:gd name="T59" fmla="*/ 0 h 1923"/>
                  <a:gd name="T60" fmla="*/ 0 w 1161"/>
                  <a:gd name="T61" fmla="*/ 0 h 1923"/>
                  <a:gd name="T62" fmla="*/ 0 w 1161"/>
                  <a:gd name="T63" fmla="*/ 0 h 1923"/>
                  <a:gd name="T64" fmla="*/ 0 w 1161"/>
                  <a:gd name="T65" fmla="*/ 0 h 1923"/>
                  <a:gd name="T66" fmla="*/ 0 w 1161"/>
                  <a:gd name="T67" fmla="*/ 0 h 1923"/>
                  <a:gd name="T68" fmla="*/ 0 w 1161"/>
                  <a:gd name="T69" fmla="*/ 0 h 1923"/>
                  <a:gd name="T70" fmla="*/ 0 w 1161"/>
                  <a:gd name="T71" fmla="*/ 0 h 1923"/>
                  <a:gd name="T72" fmla="*/ 0 w 1161"/>
                  <a:gd name="T73" fmla="*/ 0 h 1923"/>
                  <a:gd name="T74" fmla="*/ 0 w 1161"/>
                  <a:gd name="T75" fmla="*/ 0 h 1923"/>
                  <a:gd name="T76" fmla="*/ 0 w 1161"/>
                  <a:gd name="T77" fmla="*/ 0 h 1923"/>
                  <a:gd name="T78" fmla="*/ 0 w 1161"/>
                  <a:gd name="T79" fmla="*/ 0 h 1923"/>
                  <a:gd name="T80" fmla="*/ 0 w 1161"/>
                  <a:gd name="T81" fmla="*/ 0 h 1923"/>
                  <a:gd name="T82" fmla="*/ 0 w 1161"/>
                  <a:gd name="T83" fmla="*/ 0 h 1923"/>
                  <a:gd name="T84" fmla="*/ 0 w 1161"/>
                  <a:gd name="T85" fmla="*/ 0 h 1923"/>
                  <a:gd name="T86" fmla="*/ 0 w 1161"/>
                  <a:gd name="T87" fmla="*/ 0 h 1923"/>
                  <a:gd name="T88" fmla="*/ 0 w 1161"/>
                  <a:gd name="T89" fmla="*/ 0 h 1923"/>
                  <a:gd name="T90" fmla="*/ 0 w 1161"/>
                  <a:gd name="T91" fmla="*/ 0 h 1923"/>
                  <a:gd name="T92" fmla="*/ 0 w 1161"/>
                  <a:gd name="T93" fmla="*/ 0 h 1923"/>
                  <a:gd name="T94" fmla="*/ 0 w 1161"/>
                  <a:gd name="T95" fmla="*/ 0 h 1923"/>
                  <a:gd name="T96" fmla="*/ 0 w 1161"/>
                  <a:gd name="T97" fmla="*/ 0 h 1923"/>
                  <a:gd name="T98" fmla="*/ 0 w 1161"/>
                  <a:gd name="T99" fmla="*/ 0 h 1923"/>
                  <a:gd name="T100" fmla="*/ 0 w 1161"/>
                  <a:gd name="T101" fmla="*/ 0 h 1923"/>
                  <a:gd name="T102" fmla="*/ 0 w 1161"/>
                  <a:gd name="T103" fmla="*/ 0 h 1923"/>
                  <a:gd name="T104" fmla="*/ 0 w 1161"/>
                  <a:gd name="T105" fmla="*/ 0 h 1923"/>
                  <a:gd name="T106" fmla="*/ 0 w 1161"/>
                  <a:gd name="T107" fmla="*/ 0 h 1923"/>
                  <a:gd name="T108" fmla="*/ 0 w 1161"/>
                  <a:gd name="T109" fmla="*/ 0 h 1923"/>
                  <a:gd name="T110" fmla="*/ 0 w 1161"/>
                  <a:gd name="T111" fmla="*/ 0 h 192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61" h="1923">
                    <a:moveTo>
                      <a:pt x="766" y="1673"/>
                    </a:moveTo>
                    <a:lnTo>
                      <a:pt x="762" y="1688"/>
                    </a:lnTo>
                    <a:lnTo>
                      <a:pt x="751" y="1689"/>
                    </a:lnTo>
                    <a:lnTo>
                      <a:pt x="750" y="1700"/>
                    </a:lnTo>
                    <a:lnTo>
                      <a:pt x="754" y="1704"/>
                    </a:lnTo>
                    <a:lnTo>
                      <a:pt x="747" y="1710"/>
                    </a:lnTo>
                    <a:lnTo>
                      <a:pt x="727" y="1713"/>
                    </a:lnTo>
                    <a:lnTo>
                      <a:pt x="723" y="1712"/>
                    </a:lnTo>
                    <a:lnTo>
                      <a:pt x="708" y="1730"/>
                    </a:lnTo>
                    <a:lnTo>
                      <a:pt x="714" y="1734"/>
                    </a:lnTo>
                    <a:lnTo>
                      <a:pt x="715" y="1748"/>
                    </a:lnTo>
                    <a:lnTo>
                      <a:pt x="724" y="1748"/>
                    </a:lnTo>
                    <a:lnTo>
                      <a:pt x="727" y="1757"/>
                    </a:lnTo>
                    <a:lnTo>
                      <a:pt x="729" y="1766"/>
                    </a:lnTo>
                    <a:lnTo>
                      <a:pt x="735" y="1761"/>
                    </a:lnTo>
                    <a:lnTo>
                      <a:pt x="741" y="1772"/>
                    </a:lnTo>
                    <a:lnTo>
                      <a:pt x="738" y="1775"/>
                    </a:lnTo>
                    <a:lnTo>
                      <a:pt x="738" y="1782"/>
                    </a:lnTo>
                    <a:lnTo>
                      <a:pt x="745" y="1785"/>
                    </a:lnTo>
                    <a:lnTo>
                      <a:pt x="739" y="1787"/>
                    </a:lnTo>
                    <a:lnTo>
                      <a:pt x="738" y="1794"/>
                    </a:lnTo>
                    <a:lnTo>
                      <a:pt x="736" y="1803"/>
                    </a:lnTo>
                    <a:lnTo>
                      <a:pt x="747" y="1812"/>
                    </a:lnTo>
                    <a:lnTo>
                      <a:pt x="748" y="1817"/>
                    </a:lnTo>
                    <a:lnTo>
                      <a:pt x="744" y="1821"/>
                    </a:lnTo>
                    <a:lnTo>
                      <a:pt x="729" y="1832"/>
                    </a:lnTo>
                    <a:lnTo>
                      <a:pt x="721" y="1823"/>
                    </a:lnTo>
                    <a:lnTo>
                      <a:pt x="715" y="1820"/>
                    </a:lnTo>
                    <a:lnTo>
                      <a:pt x="709" y="1827"/>
                    </a:lnTo>
                    <a:lnTo>
                      <a:pt x="705" y="1826"/>
                    </a:lnTo>
                    <a:lnTo>
                      <a:pt x="696" y="1826"/>
                    </a:lnTo>
                    <a:lnTo>
                      <a:pt x="685" y="1826"/>
                    </a:lnTo>
                    <a:lnTo>
                      <a:pt x="666" y="1820"/>
                    </a:lnTo>
                    <a:lnTo>
                      <a:pt x="657" y="1824"/>
                    </a:lnTo>
                    <a:lnTo>
                      <a:pt x="642" y="1818"/>
                    </a:lnTo>
                    <a:lnTo>
                      <a:pt x="640" y="1827"/>
                    </a:lnTo>
                    <a:lnTo>
                      <a:pt x="631" y="1835"/>
                    </a:lnTo>
                    <a:lnTo>
                      <a:pt x="622" y="1839"/>
                    </a:lnTo>
                    <a:lnTo>
                      <a:pt x="613" y="1851"/>
                    </a:lnTo>
                    <a:lnTo>
                      <a:pt x="624" y="1859"/>
                    </a:lnTo>
                    <a:lnTo>
                      <a:pt x="621" y="1868"/>
                    </a:lnTo>
                    <a:lnTo>
                      <a:pt x="607" y="1866"/>
                    </a:lnTo>
                    <a:lnTo>
                      <a:pt x="601" y="1871"/>
                    </a:lnTo>
                    <a:lnTo>
                      <a:pt x="595" y="1869"/>
                    </a:lnTo>
                    <a:lnTo>
                      <a:pt x="585" y="1875"/>
                    </a:lnTo>
                    <a:lnTo>
                      <a:pt x="570" y="1872"/>
                    </a:lnTo>
                    <a:lnTo>
                      <a:pt x="561" y="1875"/>
                    </a:lnTo>
                    <a:lnTo>
                      <a:pt x="562" y="1890"/>
                    </a:lnTo>
                    <a:lnTo>
                      <a:pt x="550" y="1895"/>
                    </a:lnTo>
                    <a:lnTo>
                      <a:pt x="546" y="1887"/>
                    </a:lnTo>
                    <a:lnTo>
                      <a:pt x="537" y="1886"/>
                    </a:lnTo>
                    <a:lnTo>
                      <a:pt x="529" y="1886"/>
                    </a:lnTo>
                    <a:lnTo>
                      <a:pt x="522" y="1874"/>
                    </a:lnTo>
                    <a:lnTo>
                      <a:pt x="510" y="1878"/>
                    </a:lnTo>
                    <a:lnTo>
                      <a:pt x="504" y="1872"/>
                    </a:lnTo>
                    <a:lnTo>
                      <a:pt x="504" y="1863"/>
                    </a:lnTo>
                    <a:lnTo>
                      <a:pt x="490" y="1845"/>
                    </a:lnTo>
                    <a:lnTo>
                      <a:pt x="480" y="1841"/>
                    </a:lnTo>
                    <a:lnTo>
                      <a:pt x="478" y="1836"/>
                    </a:lnTo>
                    <a:lnTo>
                      <a:pt x="481" y="1830"/>
                    </a:lnTo>
                    <a:lnTo>
                      <a:pt x="481" y="1826"/>
                    </a:lnTo>
                    <a:lnTo>
                      <a:pt x="471" y="1823"/>
                    </a:lnTo>
                    <a:lnTo>
                      <a:pt x="463" y="1829"/>
                    </a:lnTo>
                    <a:lnTo>
                      <a:pt x="451" y="1829"/>
                    </a:lnTo>
                    <a:lnTo>
                      <a:pt x="448" y="1844"/>
                    </a:lnTo>
                    <a:lnTo>
                      <a:pt x="444" y="1851"/>
                    </a:lnTo>
                    <a:lnTo>
                      <a:pt x="436" y="1853"/>
                    </a:lnTo>
                    <a:lnTo>
                      <a:pt x="430" y="1860"/>
                    </a:lnTo>
                    <a:lnTo>
                      <a:pt x="433" y="1877"/>
                    </a:lnTo>
                    <a:lnTo>
                      <a:pt x="457" y="1877"/>
                    </a:lnTo>
                    <a:lnTo>
                      <a:pt x="457" y="1889"/>
                    </a:lnTo>
                    <a:lnTo>
                      <a:pt x="456" y="1899"/>
                    </a:lnTo>
                    <a:lnTo>
                      <a:pt x="448" y="1901"/>
                    </a:lnTo>
                    <a:lnTo>
                      <a:pt x="445" y="1913"/>
                    </a:lnTo>
                    <a:lnTo>
                      <a:pt x="433" y="1923"/>
                    </a:lnTo>
                    <a:lnTo>
                      <a:pt x="421" y="1920"/>
                    </a:lnTo>
                    <a:lnTo>
                      <a:pt x="417" y="1923"/>
                    </a:lnTo>
                    <a:lnTo>
                      <a:pt x="406" y="1920"/>
                    </a:lnTo>
                    <a:lnTo>
                      <a:pt x="397" y="1904"/>
                    </a:lnTo>
                    <a:lnTo>
                      <a:pt x="390" y="1901"/>
                    </a:lnTo>
                    <a:lnTo>
                      <a:pt x="382" y="1905"/>
                    </a:lnTo>
                    <a:lnTo>
                      <a:pt x="369" y="1899"/>
                    </a:lnTo>
                    <a:lnTo>
                      <a:pt x="360" y="1901"/>
                    </a:lnTo>
                    <a:lnTo>
                      <a:pt x="352" y="1902"/>
                    </a:lnTo>
                    <a:lnTo>
                      <a:pt x="331" y="1904"/>
                    </a:lnTo>
                    <a:lnTo>
                      <a:pt x="321" y="1908"/>
                    </a:lnTo>
                    <a:lnTo>
                      <a:pt x="312" y="1905"/>
                    </a:lnTo>
                    <a:lnTo>
                      <a:pt x="301" y="1908"/>
                    </a:lnTo>
                    <a:lnTo>
                      <a:pt x="298" y="1899"/>
                    </a:lnTo>
                    <a:lnTo>
                      <a:pt x="285" y="1892"/>
                    </a:lnTo>
                    <a:lnTo>
                      <a:pt x="282" y="1884"/>
                    </a:lnTo>
                    <a:lnTo>
                      <a:pt x="277" y="1883"/>
                    </a:lnTo>
                    <a:lnTo>
                      <a:pt x="267" y="1877"/>
                    </a:lnTo>
                    <a:lnTo>
                      <a:pt x="258" y="1872"/>
                    </a:lnTo>
                    <a:lnTo>
                      <a:pt x="244" y="1865"/>
                    </a:lnTo>
                    <a:lnTo>
                      <a:pt x="234" y="1868"/>
                    </a:lnTo>
                    <a:lnTo>
                      <a:pt x="231" y="1860"/>
                    </a:lnTo>
                    <a:lnTo>
                      <a:pt x="234" y="1842"/>
                    </a:lnTo>
                    <a:lnTo>
                      <a:pt x="249" y="1818"/>
                    </a:lnTo>
                    <a:lnTo>
                      <a:pt x="249" y="1799"/>
                    </a:lnTo>
                    <a:lnTo>
                      <a:pt x="235" y="1794"/>
                    </a:lnTo>
                    <a:lnTo>
                      <a:pt x="231" y="1805"/>
                    </a:lnTo>
                    <a:lnTo>
                      <a:pt x="213" y="1799"/>
                    </a:lnTo>
                    <a:lnTo>
                      <a:pt x="202" y="1793"/>
                    </a:lnTo>
                    <a:lnTo>
                      <a:pt x="186" y="1766"/>
                    </a:lnTo>
                    <a:lnTo>
                      <a:pt x="166" y="1763"/>
                    </a:lnTo>
                    <a:lnTo>
                      <a:pt x="168" y="1731"/>
                    </a:lnTo>
                    <a:lnTo>
                      <a:pt x="189" y="1715"/>
                    </a:lnTo>
                    <a:lnTo>
                      <a:pt x="187" y="1697"/>
                    </a:lnTo>
                    <a:lnTo>
                      <a:pt x="187" y="1694"/>
                    </a:lnTo>
                    <a:lnTo>
                      <a:pt x="180" y="1671"/>
                    </a:lnTo>
                    <a:lnTo>
                      <a:pt x="213" y="1670"/>
                    </a:lnTo>
                    <a:lnTo>
                      <a:pt x="214" y="1658"/>
                    </a:lnTo>
                    <a:lnTo>
                      <a:pt x="216" y="1646"/>
                    </a:lnTo>
                    <a:lnTo>
                      <a:pt x="202" y="1629"/>
                    </a:lnTo>
                    <a:lnTo>
                      <a:pt x="211" y="1629"/>
                    </a:lnTo>
                    <a:lnTo>
                      <a:pt x="213" y="1617"/>
                    </a:lnTo>
                    <a:lnTo>
                      <a:pt x="216" y="1598"/>
                    </a:lnTo>
                    <a:lnTo>
                      <a:pt x="196" y="1580"/>
                    </a:lnTo>
                    <a:lnTo>
                      <a:pt x="187" y="1580"/>
                    </a:lnTo>
                    <a:lnTo>
                      <a:pt x="177" y="1580"/>
                    </a:lnTo>
                    <a:lnTo>
                      <a:pt x="138" y="1629"/>
                    </a:lnTo>
                    <a:lnTo>
                      <a:pt x="135" y="1625"/>
                    </a:lnTo>
                    <a:lnTo>
                      <a:pt x="108" y="1596"/>
                    </a:lnTo>
                    <a:lnTo>
                      <a:pt x="97" y="1599"/>
                    </a:lnTo>
                    <a:lnTo>
                      <a:pt x="105" y="1577"/>
                    </a:lnTo>
                    <a:lnTo>
                      <a:pt x="99" y="1568"/>
                    </a:lnTo>
                    <a:lnTo>
                      <a:pt x="103" y="1547"/>
                    </a:lnTo>
                    <a:lnTo>
                      <a:pt x="90" y="1529"/>
                    </a:lnTo>
                    <a:lnTo>
                      <a:pt x="79" y="1527"/>
                    </a:lnTo>
                    <a:lnTo>
                      <a:pt x="73" y="1514"/>
                    </a:lnTo>
                    <a:lnTo>
                      <a:pt x="73" y="1461"/>
                    </a:lnTo>
                    <a:lnTo>
                      <a:pt x="69" y="1455"/>
                    </a:lnTo>
                    <a:lnTo>
                      <a:pt x="73" y="1436"/>
                    </a:lnTo>
                    <a:lnTo>
                      <a:pt x="67" y="1430"/>
                    </a:lnTo>
                    <a:lnTo>
                      <a:pt x="52" y="1437"/>
                    </a:lnTo>
                    <a:lnTo>
                      <a:pt x="57" y="1394"/>
                    </a:lnTo>
                    <a:lnTo>
                      <a:pt x="60" y="1380"/>
                    </a:lnTo>
                    <a:lnTo>
                      <a:pt x="76" y="1377"/>
                    </a:lnTo>
                    <a:lnTo>
                      <a:pt x="85" y="1341"/>
                    </a:lnTo>
                    <a:lnTo>
                      <a:pt x="73" y="1332"/>
                    </a:lnTo>
                    <a:lnTo>
                      <a:pt x="109" y="1296"/>
                    </a:lnTo>
                    <a:lnTo>
                      <a:pt x="94" y="1269"/>
                    </a:lnTo>
                    <a:lnTo>
                      <a:pt x="82" y="1274"/>
                    </a:lnTo>
                    <a:lnTo>
                      <a:pt x="72" y="1266"/>
                    </a:lnTo>
                    <a:lnTo>
                      <a:pt x="79" y="1239"/>
                    </a:lnTo>
                    <a:lnTo>
                      <a:pt x="75" y="1235"/>
                    </a:lnTo>
                    <a:lnTo>
                      <a:pt x="55" y="1254"/>
                    </a:lnTo>
                    <a:lnTo>
                      <a:pt x="28" y="1257"/>
                    </a:lnTo>
                    <a:lnTo>
                      <a:pt x="27" y="1254"/>
                    </a:lnTo>
                    <a:lnTo>
                      <a:pt x="52" y="1223"/>
                    </a:lnTo>
                    <a:lnTo>
                      <a:pt x="52" y="1211"/>
                    </a:lnTo>
                    <a:lnTo>
                      <a:pt x="61" y="1199"/>
                    </a:lnTo>
                    <a:lnTo>
                      <a:pt x="69" y="1190"/>
                    </a:lnTo>
                    <a:lnTo>
                      <a:pt x="66" y="1181"/>
                    </a:lnTo>
                    <a:lnTo>
                      <a:pt x="81" y="1173"/>
                    </a:lnTo>
                    <a:lnTo>
                      <a:pt x="82" y="1163"/>
                    </a:lnTo>
                    <a:lnTo>
                      <a:pt x="78" y="1161"/>
                    </a:lnTo>
                    <a:lnTo>
                      <a:pt x="78" y="1152"/>
                    </a:lnTo>
                    <a:lnTo>
                      <a:pt x="102" y="1139"/>
                    </a:lnTo>
                    <a:lnTo>
                      <a:pt x="105" y="1131"/>
                    </a:lnTo>
                    <a:lnTo>
                      <a:pt x="97" y="1122"/>
                    </a:lnTo>
                    <a:lnTo>
                      <a:pt x="79" y="1103"/>
                    </a:lnTo>
                    <a:lnTo>
                      <a:pt x="64" y="1107"/>
                    </a:lnTo>
                    <a:lnTo>
                      <a:pt x="60" y="1083"/>
                    </a:lnTo>
                    <a:lnTo>
                      <a:pt x="61" y="1065"/>
                    </a:lnTo>
                    <a:lnTo>
                      <a:pt x="73" y="1050"/>
                    </a:lnTo>
                    <a:lnTo>
                      <a:pt x="79" y="1041"/>
                    </a:lnTo>
                    <a:lnTo>
                      <a:pt x="72" y="1031"/>
                    </a:lnTo>
                    <a:lnTo>
                      <a:pt x="60" y="1040"/>
                    </a:lnTo>
                    <a:lnTo>
                      <a:pt x="42" y="1019"/>
                    </a:lnTo>
                    <a:lnTo>
                      <a:pt x="70" y="1001"/>
                    </a:lnTo>
                    <a:lnTo>
                      <a:pt x="91" y="1014"/>
                    </a:lnTo>
                    <a:lnTo>
                      <a:pt x="93" y="1010"/>
                    </a:lnTo>
                    <a:lnTo>
                      <a:pt x="100" y="992"/>
                    </a:lnTo>
                    <a:lnTo>
                      <a:pt x="72" y="972"/>
                    </a:lnTo>
                    <a:lnTo>
                      <a:pt x="51" y="969"/>
                    </a:lnTo>
                    <a:lnTo>
                      <a:pt x="67" y="932"/>
                    </a:lnTo>
                    <a:lnTo>
                      <a:pt x="67" y="911"/>
                    </a:lnTo>
                    <a:lnTo>
                      <a:pt x="52" y="887"/>
                    </a:lnTo>
                    <a:lnTo>
                      <a:pt x="40" y="867"/>
                    </a:lnTo>
                    <a:lnTo>
                      <a:pt x="51" y="851"/>
                    </a:lnTo>
                    <a:lnTo>
                      <a:pt x="48" y="837"/>
                    </a:lnTo>
                    <a:lnTo>
                      <a:pt x="25" y="830"/>
                    </a:lnTo>
                    <a:lnTo>
                      <a:pt x="9" y="842"/>
                    </a:lnTo>
                    <a:lnTo>
                      <a:pt x="6" y="818"/>
                    </a:lnTo>
                    <a:lnTo>
                      <a:pt x="12" y="810"/>
                    </a:lnTo>
                    <a:lnTo>
                      <a:pt x="6" y="795"/>
                    </a:lnTo>
                    <a:lnTo>
                      <a:pt x="1" y="785"/>
                    </a:lnTo>
                    <a:lnTo>
                      <a:pt x="1" y="774"/>
                    </a:lnTo>
                    <a:lnTo>
                      <a:pt x="0" y="746"/>
                    </a:lnTo>
                    <a:lnTo>
                      <a:pt x="1" y="731"/>
                    </a:lnTo>
                    <a:lnTo>
                      <a:pt x="3" y="722"/>
                    </a:lnTo>
                    <a:lnTo>
                      <a:pt x="4" y="714"/>
                    </a:lnTo>
                    <a:lnTo>
                      <a:pt x="18" y="704"/>
                    </a:lnTo>
                    <a:lnTo>
                      <a:pt x="27" y="705"/>
                    </a:lnTo>
                    <a:lnTo>
                      <a:pt x="51" y="708"/>
                    </a:lnTo>
                    <a:lnTo>
                      <a:pt x="54" y="716"/>
                    </a:lnTo>
                    <a:lnTo>
                      <a:pt x="58" y="710"/>
                    </a:lnTo>
                    <a:lnTo>
                      <a:pt x="52" y="678"/>
                    </a:lnTo>
                    <a:lnTo>
                      <a:pt x="63" y="657"/>
                    </a:lnTo>
                    <a:lnTo>
                      <a:pt x="70" y="638"/>
                    </a:lnTo>
                    <a:lnTo>
                      <a:pt x="85" y="627"/>
                    </a:lnTo>
                    <a:lnTo>
                      <a:pt x="93" y="620"/>
                    </a:lnTo>
                    <a:lnTo>
                      <a:pt x="103" y="635"/>
                    </a:lnTo>
                    <a:lnTo>
                      <a:pt x="115" y="627"/>
                    </a:lnTo>
                    <a:lnTo>
                      <a:pt x="121" y="630"/>
                    </a:lnTo>
                    <a:lnTo>
                      <a:pt x="129" y="626"/>
                    </a:lnTo>
                    <a:lnTo>
                      <a:pt x="132" y="605"/>
                    </a:lnTo>
                    <a:lnTo>
                      <a:pt x="132" y="591"/>
                    </a:lnTo>
                    <a:lnTo>
                      <a:pt x="130" y="581"/>
                    </a:lnTo>
                    <a:lnTo>
                      <a:pt x="136" y="570"/>
                    </a:lnTo>
                    <a:lnTo>
                      <a:pt x="144" y="570"/>
                    </a:lnTo>
                    <a:lnTo>
                      <a:pt x="145" y="564"/>
                    </a:lnTo>
                    <a:lnTo>
                      <a:pt x="141" y="557"/>
                    </a:lnTo>
                    <a:lnTo>
                      <a:pt x="141" y="540"/>
                    </a:lnTo>
                    <a:lnTo>
                      <a:pt x="151" y="498"/>
                    </a:lnTo>
                    <a:lnTo>
                      <a:pt x="151" y="491"/>
                    </a:lnTo>
                    <a:lnTo>
                      <a:pt x="148" y="486"/>
                    </a:lnTo>
                    <a:lnTo>
                      <a:pt x="174" y="434"/>
                    </a:lnTo>
                    <a:lnTo>
                      <a:pt x="183" y="429"/>
                    </a:lnTo>
                    <a:lnTo>
                      <a:pt x="195" y="417"/>
                    </a:lnTo>
                    <a:lnTo>
                      <a:pt x="199" y="396"/>
                    </a:lnTo>
                    <a:lnTo>
                      <a:pt x="222" y="377"/>
                    </a:lnTo>
                    <a:lnTo>
                      <a:pt x="222" y="368"/>
                    </a:lnTo>
                    <a:lnTo>
                      <a:pt x="213" y="363"/>
                    </a:lnTo>
                    <a:lnTo>
                      <a:pt x="213" y="356"/>
                    </a:lnTo>
                    <a:lnTo>
                      <a:pt x="202" y="350"/>
                    </a:lnTo>
                    <a:lnTo>
                      <a:pt x="219" y="338"/>
                    </a:lnTo>
                    <a:lnTo>
                      <a:pt x="223" y="320"/>
                    </a:lnTo>
                    <a:lnTo>
                      <a:pt x="220" y="297"/>
                    </a:lnTo>
                    <a:lnTo>
                      <a:pt x="226" y="288"/>
                    </a:lnTo>
                    <a:lnTo>
                      <a:pt x="232" y="272"/>
                    </a:lnTo>
                    <a:lnTo>
                      <a:pt x="232" y="266"/>
                    </a:lnTo>
                    <a:lnTo>
                      <a:pt x="241" y="249"/>
                    </a:lnTo>
                    <a:lnTo>
                      <a:pt x="249" y="242"/>
                    </a:lnTo>
                    <a:lnTo>
                      <a:pt x="255" y="209"/>
                    </a:lnTo>
                    <a:lnTo>
                      <a:pt x="255" y="200"/>
                    </a:lnTo>
                    <a:lnTo>
                      <a:pt x="249" y="198"/>
                    </a:lnTo>
                    <a:lnTo>
                      <a:pt x="243" y="204"/>
                    </a:lnTo>
                    <a:lnTo>
                      <a:pt x="243" y="198"/>
                    </a:lnTo>
                    <a:lnTo>
                      <a:pt x="235" y="188"/>
                    </a:lnTo>
                    <a:lnTo>
                      <a:pt x="241" y="177"/>
                    </a:lnTo>
                    <a:lnTo>
                      <a:pt x="240" y="168"/>
                    </a:lnTo>
                    <a:lnTo>
                      <a:pt x="252" y="150"/>
                    </a:lnTo>
                    <a:lnTo>
                      <a:pt x="262" y="134"/>
                    </a:lnTo>
                    <a:lnTo>
                      <a:pt x="261" y="107"/>
                    </a:lnTo>
                    <a:lnTo>
                      <a:pt x="285" y="111"/>
                    </a:lnTo>
                    <a:lnTo>
                      <a:pt x="291" y="113"/>
                    </a:lnTo>
                    <a:lnTo>
                      <a:pt x="292" y="122"/>
                    </a:lnTo>
                    <a:lnTo>
                      <a:pt x="336" y="132"/>
                    </a:lnTo>
                    <a:lnTo>
                      <a:pt x="345" y="135"/>
                    </a:lnTo>
                    <a:lnTo>
                      <a:pt x="351" y="150"/>
                    </a:lnTo>
                    <a:lnTo>
                      <a:pt x="385" y="158"/>
                    </a:lnTo>
                    <a:lnTo>
                      <a:pt x="399" y="146"/>
                    </a:lnTo>
                    <a:lnTo>
                      <a:pt x="394" y="131"/>
                    </a:lnTo>
                    <a:lnTo>
                      <a:pt x="388" y="110"/>
                    </a:lnTo>
                    <a:lnTo>
                      <a:pt x="375" y="99"/>
                    </a:lnTo>
                    <a:lnTo>
                      <a:pt x="387" y="78"/>
                    </a:lnTo>
                    <a:lnTo>
                      <a:pt x="394" y="78"/>
                    </a:lnTo>
                    <a:lnTo>
                      <a:pt x="403" y="84"/>
                    </a:lnTo>
                    <a:lnTo>
                      <a:pt x="415" y="104"/>
                    </a:lnTo>
                    <a:lnTo>
                      <a:pt x="426" y="105"/>
                    </a:lnTo>
                    <a:lnTo>
                      <a:pt x="441" y="99"/>
                    </a:lnTo>
                    <a:lnTo>
                      <a:pt x="442" y="93"/>
                    </a:lnTo>
                    <a:lnTo>
                      <a:pt x="447" y="83"/>
                    </a:lnTo>
                    <a:lnTo>
                      <a:pt x="454" y="74"/>
                    </a:lnTo>
                    <a:lnTo>
                      <a:pt x="468" y="72"/>
                    </a:lnTo>
                    <a:lnTo>
                      <a:pt x="492" y="63"/>
                    </a:lnTo>
                    <a:lnTo>
                      <a:pt x="520" y="56"/>
                    </a:lnTo>
                    <a:lnTo>
                      <a:pt x="529" y="42"/>
                    </a:lnTo>
                    <a:lnTo>
                      <a:pt x="535" y="47"/>
                    </a:lnTo>
                    <a:lnTo>
                      <a:pt x="549" y="42"/>
                    </a:lnTo>
                    <a:lnTo>
                      <a:pt x="565" y="15"/>
                    </a:lnTo>
                    <a:lnTo>
                      <a:pt x="568" y="5"/>
                    </a:lnTo>
                    <a:lnTo>
                      <a:pt x="579" y="0"/>
                    </a:lnTo>
                    <a:lnTo>
                      <a:pt x="585" y="8"/>
                    </a:lnTo>
                    <a:lnTo>
                      <a:pt x="591" y="11"/>
                    </a:lnTo>
                    <a:lnTo>
                      <a:pt x="588" y="24"/>
                    </a:lnTo>
                    <a:lnTo>
                      <a:pt x="598" y="29"/>
                    </a:lnTo>
                    <a:lnTo>
                      <a:pt x="612" y="14"/>
                    </a:lnTo>
                    <a:lnTo>
                      <a:pt x="636" y="35"/>
                    </a:lnTo>
                    <a:lnTo>
                      <a:pt x="660" y="17"/>
                    </a:lnTo>
                    <a:lnTo>
                      <a:pt x="700" y="35"/>
                    </a:lnTo>
                    <a:lnTo>
                      <a:pt x="735" y="38"/>
                    </a:lnTo>
                    <a:lnTo>
                      <a:pt x="748" y="32"/>
                    </a:lnTo>
                    <a:lnTo>
                      <a:pt x="760" y="27"/>
                    </a:lnTo>
                    <a:lnTo>
                      <a:pt x="759" y="38"/>
                    </a:lnTo>
                    <a:lnTo>
                      <a:pt x="757" y="56"/>
                    </a:lnTo>
                    <a:lnTo>
                      <a:pt x="747" y="65"/>
                    </a:lnTo>
                    <a:lnTo>
                      <a:pt x="748" y="77"/>
                    </a:lnTo>
                    <a:lnTo>
                      <a:pt x="760" y="90"/>
                    </a:lnTo>
                    <a:lnTo>
                      <a:pt x="750" y="111"/>
                    </a:lnTo>
                    <a:lnTo>
                      <a:pt x="759" y="126"/>
                    </a:lnTo>
                    <a:lnTo>
                      <a:pt x="789" y="125"/>
                    </a:lnTo>
                    <a:lnTo>
                      <a:pt x="786" y="107"/>
                    </a:lnTo>
                    <a:lnTo>
                      <a:pt x="802" y="89"/>
                    </a:lnTo>
                    <a:lnTo>
                      <a:pt x="814" y="96"/>
                    </a:lnTo>
                    <a:lnTo>
                      <a:pt x="831" y="99"/>
                    </a:lnTo>
                    <a:lnTo>
                      <a:pt x="844" y="95"/>
                    </a:lnTo>
                    <a:lnTo>
                      <a:pt x="847" y="102"/>
                    </a:lnTo>
                    <a:lnTo>
                      <a:pt x="862" y="101"/>
                    </a:lnTo>
                    <a:lnTo>
                      <a:pt x="856" y="123"/>
                    </a:lnTo>
                    <a:lnTo>
                      <a:pt x="862" y="140"/>
                    </a:lnTo>
                    <a:lnTo>
                      <a:pt x="870" y="147"/>
                    </a:lnTo>
                    <a:lnTo>
                      <a:pt x="882" y="120"/>
                    </a:lnTo>
                    <a:lnTo>
                      <a:pt x="897" y="119"/>
                    </a:lnTo>
                    <a:lnTo>
                      <a:pt x="921" y="167"/>
                    </a:lnTo>
                    <a:lnTo>
                      <a:pt x="931" y="161"/>
                    </a:lnTo>
                    <a:lnTo>
                      <a:pt x="928" y="177"/>
                    </a:lnTo>
                    <a:lnTo>
                      <a:pt x="918" y="185"/>
                    </a:lnTo>
                    <a:lnTo>
                      <a:pt x="912" y="200"/>
                    </a:lnTo>
                    <a:lnTo>
                      <a:pt x="907" y="209"/>
                    </a:lnTo>
                    <a:lnTo>
                      <a:pt x="922" y="219"/>
                    </a:lnTo>
                    <a:lnTo>
                      <a:pt x="922" y="240"/>
                    </a:lnTo>
                    <a:lnTo>
                      <a:pt x="934" y="257"/>
                    </a:lnTo>
                    <a:lnTo>
                      <a:pt x="940" y="284"/>
                    </a:lnTo>
                    <a:lnTo>
                      <a:pt x="955" y="282"/>
                    </a:lnTo>
                    <a:lnTo>
                      <a:pt x="972" y="306"/>
                    </a:lnTo>
                    <a:lnTo>
                      <a:pt x="958" y="324"/>
                    </a:lnTo>
                    <a:lnTo>
                      <a:pt x="942" y="327"/>
                    </a:lnTo>
                    <a:lnTo>
                      <a:pt x="963" y="359"/>
                    </a:lnTo>
                    <a:lnTo>
                      <a:pt x="964" y="377"/>
                    </a:lnTo>
                    <a:lnTo>
                      <a:pt x="952" y="393"/>
                    </a:lnTo>
                    <a:lnTo>
                      <a:pt x="966" y="407"/>
                    </a:lnTo>
                    <a:lnTo>
                      <a:pt x="958" y="417"/>
                    </a:lnTo>
                    <a:lnTo>
                      <a:pt x="958" y="431"/>
                    </a:lnTo>
                    <a:lnTo>
                      <a:pt x="946" y="441"/>
                    </a:lnTo>
                    <a:lnTo>
                      <a:pt x="952" y="474"/>
                    </a:lnTo>
                    <a:lnTo>
                      <a:pt x="966" y="480"/>
                    </a:lnTo>
                    <a:lnTo>
                      <a:pt x="969" y="480"/>
                    </a:lnTo>
                    <a:lnTo>
                      <a:pt x="990" y="501"/>
                    </a:lnTo>
                    <a:lnTo>
                      <a:pt x="1002" y="483"/>
                    </a:lnTo>
                    <a:lnTo>
                      <a:pt x="1023" y="491"/>
                    </a:lnTo>
                    <a:lnTo>
                      <a:pt x="1041" y="480"/>
                    </a:lnTo>
                    <a:lnTo>
                      <a:pt x="1059" y="488"/>
                    </a:lnTo>
                    <a:lnTo>
                      <a:pt x="1059" y="500"/>
                    </a:lnTo>
                    <a:lnTo>
                      <a:pt x="1071" y="506"/>
                    </a:lnTo>
                    <a:lnTo>
                      <a:pt x="1075" y="522"/>
                    </a:lnTo>
                    <a:lnTo>
                      <a:pt x="1083" y="524"/>
                    </a:lnTo>
                    <a:lnTo>
                      <a:pt x="1098" y="543"/>
                    </a:lnTo>
                    <a:lnTo>
                      <a:pt x="1110" y="566"/>
                    </a:lnTo>
                    <a:lnTo>
                      <a:pt x="1120" y="600"/>
                    </a:lnTo>
                    <a:lnTo>
                      <a:pt x="1161" y="663"/>
                    </a:lnTo>
                    <a:lnTo>
                      <a:pt x="1156" y="692"/>
                    </a:lnTo>
                    <a:lnTo>
                      <a:pt x="1141" y="702"/>
                    </a:lnTo>
                    <a:lnTo>
                      <a:pt x="1117" y="704"/>
                    </a:lnTo>
                    <a:lnTo>
                      <a:pt x="1113" y="734"/>
                    </a:lnTo>
                    <a:lnTo>
                      <a:pt x="1098" y="740"/>
                    </a:lnTo>
                    <a:lnTo>
                      <a:pt x="1095" y="747"/>
                    </a:lnTo>
                    <a:lnTo>
                      <a:pt x="1084" y="768"/>
                    </a:lnTo>
                    <a:lnTo>
                      <a:pt x="1074" y="789"/>
                    </a:lnTo>
                    <a:lnTo>
                      <a:pt x="1054" y="801"/>
                    </a:lnTo>
                    <a:lnTo>
                      <a:pt x="1035" y="791"/>
                    </a:lnTo>
                    <a:lnTo>
                      <a:pt x="1024" y="788"/>
                    </a:lnTo>
                    <a:lnTo>
                      <a:pt x="1006" y="773"/>
                    </a:lnTo>
                    <a:lnTo>
                      <a:pt x="975" y="788"/>
                    </a:lnTo>
                    <a:lnTo>
                      <a:pt x="954" y="791"/>
                    </a:lnTo>
                    <a:lnTo>
                      <a:pt x="942" y="795"/>
                    </a:lnTo>
                    <a:lnTo>
                      <a:pt x="928" y="804"/>
                    </a:lnTo>
                    <a:lnTo>
                      <a:pt x="927" y="818"/>
                    </a:lnTo>
                    <a:lnTo>
                      <a:pt x="913" y="825"/>
                    </a:lnTo>
                    <a:lnTo>
                      <a:pt x="910" y="842"/>
                    </a:lnTo>
                    <a:lnTo>
                      <a:pt x="921" y="863"/>
                    </a:lnTo>
                    <a:lnTo>
                      <a:pt x="904" y="881"/>
                    </a:lnTo>
                    <a:lnTo>
                      <a:pt x="898" y="888"/>
                    </a:lnTo>
                    <a:lnTo>
                      <a:pt x="889" y="959"/>
                    </a:lnTo>
                    <a:lnTo>
                      <a:pt x="882" y="989"/>
                    </a:lnTo>
                    <a:lnTo>
                      <a:pt x="883" y="995"/>
                    </a:lnTo>
                    <a:lnTo>
                      <a:pt x="873" y="1028"/>
                    </a:lnTo>
                    <a:lnTo>
                      <a:pt x="862" y="1040"/>
                    </a:lnTo>
                    <a:lnTo>
                      <a:pt x="862" y="1055"/>
                    </a:lnTo>
                    <a:lnTo>
                      <a:pt x="871" y="1056"/>
                    </a:lnTo>
                    <a:lnTo>
                      <a:pt x="876" y="1088"/>
                    </a:lnTo>
                    <a:lnTo>
                      <a:pt x="877" y="1097"/>
                    </a:lnTo>
                    <a:lnTo>
                      <a:pt x="856" y="1091"/>
                    </a:lnTo>
                    <a:lnTo>
                      <a:pt x="852" y="1098"/>
                    </a:lnTo>
                    <a:lnTo>
                      <a:pt x="834" y="1125"/>
                    </a:lnTo>
                    <a:lnTo>
                      <a:pt x="813" y="1100"/>
                    </a:lnTo>
                    <a:lnTo>
                      <a:pt x="799" y="1097"/>
                    </a:lnTo>
                    <a:lnTo>
                      <a:pt x="766" y="1107"/>
                    </a:lnTo>
                    <a:lnTo>
                      <a:pt x="777" y="1115"/>
                    </a:lnTo>
                    <a:lnTo>
                      <a:pt x="796" y="1124"/>
                    </a:lnTo>
                    <a:lnTo>
                      <a:pt x="804" y="1131"/>
                    </a:lnTo>
                    <a:lnTo>
                      <a:pt x="799" y="1152"/>
                    </a:lnTo>
                    <a:lnTo>
                      <a:pt x="808" y="1163"/>
                    </a:lnTo>
                    <a:lnTo>
                      <a:pt x="814" y="1170"/>
                    </a:lnTo>
                    <a:lnTo>
                      <a:pt x="799" y="1181"/>
                    </a:lnTo>
                    <a:lnTo>
                      <a:pt x="796" y="1190"/>
                    </a:lnTo>
                    <a:lnTo>
                      <a:pt x="799" y="1211"/>
                    </a:lnTo>
                    <a:lnTo>
                      <a:pt x="801" y="1220"/>
                    </a:lnTo>
                    <a:lnTo>
                      <a:pt x="790" y="1241"/>
                    </a:lnTo>
                    <a:lnTo>
                      <a:pt x="787" y="1248"/>
                    </a:lnTo>
                    <a:lnTo>
                      <a:pt x="796" y="1259"/>
                    </a:lnTo>
                    <a:lnTo>
                      <a:pt x="805" y="1281"/>
                    </a:lnTo>
                    <a:lnTo>
                      <a:pt x="823" y="1290"/>
                    </a:lnTo>
                    <a:lnTo>
                      <a:pt x="826" y="1299"/>
                    </a:lnTo>
                    <a:lnTo>
                      <a:pt x="858" y="1320"/>
                    </a:lnTo>
                    <a:lnTo>
                      <a:pt x="886" y="1320"/>
                    </a:lnTo>
                    <a:lnTo>
                      <a:pt x="891" y="1349"/>
                    </a:lnTo>
                    <a:lnTo>
                      <a:pt x="952" y="1353"/>
                    </a:lnTo>
                    <a:lnTo>
                      <a:pt x="967" y="1370"/>
                    </a:lnTo>
                    <a:lnTo>
                      <a:pt x="972" y="1374"/>
                    </a:lnTo>
                    <a:lnTo>
                      <a:pt x="994" y="1398"/>
                    </a:lnTo>
                    <a:lnTo>
                      <a:pt x="976" y="1400"/>
                    </a:lnTo>
                    <a:lnTo>
                      <a:pt x="997" y="1430"/>
                    </a:lnTo>
                    <a:lnTo>
                      <a:pt x="982" y="1431"/>
                    </a:lnTo>
                    <a:lnTo>
                      <a:pt x="990" y="1451"/>
                    </a:lnTo>
                    <a:lnTo>
                      <a:pt x="1008" y="1458"/>
                    </a:lnTo>
                    <a:lnTo>
                      <a:pt x="1021" y="1467"/>
                    </a:lnTo>
                    <a:lnTo>
                      <a:pt x="1018" y="1482"/>
                    </a:lnTo>
                    <a:lnTo>
                      <a:pt x="1038" y="1473"/>
                    </a:lnTo>
                    <a:lnTo>
                      <a:pt x="1032" y="1496"/>
                    </a:lnTo>
                    <a:lnTo>
                      <a:pt x="1029" y="1514"/>
                    </a:lnTo>
                    <a:lnTo>
                      <a:pt x="1021" y="1524"/>
                    </a:lnTo>
                    <a:lnTo>
                      <a:pt x="1012" y="1533"/>
                    </a:lnTo>
                    <a:lnTo>
                      <a:pt x="999" y="1527"/>
                    </a:lnTo>
                    <a:lnTo>
                      <a:pt x="990" y="1542"/>
                    </a:lnTo>
                    <a:lnTo>
                      <a:pt x="990" y="1548"/>
                    </a:lnTo>
                    <a:lnTo>
                      <a:pt x="982" y="1554"/>
                    </a:lnTo>
                    <a:lnTo>
                      <a:pt x="975" y="1554"/>
                    </a:lnTo>
                    <a:lnTo>
                      <a:pt x="975" y="1562"/>
                    </a:lnTo>
                    <a:lnTo>
                      <a:pt x="973" y="1572"/>
                    </a:lnTo>
                    <a:lnTo>
                      <a:pt x="960" y="1568"/>
                    </a:lnTo>
                    <a:lnTo>
                      <a:pt x="952" y="1557"/>
                    </a:lnTo>
                    <a:lnTo>
                      <a:pt x="934" y="1562"/>
                    </a:lnTo>
                    <a:lnTo>
                      <a:pt x="913" y="1559"/>
                    </a:lnTo>
                    <a:lnTo>
                      <a:pt x="910" y="1566"/>
                    </a:lnTo>
                    <a:lnTo>
                      <a:pt x="892" y="1583"/>
                    </a:lnTo>
                    <a:lnTo>
                      <a:pt x="895" y="1589"/>
                    </a:lnTo>
                    <a:lnTo>
                      <a:pt x="891" y="1598"/>
                    </a:lnTo>
                    <a:lnTo>
                      <a:pt x="894" y="1604"/>
                    </a:lnTo>
                    <a:lnTo>
                      <a:pt x="889" y="1610"/>
                    </a:lnTo>
                    <a:lnTo>
                      <a:pt x="888" y="1619"/>
                    </a:lnTo>
                    <a:lnTo>
                      <a:pt x="880" y="1620"/>
                    </a:lnTo>
                    <a:lnTo>
                      <a:pt x="874" y="1628"/>
                    </a:lnTo>
                    <a:lnTo>
                      <a:pt x="879" y="1631"/>
                    </a:lnTo>
                    <a:lnTo>
                      <a:pt x="874" y="1640"/>
                    </a:lnTo>
                    <a:lnTo>
                      <a:pt x="876" y="1653"/>
                    </a:lnTo>
                    <a:lnTo>
                      <a:pt x="871" y="1658"/>
                    </a:lnTo>
                    <a:lnTo>
                      <a:pt x="865" y="1649"/>
                    </a:lnTo>
                    <a:lnTo>
                      <a:pt x="861" y="1653"/>
                    </a:lnTo>
                    <a:lnTo>
                      <a:pt x="852" y="1649"/>
                    </a:lnTo>
                    <a:lnTo>
                      <a:pt x="840" y="1647"/>
                    </a:lnTo>
                    <a:lnTo>
                      <a:pt x="834" y="1650"/>
                    </a:lnTo>
                    <a:lnTo>
                      <a:pt x="826" y="1641"/>
                    </a:lnTo>
                    <a:lnTo>
                      <a:pt x="820" y="1641"/>
                    </a:lnTo>
                    <a:lnTo>
                      <a:pt x="817" y="1650"/>
                    </a:lnTo>
                    <a:lnTo>
                      <a:pt x="801" y="1649"/>
                    </a:lnTo>
                    <a:lnTo>
                      <a:pt x="795" y="1646"/>
                    </a:lnTo>
                    <a:lnTo>
                      <a:pt x="783" y="1670"/>
                    </a:lnTo>
                    <a:lnTo>
                      <a:pt x="766" y="1673"/>
                    </a:lnTo>
                    <a:close/>
                  </a:path>
                </a:pathLst>
              </a:custGeom>
              <a:solidFill>
                <a:srgbClr val="5B9BD5"/>
              </a:solid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4" name="Freeform 292">
                <a:extLst>
                  <a:ext uri="{FF2B5EF4-FFF2-40B4-BE49-F238E27FC236}">
                    <a16:creationId xmlns:a16="http://schemas.microsoft.com/office/drawing/2014/main" id="{8A6CEE0E-EC8F-4499-A311-6DE4991E3DC1}"/>
                  </a:ext>
                </a:extLst>
              </p:cNvPr>
              <p:cNvSpPr>
                <a:spLocks/>
              </p:cNvSpPr>
              <p:nvPr/>
            </p:nvSpPr>
            <p:spPr bwMode="auto">
              <a:xfrm>
                <a:off x="3000" y="723"/>
                <a:ext cx="459" cy="541"/>
              </a:xfrm>
              <a:custGeom>
                <a:avLst/>
                <a:gdLst>
                  <a:gd name="T0" fmla="*/ 0 w 1378"/>
                  <a:gd name="T1" fmla="*/ 0 h 1624"/>
                  <a:gd name="T2" fmla="*/ 0 w 1378"/>
                  <a:gd name="T3" fmla="*/ 0 h 1624"/>
                  <a:gd name="T4" fmla="*/ 0 w 1378"/>
                  <a:gd name="T5" fmla="*/ 0 h 1624"/>
                  <a:gd name="T6" fmla="*/ 0 w 1378"/>
                  <a:gd name="T7" fmla="*/ 0 h 1624"/>
                  <a:gd name="T8" fmla="*/ 0 w 1378"/>
                  <a:gd name="T9" fmla="*/ 0 h 1624"/>
                  <a:gd name="T10" fmla="*/ 0 w 1378"/>
                  <a:gd name="T11" fmla="*/ 0 h 1624"/>
                  <a:gd name="T12" fmla="*/ 0 w 1378"/>
                  <a:gd name="T13" fmla="*/ 0 h 1624"/>
                  <a:gd name="T14" fmla="*/ 0 w 1378"/>
                  <a:gd name="T15" fmla="*/ 0 h 1624"/>
                  <a:gd name="T16" fmla="*/ 0 w 1378"/>
                  <a:gd name="T17" fmla="*/ 0 h 1624"/>
                  <a:gd name="T18" fmla="*/ 0 w 1378"/>
                  <a:gd name="T19" fmla="*/ 0 h 1624"/>
                  <a:gd name="T20" fmla="*/ 0 w 1378"/>
                  <a:gd name="T21" fmla="*/ 0 h 1624"/>
                  <a:gd name="T22" fmla="*/ 0 w 1378"/>
                  <a:gd name="T23" fmla="*/ 0 h 1624"/>
                  <a:gd name="T24" fmla="*/ 0 w 1378"/>
                  <a:gd name="T25" fmla="*/ 0 h 1624"/>
                  <a:gd name="T26" fmla="*/ 0 w 1378"/>
                  <a:gd name="T27" fmla="*/ 0 h 1624"/>
                  <a:gd name="T28" fmla="*/ 0 w 1378"/>
                  <a:gd name="T29" fmla="*/ 0 h 1624"/>
                  <a:gd name="T30" fmla="*/ 0 w 1378"/>
                  <a:gd name="T31" fmla="*/ 0 h 1624"/>
                  <a:gd name="T32" fmla="*/ 0 w 1378"/>
                  <a:gd name="T33" fmla="*/ 0 h 1624"/>
                  <a:gd name="T34" fmla="*/ 0 w 1378"/>
                  <a:gd name="T35" fmla="*/ 0 h 1624"/>
                  <a:gd name="T36" fmla="*/ 0 w 1378"/>
                  <a:gd name="T37" fmla="*/ 0 h 1624"/>
                  <a:gd name="T38" fmla="*/ 0 w 1378"/>
                  <a:gd name="T39" fmla="*/ 0 h 1624"/>
                  <a:gd name="T40" fmla="*/ 0 w 1378"/>
                  <a:gd name="T41" fmla="*/ 0 h 1624"/>
                  <a:gd name="T42" fmla="*/ 0 w 1378"/>
                  <a:gd name="T43" fmla="*/ 0 h 1624"/>
                  <a:gd name="T44" fmla="*/ 0 w 1378"/>
                  <a:gd name="T45" fmla="*/ 0 h 1624"/>
                  <a:gd name="T46" fmla="*/ 0 w 1378"/>
                  <a:gd name="T47" fmla="*/ 0 h 1624"/>
                  <a:gd name="T48" fmla="*/ 0 w 1378"/>
                  <a:gd name="T49" fmla="*/ 0 h 1624"/>
                  <a:gd name="T50" fmla="*/ 0 w 1378"/>
                  <a:gd name="T51" fmla="*/ 0 h 1624"/>
                  <a:gd name="T52" fmla="*/ 0 w 1378"/>
                  <a:gd name="T53" fmla="*/ 0 h 1624"/>
                  <a:gd name="T54" fmla="*/ 0 w 1378"/>
                  <a:gd name="T55" fmla="*/ 0 h 1624"/>
                  <a:gd name="T56" fmla="*/ 0 w 1378"/>
                  <a:gd name="T57" fmla="*/ 0 h 1624"/>
                  <a:gd name="T58" fmla="*/ 0 w 1378"/>
                  <a:gd name="T59" fmla="*/ 0 h 1624"/>
                  <a:gd name="T60" fmla="*/ 0 w 1378"/>
                  <a:gd name="T61" fmla="*/ 0 h 1624"/>
                  <a:gd name="T62" fmla="*/ 0 w 1378"/>
                  <a:gd name="T63" fmla="*/ 0 h 1624"/>
                  <a:gd name="T64" fmla="*/ 0 w 1378"/>
                  <a:gd name="T65" fmla="*/ 0 h 1624"/>
                  <a:gd name="T66" fmla="*/ 0 w 1378"/>
                  <a:gd name="T67" fmla="*/ 0 h 1624"/>
                  <a:gd name="T68" fmla="*/ 0 w 1378"/>
                  <a:gd name="T69" fmla="*/ 0 h 1624"/>
                  <a:gd name="T70" fmla="*/ 0 w 1378"/>
                  <a:gd name="T71" fmla="*/ 0 h 1624"/>
                  <a:gd name="T72" fmla="*/ 0 w 1378"/>
                  <a:gd name="T73" fmla="*/ 0 h 1624"/>
                  <a:gd name="T74" fmla="*/ 0 w 1378"/>
                  <a:gd name="T75" fmla="*/ 0 h 1624"/>
                  <a:gd name="T76" fmla="*/ 0 w 1378"/>
                  <a:gd name="T77" fmla="*/ 0 h 1624"/>
                  <a:gd name="T78" fmla="*/ 0 w 1378"/>
                  <a:gd name="T79" fmla="*/ 0 h 1624"/>
                  <a:gd name="T80" fmla="*/ 0 w 1378"/>
                  <a:gd name="T81" fmla="*/ 0 h 1624"/>
                  <a:gd name="T82" fmla="*/ 0 w 1378"/>
                  <a:gd name="T83" fmla="*/ 0 h 1624"/>
                  <a:gd name="T84" fmla="*/ 0 w 1378"/>
                  <a:gd name="T85" fmla="*/ 0 h 1624"/>
                  <a:gd name="T86" fmla="*/ 0 w 1378"/>
                  <a:gd name="T87" fmla="*/ 0 h 1624"/>
                  <a:gd name="T88" fmla="*/ 0 w 1378"/>
                  <a:gd name="T89" fmla="*/ 0 h 1624"/>
                  <a:gd name="T90" fmla="*/ 0 w 1378"/>
                  <a:gd name="T91" fmla="*/ 0 h 1624"/>
                  <a:gd name="T92" fmla="*/ 0 w 1378"/>
                  <a:gd name="T93" fmla="*/ 0 h 1624"/>
                  <a:gd name="T94" fmla="*/ 0 w 1378"/>
                  <a:gd name="T95" fmla="*/ 0 h 1624"/>
                  <a:gd name="T96" fmla="*/ 0 w 1378"/>
                  <a:gd name="T97" fmla="*/ 0 h 1624"/>
                  <a:gd name="T98" fmla="*/ 0 w 1378"/>
                  <a:gd name="T99" fmla="*/ 0 h 1624"/>
                  <a:gd name="T100" fmla="*/ 0 w 1378"/>
                  <a:gd name="T101" fmla="*/ 0 h 1624"/>
                  <a:gd name="T102" fmla="*/ 0 w 1378"/>
                  <a:gd name="T103" fmla="*/ 0 h 1624"/>
                  <a:gd name="T104" fmla="*/ 0 w 1378"/>
                  <a:gd name="T105" fmla="*/ 0 h 1624"/>
                  <a:gd name="T106" fmla="*/ 0 w 1378"/>
                  <a:gd name="T107" fmla="*/ 0 h 1624"/>
                  <a:gd name="T108" fmla="*/ 0 w 1378"/>
                  <a:gd name="T109" fmla="*/ 0 h 1624"/>
                  <a:gd name="T110" fmla="*/ 0 w 1378"/>
                  <a:gd name="T111" fmla="*/ 0 h 1624"/>
                  <a:gd name="T112" fmla="*/ 0 w 1378"/>
                  <a:gd name="T113" fmla="*/ 0 h 1624"/>
                  <a:gd name="T114" fmla="*/ 0 w 1378"/>
                  <a:gd name="T115" fmla="*/ 0 h 1624"/>
                  <a:gd name="T116" fmla="*/ 0 w 1378"/>
                  <a:gd name="T117" fmla="*/ 0 h 1624"/>
                  <a:gd name="T118" fmla="*/ 0 w 1378"/>
                  <a:gd name="T119" fmla="*/ 0 h 162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378" h="1624">
                    <a:moveTo>
                      <a:pt x="1116" y="1264"/>
                    </a:moveTo>
                    <a:lnTo>
                      <a:pt x="1126" y="1258"/>
                    </a:lnTo>
                    <a:lnTo>
                      <a:pt x="1128" y="1260"/>
                    </a:lnTo>
                    <a:lnTo>
                      <a:pt x="1132" y="1258"/>
                    </a:lnTo>
                    <a:lnTo>
                      <a:pt x="1140" y="1258"/>
                    </a:lnTo>
                    <a:lnTo>
                      <a:pt x="1144" y="1255"/>
                    </a:lnTo>
                    <a:lnTo>
                      <a:pt x="1147" y="1260"/>
                    </a:lnTo>
                    <a:lnTo>
                      <a:pt x="1152" y="1261"/>
                    </a:lnTo>
                    <a:lnTo>
                      <a:pt x="1141" y="1272"/>
                    </a:lnTo>
                    <a:lnTo>
                      <a:pt x="1137" y="1270"/>
                    </a:lnTo>
                    <a:lnTo>
                      <a:pt x="1132" y="1275"/>
                    </a:lnTo>
                    <a:lnTo>
                      <a:pt x="1137" y="1281"/>
                    </a:lnTo>
                    <a:lnTo>
                      <a:pt x="1137" y="1288"/>
                    </a:lnTo>
                    <a:lnTo>
                      <a:pt x="1141" y="1293"/>
                    </a:lnTo>
                    <a:lnTo>
                      <a:pt x="1146" y="1290"/>
                    </a:lnTo>
                    <a:lnTo>
                      <a:pt x="1144" y="1293"/>
                    </a:lnTo>
                    <a:lnTo>
                      <a:pt x="1137" y="1305"/>
                    </a:lnTo>
                    <a:lnTo>
                      <a:pt x="1110" y="1308"/>
                    </a:lnTo>
                    <a:lnTo>
                      <a:pt x="1095" y="1324"/>
                    </a:lnTo>
                    <a:lnTo>
                      <a:pt x="1101" y="1342"/>
                    </a:lnTo>
                    <a:lnTo>
                      <a:pt x="1111" y="1357"/>
                    </a:lnTo>
                    <a:lnTo>
                      <a:pt x="1105" y="1377"/>
                    </a:lnTo>
                    <a:lnTo>
                      <a:pt x="1102" y="1384"/>
                    </a:lnTo>
                    <a:lnTo>
                      <a:pt x="1096" y="1386"/>
                    </a:lnTo>
                    <a:lnTo>
                      <a:pt x="1075" y="1396"/>
                    </a:lnTo>
                    <a:lnTo>
                      <a:pt x="1059" y="1402"/>
                    </a:lnTo>
                    <a:lnTo>
                      <a:pt x="1047" y="1411"/>
                    </a:lnTo>
                    <a:lnTo>
                      <a:pt x="1029" y="1428"/>
                    </a:lnTo>
                    <a:lnTo>
                      <a:pt x="1023" y="1443"/>
                    </a:lnTo>
                    <a:lnTo>
                      <a:pt x="1027" y="1447"/>
                    </a:lnTo>
                    <a:lnTo>
                      <a:pt x="1030" y="1465"/>
                    </a:lnTo>
                    <a:lnTo>
                      <a:pt x="1041" y="1473"/>
                    </a:lnTo>
                    <a:lnTo>
                      <a:pt x="1041" y="1486"/>
                    </a:lnTo>
                    <a:lnTo>
                      <a:pt x="1024" y="1491"/>
                    </a:lnTo>
                    <a:lnTo>
                      <a:pt x="1011" y="1501"/>
                    </a:lnTo>
                    <a:lnTo>
                      <a:pt x="1003" y="1515"/>
                    </a:lnTo>
                    <a:lnTo>
                      <a:pt x="988" y="1512"/>
                    </a:lnTo>
                    <a:lnTo>
                      <a:pt x="978" y="1507"/>
                    </a:lnTo>
                    <a:lnTo>
                      <a:pt x="960" y="1510"/>
                    </a:lnTo>
                    <a:lnTo>
                      <a:pt x="952" y="1515"/>
                    </a:lnTo>
                    <a:lnTo>
                      <a:pt x="948" y="1515"/>
                    </a:lnTo>
                    <a:lnTo>
                      <a:pt x="946" y="1506"/>
                    </a:lnTo>
                    <a:lnTo>
                      <a:pt x="933" y="1504"/>
                    </a:lnTo>
                    <a:lnTo>
                      <a:pt x="922" y="1507"/>
                    </a:lnTo>
                    <a:lnTo>
                      <a:pt x="924" y="1512"/>
                    </a:lnTo>
                    <a:lnTo>
                      <a:pt x="918" y="1516"/>
                    </a:lnTo>
                    <a:lnTo>
                      <a:pt x="895" y="1501"/>
                    </a:lnTo>
                    <a:lnTo>
                      <a:pt x="871" y="1503"/>
                    </a:lnTo>
                    <a:lnTo>
                      <a:pt x="862" y="1495"/>
                    </a:lnTo>
                    <a:lnTo>
                      <a:pt x="861" y="1485"/>
                    </a:lnTo>
                    <a:lnTo>
                      <a:pt x="837" y="1483"/>
                    </a:lnTo>
                    <a:lnTo>
                      <a:pt x="837" y="1492"/>
                    </a:lnTo>
                    <a:lnTo>
                      <a:pt x="838" y="1507"/>
                    </a:lnTo>
                    <a:lnTo>
                      <a:pt x="831" y="1530"/>
                    </a:lnTo>
                    <a:lnTo>
                      <a:pt x="810" y="1522"/>
                    </a:lnTo>
                    <a:lnTo>
                      <a:pt x="802" y="1528"/>
                    </a:lnTo>
                    <a:lnTo>
                      <a:pt x="790" y="1521"/>
                    </a:lnTo>
                    <a:lnTo>
                      <a:pt x="771" y="1542"/>
                    </a:lnTo>
                    <a:lnTo>
                      <a:pt x="771" y="1552"/>
                    </a:lnTo>
                    <a:lnTo>
                      <a:pt x="760" y="1548"/>
                    </a:lnTo>
                    <a:lnTo>
                      <a:pt x="750" y="1554"/>
                    </a:lnTo>
                    <a:lnTo>
                      <a:pt x="730" y="1558"/>
                    </a:lnTo>
                    <a:lnTo>
                      <a:pt x="723" y="1549"/>
                    </a:lnTo>
                    <a:lnTo>
                      <a:pt x="715" y="1555"/>
                    </a:lnTo>
                    <a:lnTo>
                      <a:pt x="705" y="1567"/>
                    </a:lnTo>
                    <a:lnTo>
                      <a:pt x="678" y="1572"/>
                    </a:lnTo>
                    <a:lnTo>
                      <a:pt x="666" y="1572"/>
                    </a:lnTo>
                    <a:lnTo>
                      <a:pt x="654" y="1566"/>
                    </a:lnTo>
                    <a:lnTo>
                      <a:pt x="637" y="1569"/>
                    </a:lnTo>
                    <a:lnTo>
                      <a:pt x="634" y="1590"/>
                    </a:lnTo>
                    <a:lnTo>
                      <a:pt x="628" y="1602"/>
                    </a:lnTo>
                    <a:lnTo>
                      <a:pt x="625" y="1606"/>
                    </a:lnTo>
                    <a:lnTo>
                      <a:pt x="607" y="1606"/>
                    </a:lnTo>
                    <a:lnTo>
                      <a:pt x="591" y="1620"/>
                    </a:lnTo>
                    <a:lnTo>
                      <a:pt x="573" y="1615"/>
                    </a:lnTo>
                    <a:lnTo>
                      <a:pt x="567" y="1624"/>
                    </a:lnTo>
                    <a:lnTo>
                      <a:pt x="564" y="1623"/>
                    </a:lnTo>
                    <a:lnTo>
                      <a:pt x="561" y="1621"/>
                    </a:lnTo>
                    <a:lnTo>
                      <a:pt x="555" y="1620"/>
                    </a:lnTo>
                    <a:lnTo>
                      <a:pt x="553" y="1612"/>
                    </a:lnTo>
                    <a:lnTo>
                      <a:pt x="556" y="1611"/>
                    </a:lnTo>
                    <a:lnTo>
                      <a:pt x="549" y="1608"/>
                    </a:lnTo>
                    <a:lnTo>
                      <a:pt x="549" y="1599"/>
                    </a:lnTo>
                    <a:lnTo>
                      <a:pt x="555" y="1591"/>
                    </a:lnTo>
                    <a:lnTo>
                      <a:pt x="543" y="1579"/>
                    </a:lnTo>
                    <a:lnTo>
                      <a:pt x="526" y="1582"/>
                    </a:lnTo>
                    <a:lnTo>
                      <a:pt x="522" y="1578"/>
                    </a:lnTo>
                    <a:lnTo>
                      <a:pt x="535" y="1567"/>
                    </a:lnTo>
                    <a:lnTo>
                      <a:pt x="546" y="1563"/>
                    </a:lnTo>
                    <a:lnTo>
                      <a:pt x="549" y="1554"/>
                    </a:lnTo>
                    <a:lnTo>
                      <a:pt x="558" y="1542"/>
                    </a:lnTo>
                    <a:lnTo>
                      <a:pt x="558" y="1534"/>
                    </a:lnTo>
                    <a:lnTo>
                      <a:pt x="543" y="1515"/>
                    </a:lnTo>
                    <a:lnTo>
                      <a:pt x="546" y="1509"/>
                    </a:lnTo>
                    <a:lnTo>
                      <a:pt x="544" y="1501"/>
                    </a:lnTo>
                    <a:lnTo>
                      <a:pt x="537" y="1501"/>
                    </a:lnTo>
                    <a:lnTo>
                      <a:pt x="532" y="1491"/>
                    </a:lnTo>
                    <a:lnTo>
                      <a:pt x="525" y="1485"/>
                    </a:lnTo>
                    <a:lnTo>
                      <a:pt x="519" y="1485"/>
                    </a:lnTo>
                    <a:lnTo>
                      <a:pt x="514" y="1486"/>
                    </a:lnTo>
                    <a:lnTo>
                      <a:pt x="510" y="1485"/>
                    </a:lnTo>
                    <a:lnTo>
                      <a:pt x="502" y="1480"/>
                    </a:lnTo>
                    <a:lnTo>
                      <a:pt x="490" y="1477"/>
                    </a:lnTo>
                    <a:lnTo>
                      <a:pt x="480" y="1464"/>
                    </a:lnTo>
                    <a:lnTo>
                      <a:pt x="471" y="1459"/>
                    </a:lnTo>
                    <a:lnTo>
                      <a:pt x="459" y="1452"/>
                    </a:lnTo>
                    <a:lnTo>
                      <a:pt x="448" y="1441"/>
                    </a:lnTo>
                    <a:lnTo>
                      <a:pt x="439" y="1435"/>
                    </a:lnTo>
                    <a:lnTo>
                      <a:pt x="430" y="1434"/>
                    </a:lnTo>
                    <a:lnTo>
                      <a:pt x="430" y="1429"/>
                    </a:lnTo>
                    <a:lnTo>
                      <a:pt x="436" y="1425"/>
                    </a:lnTo>
                    <a:lnTo>
                      <a:pt x="436" y="1416"/>
                    </a:lnTo>
                    <a:lnTo>
                      <a:pt x="451" y="1408"/>
                    </a:lnTo>
                    <a:lnTo>
                      <a:pt x="451" y="1405"/>
                    </a:lnTo>
                    <a:lnTo>
                      <a:pt x="439" y="1410"/>
                    </a:lnTo>
                    <a:lnTo>
                      <a:pt x="433" y="1407"/>
                    </a:lnTo>
                    <a:lnTo>
                      <a:pt x="433" y="1404"/>
                    </a:lnTo>
                    <a:lnTo>
                      <a:pt x="426" y="1396"/>
                    </a:lnTo>
                    <a:lnTo>
                      <a:pt x="426" y="1389"/>
                    </a:lnTo>
                    <a:lnTo>
                      <a:pt x="430" y="1386"/>
                    </a:lnTo>
                    <a:lnTo>
                      <a:pt x="430" y="1381"/>
                    </a:lnTo>
                    <a:lnTo>
                      <a:pt x="426" y="1384"/>
                    </a:lnTo>
                    <a:lnTo>
                      <a:pt x="423" y="1383"/>
                    </a:lnTo>
                    <a:lnTo>
                      <a:pt x="417" y="1386"/>
                    </a:lnTo>
                    <a:lnTo>
                      <a:pt x="412" y="1383"/>
                    </a:lnTo>
                    <a:lnTo>
                      <a:pt x="414" y="1377"/>
                    </a:lnTo>
                    <a:lnTo>
                      <a:pt x="421" y="1374"/>
                    </a:lnTo>
                    <a:lnTo>
                      <a:pt x="421" y="1368"/>
                    </a:lnTo>
                    <a:lnTo>
                      <a:pt x="408" y="1362"/>
                    </a:lnTo>
                    <a:lnTo>
                      <a:pt x="400" y="1365"/>
                    </a:lnTo>
                    <a:lnTo>
                      <a:pt x="388" y="1381"/>
                    </a:lnTo>
                    <a:lnTo>
                      <a:pt x="384" y="1386"/>
                    </a:lnTo>
                    <a:lnTo>
                      <a:pt x="363" y="1378"/>
                    </a:lnTo>
                    <a:lnTo>
                      <a:pt x="360" y="1377"/>
                    </a:lnTo>
                    <a:lnTo>
                      <a:pt x="351" y="1380"/>
                    </a:lnTo>
                    <a:lnTo>
                      <a:pt x="339" y="1380"/>
                    </a:lnTo>
                    <a:lnTo>
                      <a:pt x="334" y="1377"/>
                    </a:lnTo>
                    <a:lnTo>
                      <a:pt x="322" y="1369"/>
                    </a:lnTo>
                    <a:lnTo>
                      <a:pt x="312" y="1369"/>
                    </a:lnTo>
                    <a:lnTo>
                      <a:pt x="310" y="1375"/>
                    </a:lnTo>
                    <a:lnTo>
                      <a:pt x="310" y="1378"/>
                    </a:lnTo>
                    <a:lnTo>
                      <a:pt x="306" y="1380"/>
                    </a:lnTo>
                    <a:lnTo>
                      <a:pt x="300" y="1375"/>
                    </a:lnTo>
                    <a:lnTo>
                      <a:pt x="303" y="1369"/>
                    </a:lnTo>
                    <a:lnTo>
                      <a:pt x="298" y="1368"/>
                    </a:lnTo>
                    <a:lnTo>
                      <a:pt x="294" y="1372"/>
                    </a:lnTo>
                    <a:lnTo>
                      <a:pt x="283" y="1371"/>
                    </a:lnTo>
                    <a:lnTo>
                      <a:pt x="280" y="1363"/>
                    </a:lnTo>
                    <a:lnTo>
                      <a:pt x="282" y="1357"/>
                    </a:lnTo>
                    <a:lnTo>
                      <a:pt x="270" y="1354"/>
                    </a:lnTo>
                    <a:lnTo>
                      <a:pt x="265" y="1348"/>
                    </a:lnTo>
                    <a:lnTo>
                      <a:pt x="252" y="1342"/>
                    </a:lnTo>
                    <a:lnTo>
                      <a:pt x="256" y="1336"/>
                    </a:lnTo>
                    <a:lnTo>
                      <a:pt x="256" y="1330"/>
                    </a:lnTo>
                    <a:lnTo>
                      <a:pt x="261" y="1323"/>
                    </a:lnTo>
                    <a:lnTo>
                      <a:pt x="276" y="1297"/>
                    </a:lnTo>
                    <a:lnTo>
                      <a:pt x="286" y="1278"/>
                    </a:lnTo>
                    <a:lnTo>
                      <a:pt x="291" y="1273"/>
                    </a:lnTo>
                    <a:lnTo>
                      <a:pt x="291" y="1267"/>
                    </a:lnTo>
                    <a:lnTo>
                      <a:pt x="291" y="1263"/>
                    </a:lnTo>
                    <a:lnTo>
                      <a:pt x="286" y="1257"/>
                    </a:lnTo>
                    <a:lnTo>
                      <a:pt x="286" y="1254"/>
                    </a:lnTo>
                    <a:lnTo>
                      <a:pt x="294" y="1245"/>
                    </a:lnTo>
                    <a:lnTo>
                      <a:pt x="294" y="1237"/>
                    </a:lnTo>
                    <a:lnTo>
                      <a:pt x="295" y="1227"/>
                    </a:lnTo>
                    <a:lnTo>
                      <a:pt x="304" y="1218"/>
                    </a:lnTo>
                    <a:lnTo>
                      <a:pt x="306" y="1213"/>
                    </a:lnTo>
                    <a:lnTo>
                      <a:pt x="306" y="1209"/>
                    </a:lnTo>
                    <a:lnTo>
                      <a:pt x="300" y="1207"/>
                    </a:lnTo>
                    <a:lnTo>
                      <a:pt x="292" y="1209"/>
                    </a:lnTo>
                    <a:lnTo>
                      <a:pt x="291" y="1203"/>
                    </a:lnTo>
                    <a:lnTo>
                      <a:pt x="283" y="1198"/>
                    </a:lnTo>
                    <a:lnTo>
                      <a:pt x="276" y="1198"/>
                    </a:lnTo>
                    <a:lnTo>
                      <a:pt x="264" y="1198"/>
                    </a:lnTo>
                    <a:lnTo>
                      <a:pt x="252" y="1192"/>
                    </a:lnTo>
                    <a:lnTo>
                      <a:pt x="252" y="1185"/>
                    </a:lnTo>
                    <a:lnTo>
                      <a:pt x="249" y="1179"/>
                    </a:lnTo>
                    <a:lnTo>
                      <a:pt x="246" y="1179"/>
                    </a:lnTo>
                    <a:lnTo>
                      <a:pt x="243" y="1174"/>
                    </a:lnTo>
                    <a:lnTo>
                      <a:pt x="252" y="1167"/>
                    </a:lnTo>
                    <a:lnTo>
                      <a:pt x="249" y="1159"/>
                    </a:lnTo>
                    <a:lnTo>
                      <a:pt x="253" y="1153"/>
                    </a:lnTo>
                    <a:lnTo>
                      <a:pt x="261" y="1152"/>
                    </a:lnTo>
                    <a:lnTo>
                      <a:pt x="262" y="1147"/>
                    </a:lnTo>
                    <a:lnTo>
                      <a:pt x="273" y="1149"/>
                    </a:lnTo>
                    <a:lnTo>
                      <a:pt x="279" y="1153"/>
                    </a:lnTo>
                    <a:lnTo>
                      <a:pt x="282" y="1141"/>
                    </a:lnTo>
                    <a:lnTo>
                      <a:pt x="279" y="1135"/>
                    </a:lnTo>
                    <a:lnTo>
                      <a:pt x="270" y="1138"/>
                    </a:lnTo>
                    <a:lnTo>
                      <a:pt x="265" y="1132"/>
                    </a:lnTo>
                    <a:lnTo>
                      <a:pt x="276" y="1125"/>
                    </a:lnTo>
                    <a:lnTo>
                      <a:pt x="267" y="1125"/>
                    </a:lnTo>
                    <a:lnTo>
                      <a:pt x="264" y="1120"/>
                    </a:lnTo>
                    <a:lnTo>
                      <a:pt x="268" y="1110"/>
                    </a:lnTo>
                    <a:lnTo>
                      <a:pt x="270" y="1108"/>
                    </a:lnTo>
                    <a:lnTo>
                      <a:pt x="270" y="1098"/>
                    </a:lnTo>
                    <a:lnTo>
                      <a:pt x="271" y="1089"/>
                    </a:lnTo>
                    <a:lnTo>
                      <a:pt x="283" y="1086"/>
                    </a:lnTo>
                    <a:lnTo>
                      <a:pt x="286" y="1077"/>
                    </a:lnTo>
                    <a:lnTo>
                      <a:pt x="283" y="1066"/>
                    </a:lnTo>
                    <a:lnTo>
                      <a:pt x="279" y="1066"/>
                    </a:lnTo>
                    <a:lnTo>
                      <a:pt x="270" y="1068"/>
                    </a:lnTo>
                    <a:lnTo>
                      <a:pt x="270" y="1062"/>
                    </a:lnTo>
                    <a:lnTo>
                      <a:pt x="262" y="1065"/>
                    </a:lnTo>
                    <a:lnTo>
                      <a:pt x="255" y="1057"/>
                    </a:lnTo>
                    <a:lnTo>
                      <a:pt x="261" y="1033"/>
                    </a:lnTo>
                    <a:lnTo>
                      <a:pt x="253" y="1021"/>
                    </a:lnTo>
                    <a:lnTo>
                      <a:pt x="253" y="1012"/>
                    </a:lnTo>
                    <a:lnTo>
                      <a:pt x="262" y="1000"/>
                    </a:lnTo>
                    <a:lnTo>
                      <a:pt x="255" y="994"/>
                    </a:lnTo>
                    <a:lnTo>
                      <a:pt x="255" y="987"/>
                    </a:lnTo>
                    <a:lnTo>
                      <a:pt x="237" y="987"/>
                    </a:lnTo>
                    <a:lnTo>
                      <a:pt x="223" y="973"/>
                    </a:lnTo>
                    <a:lnTo>
                      <a:pt x="213" y="972"/>
                    </a:lnTo>
                    <a:lnTo>
                      <a:pt x="211" y="964"/>
                    </a:lnTo>
                    <a:lnTo>
                      <a:pt x="202" y="951"/>
                    </a:lnTo>
                    <a:lnTo>
                      <a:pt x="232" y="936"/>
                    </a:lnTo>
                    <a:lnTo>
                      <a:pt x="235" y="937"/>
                    </a:lnTo>
                    <a:lnTo>
                      <a:pt x="247" y="934"/>
                    </a:lnTo>
                    <a:lnTo>
                      <a:pt x="246" y="915"/>
                    </a:lnTo>
                    <a:lnTo>
                      <a:pt x="247" y="907"/>
                    </a:lnTo>
                    <a:lnTo>
                      <a:pt x="237" y="898"/>
                    </a:lnTo>
                    <a:lnTo>
                      <a:pt x="231" y="897"/>
                    </a:lnTo>
                    <a:lnTo>
                      <a:pt x="219" y="898"/>
                    </a:lnTo>
                    <a:lnTo>
                      <a:pt x="204" y="916"/>
                    </a:lnTo>
                    <a:lnTo>
                      <a:pt x="190" y="912"/>
                    </a:lnTo>
                    <a:lnTo>
                      <a:pt x="195" y="904"/>
                    </a:lnTo>
                    <a:lnTo>
                      <a:pt x="202" y="898"/>
                    </a:lnTo>
                    <a:lnTo>
                      <a:pt x="202" y="891"/>
                    </a:lnTo>
                    <a:lnTo>
                      <a:pt x="196" y="883"/>
                    </a:lnTo>
                    <a:lnTo>
                      <a:pt x="198" y="879"/>
                    </a:lnTo>
                    <a:lnTo>
                      <a:pt x="180" y="873"/>
                    </a:lnTo>
                    <a:lnTo>
                      <a:pt x="193" y="868"/>
                    </a:lnTo>
                    <a:lnTo>
                      <a:pt x="199" y="856"/>
                    </a:lnTo>
                    <a:lnTo>
                      <a:pt x="205" y="843"/>
                    </a:lnTo>
                    <a:lnTo>
                      <a:pt x="202" y="843"/>
                    </a:lnTo>
                    <a:lnTo>
                      <a:pt x="201" y="838"/>
                    </a:lnTo>
                    <a:lnTo>
                      <a:pt x="193" y="825"/>
                    </a:lnTo>
                    <a:lnTo>
                      <a:pt x="190" y="819"/>
                    </a:lnTo>
                    <a:lnTo>
                      <a:pt x="186" y="810"/>
                    </a:lnTo>
                    <a:lnTo>
                      <a:pt x="193" y="793"/>
                    </a:lnTo>
                    <a:lnTo>
                      <a:pt x="189" y="772"/>
                    </a:lnTo>
                    <a:lnTo>
                      <a:pt x="183" y="763"/>
                    </a:lnTo>
                    <a:lnTo>
                      <a:pt x="184" y="733"/>
                    </a:lnTo>
                    <a:lnTo>
                      <a:pt x="195" y="732"/>
                    </a:lnTo>
                    <a:lnTo>
                      <a:pt x="219" y="730"/>
                    </a:lnTo>
                    <a:lnTo>
                      <a:pt x="241" y="726"/>
                    </a:lnTo>
                    <a:lnTo>
                      <a:pt x="255" y="721"/>
                    </a:lnTo>
                    <a:lnTo>
                      <a:pt x="253" y="720"/>
                    </a:lnTo>
                    <a:lnTo>
                      <a:pt x="252" y="714"/>
                    </a:lnTo>
                    <a:lnTo>
                      <a:pt x="187" y="714"/>
                    </a:lnTo>
                    <a:lnTo>
                      <a:pt x="162" y="712"/>
                    </a:lnTo>
                    <a:lnTo>
                      <a:pt x="147" y="711"/>
                    </a:lnTo>
                    <a:lnTo>
                      <a:pt x="135" y="709"/>
                    </a:lnTo>
                    <a:lnTo>
                      <a:pt x="117" y="697"/>
                    </a:lnTo>
                    <a:lnTo>
                      <a:pt x="103" y="697"/>
                    </a:lnTo>
                    <a:lnTo>
                      <a:pt x="79" y="691"/>
                    </a:lnTo>
                    <a:lnTo>
                      <a:pt x="52" y="694"/>
                    </a:lnTo>
                    <a:lnTo>
                      <a:pt x="39" y="691"/>
                    </a:lnTo>
                    <a:lnTo>
                      <a:pt x="18" y="676"/>
                    </a:lnTo>
                    <a:lnTo>
                      <a:pt x="19" y="657"/>
                    </a:lnTo>
                    <a:lnTo>
                      <a:pt x="1" y="649"/>
                    </a:lnTo>
                    <a:lnTo>
                      <a:pt x="0" y="636"/>
                    </a:lnTo>
                    <a:lnTo>
                      <a:pt x="9" y="610"/>
                    </a:lnTo>
                    <a:lnTo>
                      <a:pt x="34" y="558"/>
                    </a:lnTo>
                    <a:lnTo>
                      <a:pt x="49" y="531"/>
                    </a:lnTo>
                    <a:lnTo>
                      <a:pt x="63" y="508"/>
                    </a:lnTo>
                    <a:lnTo>
                      <a:pt x="69" y="489"/>
                    </a:lnTo>
                    <a:lnTo>
                      <a:pt x="73" y="463"/>
                    </a:lnTo>
                    <a:lnTo>
                      <a:pt x="78" y="441"/>
                    </a:lnTo>
                    <a:lnTo>
                      <a:pt x="90" y="433"/>
                    </a:lnTo>
                    <a:lnTo>
                      <a:pt x="91" y="429"/>
                    </a:lnTo>
                    <a:lnTo>
                      <a:pt x="99" y="421"/>
                    </a:lnTo>
                    <a:lnTo>
                      <a:pt x="108" y="418"/>
                    </a:lnTo>
                    <a:lnTo>
                      <a:pt x="114" y="411"/>
                    </a:lnTo>
                    <a:lnTo>
                      <a:pt x="126" y="408"/>
                    </a:lnTo>
                    <a:lnTo>
                      <a:pt x="136" y="406"/>
                    </a:lnTo>
                    <a:lnTo>
                      <a:pt x="153" y="399"/>
                    </a:lnTo>
                    <a:lnTo>
                      <a:pt x="162" y="391"/>
                    </a:lnTo>
                    <a:lnTo>
                      <a:pt x="181" y="384"/>
                    </a:lnTo>
                    <a:lnTo>
                      <a:pt x="186" y="382"/>
                    </a:lnTo>
                    <a:lnTo>
                      <a:pt x="193" y="381"/>
                    </a:lnTo>
                    <a:lnTo>
                      <a:pt x="201" y="379"/>
                    </a:lnTo>
                    <a:lnTo>
                      <a:pt x="214" y="372"/>
                    </a:lnTo>
                    <a:lnTo>
                      <a:pt x="229" y="363"/>
                    </a:lnTo>
                    <a:lnTo>
                      <a:pt x="241" y="348"/>
                    </a:lnTo>
                    <a:lnTo>
                      <a:pt x="247" y="348"/>
                    </a:lnTo>
                    <a:lnTo>
                      <a:pt x="258" y="345"/>
                    </a:lnTo>
                    <a:lnTo>
                      <a:pt x="286" y="328"/>
                    </a:lnTo>
                    <a:lnTo>
                      <a:pt x="330" y="303"/>
                    </a:lnTo>
                    <a:lnTo>
                      <a:pt x="346" y="289"/>
                    </a:lnTo>
                    <a:lnTo>
                      <a:pt x="354" y="289"/>
                    </a:lnTo>
                    <a:lnTo>
                      <a:pt x="363" y="280"/>
                    </a:lnTo>
                    <a:lnTo>
                      <a:pt x="375" y="270"/>
                    </a:lnTo>
                    <a:lnTo>
                      <a:pt x="394" y="259"/>
                    </a:lnTo>
                    <a:lnTo>
                      <a:pt x="412" y="250"/>
                    </a:lnTo>
                    <a:lnTo>
                      <a:pt x="423" y="252"/>
                    </a:lnTo>
                    <a:lnTo>
                      <a:pt x="426" y="249"/>
                    </a:lnTo>
                    <a:lnTo>
                      <a:pt x="433" y="244"/>
                    </a:lnTo>
                    <a:lnTo>
                      <a:pt x="459" y="238"/>
                    </a:lnTo>
                    <a:lnTo>
                      <a:pt x="466" y="237"/>
                    </a:lnTo>
                    <a:lnTo>
                      <a:pt x="478" y="234"/>
                    </a:lnTo>
                    <a:lnTo>
                      <a:pt x="508" y="226"/>
                    </a:lnTo>
                    <a:lnTo>
                      <a:pt x="514" y="231"/>
                    </a:lnTo>
                    <a:lnTo>
                      <a:pt x="538" y="229"/>
                    </a:lnTo>
                    <a:lnTo>
                      <a:pt x="552" y="229"/>
                    </a:lnTo>
                    <a:lnTo>
                      <a:pt x="571" y="226"/>
                    </a:lnTo>
                    <a:lnTo>
                      <a:pt x="585" y="222"/>
                    </a:lnTo>
                    <a:lnTo>
                      <a:pt x="598" y="211"/>
                    </a:lnTo>
                    <a:lnTo>
                      <a:pt x="609" y="208"/>
                    </a:lnTo>
                    <a:lnTo>
                      <a:pt x="636" y="204"/>
                    </a:lnTo>
                    <a:lnTo>
                      <a:pt x="663" y="195"/>
                    </a:lnTo>
                    <a:lnTo>
                      <a:pt x="678" y="192"/>
                    </a:lnTo>
                    <a:lnTo>
                      <a:pt x="685" y="187"/>
                    </a:lnTo>
                    <a:lnTo>
                      <a:pt x="697" y="178"/>
                    </a:lnTo>
                    <a:lnTo>
                      <a:pt x="706" y="174"/>
                    </a:lnTo>
                    <a:lnTo>
                      <a:pt x="718" y="175"/>
                    </a:lnTo>
                    <a:lnTo>
                      <a:pt x="747" y="178"/>
                    </a:lnTo>
                    <a:lnTo>
                      <a:pt x="762" y="177"/>
                    </a:lnTo>
                    <a:lnTo>
                      <a:pt x="768" y="172"/>
                    </a:lnTo>
                    <a:lnTo>
                      <a:pt x="783" y="169"/>
                    </a:lnTo>
                    <a:lnTo>
                      <a:pt x="801" y="160"/>
                    </a:lnTo>
                    <a:lnTo>
                      <a:pt x="832" y="147"/>
                    </a:lnTo>
                    <a:lnTo>
                      <a:pt x="856" y="136"/>
                    </a:lnTo>
                    <a:lnTo>
                      <a:pt x="876" y="126"/>
                    </a:lnTo>
                    <a:lnTo>
                      <a:pt x="894" y="115"/>
                    </a:lnTo>
                    <a:lnTo>
                      <a:pt x="909" y="106"/>
                    </a:lnTo>
                    <a:lnTo>
                      <a:pt x="927" y="91"/>
                    </a:lnTo>
                    <a:lnTo>
                      <a:pt x="946" y="75"/>
                    </a:lnTo>
                    <a:lnTo>
                      <a:pt x="957" y="67"/>
                    </a:lnTo>
                    <a:lnTo>
                      <a:pt x="979" y="46"/>
                    </a:lnTo>
                    <a:lnTo>
                      <a:pt x="991" y="42"/>
                    </a:lnTo>
                    <a:lnTo>
                      <a:pt x="1006" y="27"/>
                    </a:lnTo>
                    <a:lnTo>
                      <a:pt x="1039" y="7"/>
                    </a:lnTo>
                    <a:lnTo>
                      <a:pt x="1045" y="13"/>
                    </a:lnTo>
                    <a:lnTo>
                      <a:pt x="1051" y="9"/>
                    </a:lnTo>
                    <a:lnTo>
                      <a:pt x="1056" y="13"/>
                    </a:lnTo>
                    <a:lnTo>
                      <a:pt x="1063" y="16"/>
                    </a:lnTo>
                    <a:lnTo>
                      <a:pt x="1078" y="0"/>
                    </a:lnTo>
                    <a:lnTo>
                      <a:pt x="1087" y="4"/>
                    </a:lnTo>
                    <a:lnTo>
                      <a:pt x="1096" y="3"/>
                    </a:lnTo>
                    <a:lnTo>
                      <a:pt x="1101" y="4"/>
                    </a:lnTo>
                    <a:lnTo>
                      <a:pt x="1105" y="12"/>
                    </a:lnTo>
                    <a:lnTo>
                      <a:pt x="1102" y="18"/>
                    </a:lnTo>
                    <a:lnTo>
                      <a:pt x="1104" y="25"/>
                    </a:lnTo>
                    <a:lnTo>
                      <a:pt x="1099" y="33"/>
                    </a:lnTo>
                    <a:lnTo>
                      <a:pt x="1102" y="39"/>
                    </a:lnTo>
                    <a:lnTo>
                      <a:pt x="1113" y="40"/>
                    </a:lnTo>
                    <a:lnTo>
                      <a:pt x="1117" y="49"/>
                    </a:lnTo>
                    <a:lnTo>
                      <a:pt x="1123" y="54"/>
                    </a:lnTo>
                    <a:lnTo>
                      <a:pt x="1126" y="54"/>
                    </a:lnTo>
                    <a:lnTo>
                      <a:pt x="1129" y="60"/>
                    </a:lnTo>
                    <a:lnTo>
                      <a:pt x="1135" y="57"/>
                    </a:lnTo>
                    <a:lnTo>
                      <a:pt x="1152" y="69"/>
                    </a:lnTo>
                    <a:lnTo>
                      <a:pt x="1153" y="75"/>
                    </a:lnTo>
                    <a:lnTo>
                      <a:pt x="1158" y="76"/>
                    </a:lnTo>
                    <a:lnTo>
                      <a:pt x="1161" y="85"/>
                    </a:lnTo>
                    <a:lnTo>
                      <a:pt x="1177" y="94"/>
                    </a:lnTo>
                    <a:lnTo>
                      <a:pt x="1186" y="106"/>
                    </a:lnTo>
                    <a:lnTo>
                      <a:pt x="1198" y="109"/>
                    </a:lnTo>
                    <a:lnTo>
                      <a:pt x="1197" y="121"/>
                    </a:lnTo>
                    <a:lnTo>
                      <a:pt x="1207" y="126"/>
                    </a:lnTo>
                    <a:lnTo>
                      <a:pt x="1213" y="136"/>
                    </a:lnTo>
                    <a:lnTo>
                      <a:pt x="1225" y="148"/>
                    </a:lnTo>
                    <a:lnTo>
                      <a:pt x="1233" y="153"/>
                    </a:lnTo>
                    <a:lnTo>
                      <a:pt x="1255" y="163"/>
                    </a:lnTo>
                    <a:lnTo>
                      <a:pt x="1266" y="169"/>
                    </a:lnTo>
                    <a:lnTo>
                      <a:pt x="1270" y="169"/>
                    </a:lnTo>
                    <a:lnTo>
                      <a:pt x="1278" y="177"/>
                    </a:lnTo>
                    <a:lnTo>
                      <a:pt x="1284" y="183"/>
                    </a:lnTo>
                    <a:lnTo>
                      <a:pt x="1284" y="192"/>
                    </a:lnTo>
                    <a:lnTo>
                      <a:pt x="1288" y="193"/>
                    </a:lnTo>
                    <a:lnTo>
                      <a:pt x="1288" y="199"/>
                    </a:lnTo>
                    <a:lnTo>
                      <a:pt x="1294" y="202"/>
                    </a:lnTo>
                    <a:lnTo>
                      <a:pt x="1303" y="208"/>
                    </a:lnTo>
                    <a:lnTo>
                      <a:pt x="1308" y="225"/>
                    </a:lnTo>
                    <a:lnTo>
                      <a:pt x="1306" y="231"/>
                    </a:lnTo>
                    <a:lnTo>
                      <a:pt x="1312" y="241"/>
                    </a:lnTo>
                    <a:lnTo>
                      <a:pt x="1314" y="256"/>
                    </a:lnTo>
                    <a:lnTo>
                      <a:pt x="1314" y="259"/>
                    </a:lnTo>
                    <a:lnTo>
                      <a:pt x="1317" y="268"/>
                    </a:lnTo>
                    <a:lnTo>
                      <a:pt x="1323" y="298"/>
                    </a:lnTo>
                    <a:lnTo>
                      <a:pt x="1329" y="303"/>
                    </a:lnTo>
                    <a:lnTo>
                      <a:pt x="1332" y="310"/>
                    </a:lnTo>
                    <a:lnTo>
                      <a:pt x="1332" y="316"/>
                    </a:lnTo>
                    <a:lnTo>
                      <a:pt x="1338" y="322"/>
                    </a:lnTo>
                    <a:lnTo>
                      <a:pt x="1339" y="327"/>
                    </a:lnTo>
                    <a:lnTo>
                      <a:pt x="1341" y="336"/>
                    </a:lnTo>
                    <a:lnTo>
                      <a:pt x="1354" y="342"/>
                    </a:lnTo>
                    <a:lnTo>
                      <a:pt x="1360" y="352"/>
                    </a:lnTo>
                    <a:lnTo>
                      <a:pt x="1363" y="367"/>
                    </a:lnTo>
                    <a:lnTo>
                      <a:pt x="1356" y="370"/>
                    </a:lnTo>
                    <a:lnTo>
                      <a:pt x="1345" y="369"/>
                    </a:lnTo>
                    <a:lnTo>
                      <a:pt x="1341" y="363"/>
                    </a:lnTo>
                    <a:lnTo>
                      <a:pt x="1336" y="363"/>
                    </a:lnTo>
                    <a:lnTo>
                      <a:pt x="1327" y="367"/>
                    </a:lnTo>
                    <a:lnTo>
                      <a:pt x="1323" y="379"/>
                    </a:lnTo>
                    <a:lnTo>
                      <a:pt x="1329" y="387"/>
                    </a:lnTo>
                    <a:lnTo>
                      <a:pt x="1327" y="388"/>
                    </a:lnTo>
                    <a:lnTo>
                      <a:pt x="1315" y="397"/>
                    </a:lnTo>
                    <a:lnTo>
                      <a:pt x="1302" y="394"/>
                    </a:lnTo>
                    <a:lnTo>
                      <a:pt x="1300" y="397"/>
                    </a:lnTo>
                    <a:lnTo>
                      <a:pt x="1303" y="415"/>
                    </a:lnTo>
                    <a:lnTo>
                      <a:pt x="1297" y="426"/>
                    </a:lnTo>
                    <a:lnTo>
                      <a:pt x="1291" y="436"/>
                    </a:lnTo>
                    <a:lnTo>
                      <a:pt x="1296" y="447"/>
                    </a:lnTo>
                    <a:lnTo>
                      <a:pt x="1312" y="438"/>
                    </a:lnTo>
                    <a:lnTo>
                      <a:pt x="1318" y="429"/>
                    </a:lnTo>
                    <a:lnTo>
                      <a:pt x="1326" y="430"/>
                    </a:lnTo>
                    <a:lnTo>
                      <a:pt x="1330" y="451"/>
                    </a:lnTo>
                    <a:lnTo>
                      <a:pt x="1326" y="456"/>
                    </a:lnTo>
                    <a:lnTo>
                      <a:pt x="1315" y="460"/>
                    </a:lnTo>
                    <a:lnTo>
                      <a:pt x="1308" y="471"/>
                    </a:lnTo>
                    <a:lnTo>
                      <a:pt x="1297" y="483"/>
                    </a:lnTo>
                    <a:lnTo>
                      <a:pt x="1291" y="492"/>
                    </a:lnTo>
                    <a:lnTo>
                      <a:pt x="1287" y="501"/>
                    </a:lnTo>
                    <a:lnTo>
                      <a:pt x="1303" y="516"/>
                    </a:lnTo>
                    <a:lnTo>
                      <a:pt x="1305" y="531"/>
                    </a:lnTo>
                    <a:lnTo>
                      <a:pt x="1293" y="544"/>
                    </a:lnTo>
                    <a:lnTo>
                      <a:pt x="1302" y="553"/>
                    </a:lnTo>
                    <a:lnTo>
                      <a:pt x="1302" y="564"/>
                    </a:lnTo>
                    <a:lnTo>
                      <a:pt x="1305" y="567"/>
                    </a:lnTo>
                    <a:lnTo>
                      <a:pt x="1314" y="567"/>
                    </a:lnTo>
                    <a:lnTo>
                      <a:pt x="1315" y="573"/>
                    </a:lnTo>
                    <a:lnTo>
                      <a:pt x="1308" y="577"/>
                    </a:lnTo>
                    <a:lnTo>
                      <a:pt x="1311" y="597"/>
                    </a:lnTo>
                    <a:lnTo>
                      <a:pt x="1311" y="609"/>
                    </a:lnTo>
                    <a:lnTo>
                      <a:pt x="1315" y="615"/>
                    </a:lnTo>
                    <a:lnTo>
                      <a:pt x="1327" y="615"/>
                    </a:lnTo>
                    <a:lnTo>
                      <a:pt x="1329" y="621"/>
                    </a:lnTo>
                    <a:lnTo>
                      <a:pt x="1321" y="639"/>
                    </a:lnTo>
                    <a:lnTo>
                      <a:pt x="1321" y="648"/>
                    </a:lnTo>
                    <a:lnTo>
                      <a:pt x="1314" y="660"/>
                    </a:lnTo>
                    <a:lnTo>
                      <a:pt x="1324" y="657"/>
                    </a:lnTo>
                    <a:lnTo>
                      <a:pt x="1326" y="670"/>
                    </a:lnTo>
                    <a:lnTo>
                      <a:pt x="1332" y="664"/>
                    </a:lnTo>
                    <a:lnTo>
                      <a:pt x="1336" y="660"/>
                    </a:lnTo>
                    <a:lnTo>
                      <a:pt x="1345" y="661"/>
                    </a:lnTo>
                    <a:lnTo>
                      <a:pt x="1348" y="657"/>
                    </a:lnTo>
                    <a:lnTo>
                      <a:pt x="1353" y="657"/>
                    </a:lnTo>
                    <a:lnTo>
                      <a:pt x="1356" y="655"/>
                    </a:lnTo>
                    <a:lnTo>
                      <a:pt x="1356" y="663"/>
                    </a:lnTo>
                    <a:lnTo>
                      <a:pt x="1357" y="670"/>
                    </a:lnTo>
                    <a:lnTo>
                      <a:pt x="1351" y="678"/>
                    </a:lnTo>
                    <a:lnTo>
                      <a:pt x="1348" y="688"/>
                    </a:lnTo>
                    <a:lnTo>
                      <a:pt x="1347" y="696"/>
                    </a:lnTo>
                    <a:lnTo>
                      <a:pt x="1327" y="708"/>
                    </a:lnTo>
                    <a:lnTo>
                      <a:pt x="1329" y="715"/>
                    </a:lnTo>
                    <a:lnTo>
                      <a:pt x="1327" y="723"/>
                    </a:lnTo>
                    <a:lnTo>
                      <a:pt x="1318" y="727"/>
                    </a:lnTo>
                    <a:lnTo>
                      <a:pt x="1308" y="757"/>
                    </a:lnTo>
                    <a:lnTo>
                      <a:pt x="1312" y="763"/>
                    </a:lnTo>
                    <a:lnTo>
                      <a:pt x="1330" y="763"/>
                    </a:lnTo>
                    <a:lnTo>
                      <a:pt x="1327" y="768"/>
                    </a:lnTo>
                    <a:lnTo>
                      <a:pt x="1314" y="775"/>
                    </a:lnTo>
                    <a:lnTo>
                      <a:pt x="1327" y="789"/>
                    </a:lnTo>
                    <a:lnTo>
                      <a:pt x="1338" y="801"/>
                    </a:lnTo>
                    <a:lnTo>
                      <a:pt x="1344" y="808"/>
                    </a:lnTo>
                    <a:lnTo>
                      <a:pt x="1347" y="816"/>
                    </a:lnTo>
                    <a:lnTo>
                      <a:pt x="1344" y="822"/>
                    </a:lnTo>
                    <a:lnTo>
                      <a:pt x="1348" y="834"/>
                    </a:lnTo>
                    <a:lnTo>
                      <a:pt x="1350" y="840"/>
                    </a:lnTo>
                    <a:lnTo>
                      <a:pt x="1354" y="846"/>
                    </a:lnTo>
                    <a:lnTo>
                      <a:pt x="1351" y="862"/>
                    </a:lnTo>
                    <a:lnTo>
                      <a:pt x="1356" y="880"/>
                    </a:lnTo>
                    <a:lnTo>
                      <a:pt x="1356" y="886"/>
                    </a:lnTo>
                    <a:lnTo>
                      <a:pt x="1354" y="894"/>
                    </a:lnTo>
                    <a:lnTo>
                      <a:pt x="1359" y="897"/>
                    </a:lnTo>
                    <a:lnTo>
                      <a:pt x="1362" y="894"/>
                    </a:lnTo>
                    <a:lnTo>
                      <a:pt x="1369" y="900"/>
                    </a:lnTo>
                    <a:lnTo>
                      <a:pt x="1375" y="901"/>
                    </a:lnTo>
                    <a:lnTo>
                      <a:pt x="1374" y="907"/>
                    </a:lnTo>
                    <a:lnTo>
                      <a:pt x="1372" y="915"/>
                    </a:lnTo>
                    <a:lnTo>
                      <a:pt x="1378" y="918"/>
                    </a:lnTo>
                    <a:lnTo>
                      <a:pt x="1369" y="940"/>
                    </a:lnTo>
                    <a:lnTo>
                      <a:pt x="1368" y="948"/>
                    </a:lnTo>
                    <a:lnTo>
                      <a:pt x="1356" y="946"/>
                    </a:lnTo>
                    <a:lnTo>
                      <a:pt x="1348" y="942"/>
                    </a:lnTo>
                    <a:lnTo>
                      <a:pt x="1353" y="939"/>
                    </a:lnTo>
                    <a:lnTo>
                      <a:pt x="1348" y="930"/>
                    </a:lnTo>
                    <a:lnTo>
                      <a:pt x="1345" y="928"/>
                    </a:lnTo>
                    <a:lnTo>
                      <a:pt x="1341" y="921"/>
                    </a:lnTo>
                    <a:lnTo>
                      <a:pt x="1336" y="922"/>
                    </a:lnTo>
                    <a:lnTo>
                      <a:pt x="1327" y="922"/>
                    </a:lnTo>
                    <a:lnTo>
                      <a:pt x="1321" y="928"/>
                    </a:lnTo>
                    <a:lnTo>
                      <a:pt x="1308" y="928"/>
                    </a:lnTo>
                    <a:lnTo>
                      <a:pt x="1303" y="931"/>
                    </a:lnTo>
                    <a:lnTo>
                      <a:pt x="1303" y="939"/>
                    </a:lnTo>
                    <a:lnTo>
                      <a:pt x="1297" y="945"/>
                    </a:lnTo>
                    <a:lnTo>
                      <a:pt x="1300" y="955"/>
                    </a:lnTo>
                    <a:lnTo>
                      <a:pt x="1303" y="960"/>
                    </a:lnTo>
                    <a:lnTo>
                      <a:pt x="1300" y="963"/>
                    </a:lnTo>
                    <a:lnTo>
                      <a:pt x="1302" y="967"/>
                    </a:lnTo>
                    <a:lnTo>
                      <a:pt x="1297" y="978"/>
                    </a:lnTo>
                    <a:lnTo>
                      <a:pt x="1294" y="979"/>
                    </a:lnTo>
                    <a:lnTo>
                      <a:pt x="1291" y="982"/>
                    </a:lnTo>
                    <a:lnTo>
                      <a:pt x="1284" y="987"/>
                    </a:lnTo>
                    <a:lnTo>
                      <a:pt x="1275" y="1000"/>
                    </a:lnTo>
                    <a:lnTo>
                      <a:pt x="1278" y="1006"/>
                    </a:lnTo>
                    <a:lnTo>
                      <a:pt x="1275" y="1014"/>
                    </a:lnTo>
                    <a:lnTo>
                      <a:pt x="1273" y="1017"/>
                    </a:lnTo>
                    <a:lnTo>
                      <a:pt x="1276" y="1027"/>
                    </a:lnTo>
                    <a:lnTo>
                      <a:pt x="1273" y="1032"/>
                    </a:lnTo>
                    <a:lnTo>
                      <a:pt x="1273" y="1044"/>
                    </a:lnTo>
                    <a:lnTo>
                      <a:pt x="1269" y="1047"/>
                    </a:lnTo>
                    <a:lnTo>
                      <a:pt x="1269" y="1060"/>
                    </a:lnTo>
                    <a:lnTo>
                      <a:pt x="1261" y="1074"/>
                    </a:lnTo>
                    <a:lnTo>
                      <a:pt x="1264" y="1081"/>
                    </a:lnTo>
                    <a:lnTo>
                      <a:pt x="1258" y="1090"/>
                    </a:lnTo>
                    <a:lnTo>
                      <a:pt x="1251" y="1104"/>
                    </a:lnTo>
                    <a:lnTo>
                      <a:pt x="1246" y="1107"/>
                    </a:lnTo>
                    <a:lnTo>
                      <a:pt x="1240" y="1116"/>
                    </a:lnTo>
                    <a:lnTo>
                      <a:pt x="1231" y="1128"/>
                    </a:lnTo>
                    <a:lnTo>
                      <a:pt x="1234" y="1131"/>
                    </a:lnTo>
                    <a:lnTo>
                      <a:pt x="1233" y="1140"/>
                    </a:lnTo>
                    <a:lnTo>
                      <a:pt x="1224" y="1147"/>
                    </a:lnTo>
                    <a:lnTo>
                      <a:pt x="1222" y="1140"/>
                    </a:lnTo>
                    <a:lnTo>
                      <a:pt x="1213" y="1143"/>
                    </a:lnTo>
                    <a:lnTo>
                      <a:pt x="1197" y="1147"/>
                    </a:lnTo>
                    <a:lnTo>
                      <a:pt x="1194" y="1153"/>
                    </a:lnTo>
                    <a:lnTo>
                      <a:pt x="1183" y="1158"/>
                    </a:lnTo>
                    <a:lnTo>
                      <a:pt x="1176" y="1155"/>
                    </a:lnTo>
                    <a:lnTo>
                      <a:pt x="1155" y="1159"/>
                    </a:lnTo>
                    <a:lnTo>
                      <a:pt x="1155" y="1155"/>
                    </a:lnTo>
                    <a:lnTo>
                      <a:pt x="1153" y="1149"/>
                    </a:lnTo>
                    <a:lnTo>
                      <a:pt x="1149" y="1146"/>
                    </a:lnTo>
                    <a:lnTo>
                      <a:pt x="1147" y="1159"/>
                    </a:lnTo>
                    <a:lnTo>
                      <a:pt x="1140" y="1171"/>
                    </a:lnTo>
                    <a:lnTo>
                      <a:pt x="1132" y="1171"/>
                    </a:lnTo>
                    <a:lnTo>
                      <a:pt x="1129" y="1176"/>
                    </a:lnTo>
                    <a:lnTo>
                      <a:pt x="1107" y="1165"/>
                    </a:lnTo>
                    <a:lnTo>
                      <a:pt x="1099" y="1176"/>
                    </a:lnTo>
                    <a:lnTo>
                      <a:pt x="1101" y="1177"/>
                    </a:lnTo>
                    <a:lnTo>
                      <a:pt x="1096" y="1180"/>
                    </a:lnTo>
                    <a:lnTo>
                      <a:pt x="1104" y="1194"/>
                    </a:lnTo>
                    <a:lnTo>
                      <a:pt x="1105" y="1204"/>
                    </a:lnTo>
                    <a:lnTo>
                      <a:pt x="1117" y="1216"/>
                    </a:lnTo>
                    <a:lnTo>
                      <a:pt x="1119" y="1224"/>
                    </a:lnTo>
                    <a:lnTo>
                      <a:pt x="1123" y="1230"/>
                    </a:lnTo>
                    <a:lnTo>
                      <a:pt x="1123" y="1234"/>
                    </a:lnTo>
                    <a:lnTo>
                      <a:pt x="1114" y="1240"/>
                    </a:lnTo>
                    <a:lnTo>
                      <a:pt x="1116" y="1246"/>
                    </a:lnTo>
                    <a:lnTo>
                      <a:pt x="1108" y="1249"/>
                    </a:lnTo>
                    <a:lnTo>
                      <a:pt x="1110" y="1251"/>
                    </a:lnTo>
                    <a:lnTo>
                      <a:pt x="1113" y="1254"/>
                    </a:lnTo>
                    <a:lnTo>
                      <a:pt x="1116" y="1264"/>
                    </a:lnTo>
                    <a:close/>
                  </a:path>
                </a:pathLst>
              </a:custGeom>
              <a:solidFill>
                <a:sysClr val="window" lastClr="FFFFFF"/>
              </a:solid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5" name="Freeform 293">
                <a:extLst>
                  <a:ext uri="{FF2B5EF4-FFF2-40B4-BE49-F238E27FC236}">
                    <a16:creationId xmlns:a16="http://schemas.microsoft.com/office/drawing/2014/main" id="{4F0B770B-E8AA-F856-D01C-1898E7EFC9BA}"/>
                  </a:ext>
                </a:extLst>
              </p:cNvPr>
              <p:cNvSpPr>
                <a:spLocks/>
              </p:cNvSpPr>
              <p:nvPr/>
            </p:nvSpPr>
            <p:spPr bwMode="auto">
              <a:xfrm>
                <a:off x="3136" y="1158"/>
                <a:ext cx="440" cy="676"/>
              </a:xfrm>
              <a:custGeom>
                <a:avLst/>
                <a:gdLst>
                  <a:gd name="T0" fmla="*/ 0 w 1319"/>
                  <a:gd name="T1" fmla="*/ 0 h 2029"/>
                  <a:gd name="T2" fmla="*/ 0 w 1319"/>
                  <a:gd name="T3" fmla="*/ 0 h 2029"/>
                  <a:gd name="T4" fmla="*/ 0 w 1319"/>
                  <a:gd name="T5" fmla="*/ 0 h 2029"/>
                  <a:gd name="T6" fmla="*/ 0 w 1319"/>
                  <a:gd name="T7" fmla="*/ 0 h 2029"/>
                  <a:gd name="T8" fmla="*/ 0 w 1319"/>
                  <a:gd name="T9" fmla="*/ 0 h 2029"/>
                  <a:gd name="T10" fmla="*/ 0 w 1319"/>
                  <a:gd name="T11" fmla="*/ 0 h 2029"/>
                  <a:gd name="T12" fmla="*/ 0 w 1319"/>
                  <a:gd name="T13" fmla="*/ 0 h 2029"/>
                  <a:gd name="T14" fmla="*/ 0 w 1319"/>
                  <a:gd name="T15" fmla="*/ 0 h 2029"/>
                  <a:gd name="T16" fmla="*/ 0 w 1319"/>
                  <a:gd name="T17" fmla="*/ 0 h 2029"/>
                  <a:gd name="T18" fmla="*/ 0 w 1319"/>
                  <a:gd name="T19" fmla="*/ 0 h 2029"/>
                  <a:gd name="T20" fmla="*/ 0 w 1319"/>
                  <a:gd name="T21" fmla="*/ 0 h 2029"/>
                  <a:gd name="T22" fmla="*/ 0 w 1319"/>
                  <a:gd name="T23" fmla="*/ 0 h 2029"/>
                  <a:gd name="T24" fmla="*/ 0 w 1319"/>
                  <a:gd name="T25" fmla="*/ 0 h 2029"/>
                  <a:gd name="T26" fmla="*/ 0 w 1319"/>
                  <a:gd name="T27" fmla="*/ 0 h 2029"/>
                  <a:gd name="T28" fmla="*/ 0 w 1319"/>
                  <a:gd name="T29" fmla="*/ 0 h 2029"/>
                  <a:gd name="T30" fmla="*/ 0 w 1319"/>
                  <a:gd name="T31" fmla="*/ 0 h 2029"/>
                  <a:gd name="T32" fmla="*/ 0 w 1319"/>
                  <a:gd name="T33" fmla="*/ 0 h 2029"/>
                  <a:gd name="T34" fmla="*/ 0 w 1319"/>
                  <a:gd name="T35" fmla="*/ 0 h 2029"/>
                  <a:gd name="T36" fmla="*/ 0 w 1319"/>
                  <a:gd name="T37" fmla="*/ 0 h 2029"/>
                  <a:gd name="T38" fmla="*/ 0 w 1319"/>
                  <a:gd name="T39" fmla="*/ 0 h 2029"/>
                  <a:gd name="T40" fmla="*/ 0 w 1319"/>
                  <a:gd name="T41" fmla="*/ 0 h 2029"/>
                  <a:gd name="T42" fmla="*/ 0 w 1319"/>
                  <a:gd name="T43" fmla="*/ 0 h 2029"/>
                  <a:gd name="T44" fmla="*/ 0 w 1319"/>
                  <a:gd name="T45" fmla="*/ 0 h 2029"/>
                  <a:gd name="T46" fmla="*/ 0 w 1319"/>
                  <a:gd name="T47" fmla="*/ 0 h 2029"/>
                  <a:gd name="T48" fmla="*/ 0 w 1319"/>
                  <a:gd name="T49" fmla="*/ 0 h 2029"/>
                  <a:gd name="T50" fmla="*/ 0 w 1319"/>
                  <a:gd name="T51" fmla="*/ 0 h 2029"/>
                  <a:gd name="T52" fmla="*/ 0 w 1319"/>
                  <a:gd name="T53" fmla="*/ 0 h 2029"/>
                  <a:gd name="T54" fmla="*/ 0 w 1319"/>
                  <a:gd name="T55" fmla="*/ 0 h 2029"/>
                  <a:gd name="T56" fmla="*/ 0 w 1319"/>
                  <a:gd name="T57" fmla="*/ 0 h 2029"/>
                  <a:gd name="T58" fmla="*/ 0 w 1319"/>
                  <a:gd name="T59" fmla="*/ 0 h 2029"/>
                  <a:gd name="T60" fmla="*/ 0 w 1319"/>
                  <a:gd name="T61" fmla="*/ 0 h 2029"/>
                  <a:gd name="T62" fmla="*/ 0 w 1319"/>
                  <a:gd name="T63" fmla="*/ 0 h 2029"/>
                  <a:gd name="T64" fmla="*/ 0 w 1319"/>
                  <a:gd name="T65" fmla="*/ 0 h 2029"/>
                  <a:gd name="T66" fmla="*/ 0 w 1319"/>
                  <a:gd name="T67" fmla="*/ 0 h 2029"/>
                  <a:gd name="T68" fmla="*/ 0 w 1319"/>
                  <a:gd name="T69" fmla="*/ 0 h 2029"/>
                  <a:gd name="T70" fmla="*/ 0 w 1319"/>
                  <a:gd name="T71" fmla="*/ 0 h 2029"/>
                  <a:gd name="T72" fmla="*/ 0 w 1319"/>
                  <a:gd name="T73" fmla="*/ 0 h 2029"/>
                  <a:gd name="T74" fmla="*/ 0 w 1319"/>
                  <a:gd name="T75" fmla="*/ 0 h 2029"/>
                  <a:gd name="T76" fmla="*/ 0 w 1319"/>
                  <a:gd name="T77" fmla="*/ 0 h 2029"/>
                  <a:gd name="T78" fmla="*/ 0 w 1319"/>
                  <a:gd name="T79" fmla="*/ 0 h 2029"/>
                  <a:gd name="T80" fmla="*/ 0 w 1319"/>
                  <a:gd name="T81" fmla="*/ 0 h 2029"/>
                  <a:gd name="T82" fmla="*/ 0 w 1319"/>
                  <a:gd name="T83" fmla="*/ 0 h 2029"/>
                  <a:gd name="T84" fmla="*/ 0 w 1319"/>
                  <a:gd name="T85" fmla="*/ 0 h 2029"/>
                  <a:gd name="T86" fmla="*/ 0 w 1319"/>
                  <a:gd name="T87" fmla="*/ 0 h 2029"/>
                  <a:gd name="T88" fmla="*/ 0 w 1319"/>
                  <a:gd name="T89" fmla="*/ 0 h 2029"/>
                  <a:gd name="T90" fmla="*/ 0 w 1319"/>
                  <a:gd name="T91" fmla="*/ 0 h 2029"/>
                  <a:gd name="T92" fmla="*/ 0 w 1319"/>
                  <a:gd name="T93" fmla="*/ 0 h 2029"/>
                  <a:gd name="T94" fmla="*/ 0 w 1319"/>
                  <a:gd name="T95" fmla="*/ 0 h 2029"/>
                  <a:gd name="T96" fmla="*/ 0 w 1319"/>
                  <a:gd name="T97" fmla="*/ 0 h 2029"/>
                  <a:gd name="T98" fmla="*/ 0 w 1319"/>
                  <a:gd name="T99" fmla="*/ 0 h 2029"/>
                  <a:gd name="T100" fmla="*/ 0 w 1319"/>
                  <a:gd name="T101" fmla="*/ 0 h 2029"/>
                  <a:gd name="T102" fmla="*/ 0 w 1319"/>
                  <a:gd name="T103" fmla="*/ 0 h 2029"/>
                  <a:gd name="T104" fmla="*/ 0 w 1319"/>
                  <a:gd name="T105" fmla="*/ 0 h 2029"/>
                  <a:gd name="T106" fmla="*/ 0 w 1319"/>
                  <a:gd name="T107" fmla="*/ 0 h 2029"/>
                  <a:gd name="T108" fmla="*/ 0 w 1319"/>
                  <a:gd name="T109" fmla="*/ 0 h 2029"/>
                  <a:gd name="T110" fmla="*/ 0 w 1319"/>
                  <a:gd name="T111" fmla="*/ 0 h 2029"/>
                  <a:gd name="T112" fmla="*/ 0 w 1319"/>
                  <a:gd name="T113" fmla="*/ 0 h 2029"/>
                  <a:gd name="T114" fmla="*/ 0 w 1319"/>
                  <a:gd name="T115" fmla="*/ 0 h 2029"/>
                  <a:gd name="T116" fmla="*/ 0 w 1319"/>
                  <a:gd name="T117" fmla="*/ 0 h 2029"/>
                  <a:gd name="T118" fmla="*/ 0 w 1319"/>
                  <a:gd name="T119" fmla="*/ 0 h 20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319" h="2029">
                    <a:moveTo>
                      <a:pt x="1046" y="1474"/>
                    </a:moveTo>
                    <a:lnTo>
                      <a:pt x="1059" y="1461"/>
                    </a:lnTo>
                    <a:lnTo>
                      <a:pt x="1073" y="1465"/>
                    </a:lnTo>
                    <a:lnTo>
                      <a:pt x="1076" y="1483"/>
                    </a:lnTo>
                    <a:lnTo>
                      <a:pt x="1086" y="1485"/>
                    </a:lnTo>
                    <a:lnTo>
                      <a:pt x="1109" y="1482"/>
                    </a:lnTo>
                    <a:lnTo>
                      <a:pt x="1115" y="1485"/>
                    </a:lnTo>
                    <a:lnTo>
                      <a:pt x="1122" y="1464"/>
                    </a:lnTo>
                    <a:lnTo>
                      <a:pt x="1167" y="1470"/>
                    </a:lnTo>
                    <a:lnTo>
                      <a:pt x="1178" y="1462"/>
                    </a:lnTo>
                    <a:lnTo>
                      <a:pt x="1208" y="1473"/>
                    </a:lnTo>
                    <a:lnTo>
                      <a:pt x="1230" y="1470"/>
                    </a:lnTo>
                    <a:lnTo>
                      <a:pt x="1238" y="1474"/>
                    </a:lnTo>
                    <a:lnTo>
                      <a:pt x="1283" y="1465"/>
                    </a:lnTo>
                    <a:lnTo>
                      <a:pt x="1286" y="1485"/>
                    </a:lnTo>
                    <a:lnTo>
                      <a:pt x="1296" y="1480"/>
                    </a:lnTo>
                    <a:lnTo>
                      <a:pt x="1310" y="1503"/>
                    </a:lnTo>
                    <a:lnTo>
                      <a:pt x="1308" y="1510"/>
                    </a:lnTo>
                    <a:lnTo>
                      <a:pt x="1308" y="1531"/>
                    </a:lnTo>
                    <a:lnTo>
                      <a:pt x="1277" y="1548"/>
                    </a:lnTo>
                    <a:lnTo>
                      <a:pt x="1245" y="1554"/>
                    </a:lnTo>
                    <a:lnTo>
                      <a:pt x="1218" y="1576"/>
                    </a:lnTo>
                    <a:lnTo>
                      <a:pt x="1223" y="1584"/>
                    </a:lnTo>
                    <a:lnTo>
                      <a:pt x="1223" y="1599"/>
                    </a:lnTo>
                    <a:lnTo>
                      <a:pt x="1224" y="1611"/>
                    </a:lnTo>
                    <a:lnTo>
                      <a:pt x="1281" y="1615"/>
                    </a:lnTo>
                    <a:lnTo>
                      <a:pt x="1281" y="1635"/>
                    </a:lnTo>
                    <a:lnTo>
                      <a:pt x="1293" y="1645"/>
                    </a:lnTo>
                    <a:lnTo>
                      <a:pt x="1280" y="1680"/>
                    </a:lnTo>
                    <a:lnTo>
                      <a:pt x="1289" y="1681"/>
                    </a:lnTo>
                    <a:lnTo>
                      <a:pt x="1304" y="1672"/>
                    </a:lnTo>
                    <a:lnTo>
                      <a:pt x="1314" y="1677"/>
                    </a:lnTo>
                    <a:lnTo>
                      <a:pt x="1313" y="1723"/>
                    </a:lnTo>
                    <a:lnTo>
                      <a:pt x="1319" y="1732"/>
                    </a:lnTo>
                    <a:lnTo>
                      <a:pt x="1317" y="1765"/>
                    </a:lnTo>
                    <a:lnTo>
                      <a:pt x="1296" y="1777"/>
                    </a:lnTo>
                    <a:lnTo>
                      <a:pt x="1281" y="1777"/>
                    </a:lnTo>
                    <a:lnTo>
                      <a:pt x="1266" y="1746"/>
                    </a:lnTo>
                    <a:lnTo>
                      <a:pt x="1230" y="1776"/>
                    </a:lnTo>
                    <a:lnTo>
                      <a:pt x="1214" y="1762"/>
                    </a:lnTo>
                    <a:lnTo>
                      <a:pt x="1212" y="1779"/>
                    </a:lnTo>
                    <a:lnTo>
                      <a:pt x="1206" y="1789"/>
                    </a:lnTo>
                    <a:lnTo>
                      <a:pt x="1202" y="1825"/>
                    </a:lnTo>
                    <a:lnTo>
                      <a:pt x="1208" y="1824"/>
                    </a:lnTo>
                    <a:lnTo>
                      <a:pt x="1215" y="1840"/>
                    </a:lnTo>
                    <a:lnTo>
                      <a:pt x="1220" y="1866"/>
                    </a:lnTo>
                    <a:lnTo>
                      <a:pt x="1245" y="1908"/>
                    </a:lnTo>
                    <a:lnTo>
                      <a:pt x="1232" y="1912"/>
                    </a:lnTo>
                    <a:lnTo>
                      <a:pt x="1229" y="1924"/>
                    </a:lnTo>
                    <a:lnTo>
                      <a:pt x="1206" y="1932"/>
                    </a:lnTo>
                    <a:lnTo>
                      <a:pt x="1196" y="1924"/>
                    </a:lnTo>
                    <a:lnTo>
                      <a:pt x="1170" y="1926"/>
                    </a:lnTo>
                    <a:lnTo>
                      <a:pt x="1136" y="1948"/>
                    </a:lnTo>
                    <a:lnTo>
                      <a:pt x="1101" y="1936"/>
                    </a:lnTo>
                    <a:lnTo>
                      <a:pt x="1076" y="1921"/>
                    </a:lnTo>
                    <a:lnTo>
                      <a:pt x="1056" y="1945"/>
                    </a:lnTo>
                    <a:lnTo>
                      <a:pt x="1040" y="1954"/>
                    </a:lnTo>
                    <a:lnTo>
                      <a:pt x="1037" y="1965"/>
                    </a:lnTo>
                    <a:lnTo>
                      <a:pt x="1055" y="1977"/>
                    </a:lnTo>
                    <a:lnTo>
                      <a:pt x="1050" y="1995"/>
                    </a:lnTo>
                    <a:lnTo>
                      <a:pt x="1044" y="2002"/>
                    </a:lnTo>
                    <a:lnTo>
                      <a:pt x="1022" y="2011"/>
                    </a:lnTo>
                    <a:lnTo>
                      <a:pt x="1010" y="1998"/>
                    </a:lnTo>
                    <a:lnTo>
                      <a:pt x="990" y="1996"/>
                    </a:lnTo>
                    <a:lnTo>
                      <a:pt x="977" y="1987"/>
                    </a:lnTo>
                    <a:lnTo>
                      <a:pt x="959" y="1975"/>
                    </a:lnTo>
                    <a:lnTo>
                      <a:pt x="954" y="1974"/>
                    </a:lnTo>
                    <a:lnTo>
                      <a:pt x="947" y="1980"/>
                    </a:lnTo>
                    <a:lnTo>
                      <a:pt x="924" y="1962"/>
                    </a:lnTo>
                    <a:lnTo>
                      <a:pt x="894" y="1933"/>
                    </a:lnTo>
                    <a:lnTo>
                      <a:pt x="881" y="1945"/>
                    </a:lnTo>
                    <a:lnTo>
                      <a:pt x="845" y="1948"/>
                    </a:lnTo>
                    <a:lnTo>
                      <a:pt x="845" y="1936"/>
                    </a:lnTo>
                    <a:lnTo>
                      <a:pt x="807" y="1933"/>
                    </a:lnTo>
                    <a:lnTo>
                      <a:pt x="798" y="1935"/>
                    </a:lnTo>
                    <a:lnTo>
                      <a:pt x="797" y="1957"/>
                    </a:lnTo>
                    <a:lnTo>
                      <a:pt x="771" y="1951"/>
                    </a:lnTo>
                    <a:lnTo>
                      <a:pt x="747" y="1957"/>
                    </a:lnTo>
                    <a:lnTo>
                      <a:pt x="755" y="1980"/>
                    </a:lnTo>
                    <a:lnTo>
                      <a:pt x="752" y="1993"/>
                    </a:lnTo>
                    <a:lnTo>
                      <a:pt x="702" y="1974"/>
                    </a:lnTo>
                    <a:lnTo>
                      <a:pt x="684" y="1975"/>
                    </a:lnTo>
                    <a:lnTo>
                      <a:pt x="660" y="1986"/>
                    </a:lnTo>
                    <a:lnTo>
                      <a:pt x="660" y="1996"/>
                    </a:lnTo>
                    <a:lnTo>
                      <a:pt x="642" y="2007"/>
                    </a:lnTo>
                    <a:lnTo>
                      <a:pt x="624" y="2019"/>
                    </a:lnTo>
                    <a:lnTo>
                      <a:pt x="600" y="2023"/>
                    </a:lnTo>
                    <a:lnTo>
                      <a:pt x="579" y="2029"/>
                    </a:lnTo>
                    <a:lnTo>
                      <a:pt x="569" y="1995"/>
                    </a:lnTo>
                    <a:lnTo>
                      <a:pt x="557" y="1972"/>
                    </a:lnTo>
                    <a:lnTo>
                      <a:pt x="542" y="1953"/>
                    </a:lnTo>
                    <a:lnTo>
                      <a:pt x="534" y="1951"/>
                    </a:lnTo>
                    <a:lnTo>
                      <a:pt x="530" y="1935"/>
                    </a:lnTo>
                    <a:lnTo>
                      <a:pt x="518" y="1929"/>
                    </a:lnTo>
                    <a:lnTo>
                      <a:pt x="518" y="1917"/>
                    </a:lnTo>
                    <a:lnTo>
                      <a:pt x="500" y="1909"/>
                    </a:lnTo>
                    <a:lnTo>
                      <a:pt x="482" y="1920"/>
                    </a:lnTo>
                    <a:lnTo>
                      <a:pt x="461" y="1912"/>
                    </a:lnTo>
                    <a:lnTo>
                      <a:pt x="449" y="1930"/>
                    </a:lnTo>
                    <a:lnTo>
                      <a:pt x="428" y="1909"/>
                    </a:lnTo>
                    <a:lnTo>
                      <a:pt x="425" y="1909"/>
                    </a:lnTo>
                    <a:lnTo>
                      <a:pt x="411" y="1903"/>
                    </a:lnTo>
                    <a:lnTo>
                      <a:pt x="405" y="1870"/>
                    </a:lnTo>
                    <a:lnTo>
                      <a:pt x="417" y="1860"/>
                    </a:lnTo>
                    <a:lnTo>
                      <a:pt x="417" y="1846"/>
                    </a:lnTo>
                    <a:lnTo>
                      <a:pt x="425" y="1836"/>
                    </a:lnTo>
                    <a:lnTo>
                      <a:pt x="411" y="1822"/>
                    </a:lnTo>
                    <a:lnTo>
                      <a:pt x="423" y="1806"/>
                    </a:lnTo>
                    <a:lnTo>
                      <a:pt x="422" y="1788"/>
                    </a:lnTo>
                    <a:lnTo>
                      <a:pt x="401" y="1756"/>
                    </a:lnTo>
                    <a:lnTo>
                      <a:pt x="417" y="1753"/>
                    </a:lnTo>
                    <a:lnTo>
                      <a:pt x="431" y="1735"/>
                    </a:lnTo>
                    <a:lnTo>
                      <a:pt x="414" y="1711"/>
                    </a:lnTo>
                    <a:lnTo>
                      <a:pt x="399" y="1713"/>
                    </a:lnTo>
                    <a:lnTo>
                      <a:pt x="393" y="1686"/>
                    </a:lnTo>
                    <a:lnTo>
                      <a:pt x="381" y="1669"/>
                    </a:lnTo>
                    <a:lnTo>
                      <a:pt x="381" y="1648"/>
                    </a:lnTo>
                    <a:lnTo>
                      <a:pt x="366" y="1638"/>
                    </a:lnTo>
                    <a:lnTo>
                      <a:pt x="371" y="1629"/>
                    </a:lnTo>
                    <a:lnTo>
                      <a:pt x="377" y="1614"/>
                    </a:lnTo>
                    <a:lnTo>
                      <a:pt x="387" y="1606"/>
                    </a:lnTo>
                    <a:lnTo>
                      <a:pt x="390" y="1590"/>
                    </a:lnTo>
                    <a:lnTo>
                      <a:pt x="380" y="1596"/>
                    </a:lnTo>
                    <a:lnTo>
                      <a:pt x="356" y="1548"/>
                    </a:lnTo>
                    <a:lnTo>
                      <a:pt x="341" y="1549"/>
                    </a:lnTo>
                    <a:lnTo>
                      <a:pt x="329" y="1576"/>
                    </a:lnTo>
                    <a:lnTo>
                      <a:pt x="321" y="1569"/>
                    </a:lnTo>
                    <a:lnTo>
                      <a:pt x="315" y="1552"/>
                    </a:lnTo>
                    <a:lnTo>
                      <a:pt x="321" y="1530"/>
                    </a:lnTo>
                    <a:lnTo>
                      <a:pt x="306" y="1531"/>
                    </a:lnTo>
                    <a:lnTo>
                      <a:pt x="303" y="1524"/>
                    </a:lnTo>
                    <a:lnTo>
                      <a:pt x="290" y="1528"/>
                    </a:lnTo>
                    <a:lnTo>
                      <a:pt x="273" y="1525"/>
                    </a:lnTo>
                    <a:lnTo>
                      <a:pt x="261" y="1518"/>
                    </a:lnTo>
                    <a:lnTo>
                      <a:pt x="245" y="1536"/>
                    </a:lnTo>
                    <a:lnTo>
                      <a:pt x="248" y="1554"/>
                    </a:lnTo>
                    <a:lnTo>
                      <a:pt x="218" y="1555"/>
                    </a:lnTo>
                    <a:lnTo>
                      <a:pt x="209" y="1540"/>
                    </a:lnTo>
                    <a:lnTo>
                      <a:pt x="219" y="1519"/>
                    </a:lnTo>
                    <a:lnTo>
                      <a:pt x="207" y="1506"/>
                    </a:lnTo>
                    <a:lnTo>
                      <a:pt x="206" y="1494"/>
                    </a:lnTo>
                    <a:lnTo>
                      <a:pt x="216" y="1485"/>
                    </a:lnTo>
                    <a:lnTo>
                      <a:pt x="218" y="1467"/>
                    </a:lnTo>
                    <a:lnTo>
                      <a:pt x="219" y="1456"/>
                    </a:lnTo>
                    <a:lnTo>
                      <a:pt x="207" y="1461"/>
                    </a:lnTo>
                    <a:lnTo>
                      <a:pt x="194" y="1467"/>
                    </a:lnTo>
                    <a:lnTo>
                      <a:pt x="159" y="1464"/>
                    </a:lnTo>
                    <a:lnTo>
                      <a:pt x="119" y="1446"/>
                    </a:lnTo>
                    <a:lnTo>
                      <a:pt x="95" y="1464"/>
                    </a:lnTo>
                    <a:lnTo>
                      <a:pt x="71" y="1443"/>
                    </a:lnTo>
                    <a:lnTo>
                      <a:pt x="57" y="1458"/>
                    </a:lnTo>
                    <a:lnTo>
                      <a:pt x="47" y="1453"/>
                    </a:lnTo>
                    <a:lnTo>
                      <a:pt x="50" y="1440"/>
                    </a:lnTo>
                    <a:lnTo>
                      <a:pt x="44" y="1437"/>
                    </a:lnTo>
                    <a:lnTo>
                      <a:pt x="38" y="1429"/>
                    </a:lnTo>
                    <a:lnTo>
                      <a:pt x="27" y="1434"/>
                    </a:lnTo>
                    <a:lnTo>
                      <a:pt x="24" y="1444"/>
                    </a:lnTo>
                    <a:lnTo>
                      <a:pt x="9" y="1446"/>
                    </a:lnTo>
                    <a:lnTo>
                      <a:pt x="6" y="1428"/>
                    </a:lnTo>
                    <a:lnTo>
                      <a:pt x="0" y="1423"/>
                    </a:lnTo>
                    <a:lnTo>
                      <a:pt x="2" y="1420"/>
                    </a:lnTo>
                    <a:lnTo>
                      <a:pt x="9" y="1413"/>
                    </a:lnTo>
                    <a:lnTo>
                      <a:pt x="21" y="1411"/>
                    </a:lnTo>
                    <a:lnTo>
                      <a:pt x="27" y="1404"/>
                    </a:lnTo>
                    <a:lnTo>
                      <a:pt x="36" y="1386"/>
                    </a:lnTo>
                    <a:lnTo>
                      <a:pt x="53" y="1378"/>
                    </a:lnTo>
                    <a:lnTo>
                      <a:pt x="77" y="1365"/>
                    </a:lnTo>
                    <a:lnTo>
                      <a:pt x="90" y="1365"/>
                    </a:lnTo>
                    <a:lnTo>
                      <a:pt x="98" y="1351"/>
                    </a:lnTo>
                    <a:lnTo>
                      <a:pt x="86" y="1341"/>
                    </a:lnTo>
                    <a:lnTo>
                      <a:pt x="102" y="1335"/>
                    </a:lnTo>
                    <a:lnTo>
                      <a:pt x="105" y="1330"/>
                    </a:lnTo>
                    <a:lnTo>
                      <a:pt x="113" y="1329"/>
                    </a:lnTo>
                    <a:lnTo>
                      <a:pt x="122" y="1318"/>
                    </a:lnTo>
                    <a:lnTo>
                      <a:pt x="126" y="1312"/>
                    </a:lnTo>
                    <a:lnTo>
                      <a:pt x="128" y="1302"/>
                    </a:lnTo>
                    <a:lnTo>
                      <a:pt x="140" y="1291"/>
                    </a:lnTo>
                    <a:lnTo>
                      <a:pt x="146" y="1285"/>
                    </a:lnTo>
                    <a:lnTo>
                      <a:pt x="153" y="1275"/>
                    </a:lnTo>
                    <a:lnTo>
                      <a:pt x="141" y="1254"/>
                    </a:lnTo>
                    <a:lnTo>
                      <a:pt x="141" y="1215"/>
                    </a:lnTo>
                    <a:lnTo>
                      <a:pt x="147" y="1207"/>
                    </a:lnTo>
                    <a:lnTo>
                      <a:pt x="161" y="1198"/>
                    </a:lnTo>
                    <a:lnTo>
                      <a:pt x="168" y="1210"/>
                    </a:lnTo>
                    <a:lnTo>
                      <a:pt x="174" y="1218"/>
                    </a:lnTo>
                    <a:lnTo>
                      <a:pt x="185" y="1216"/>
                    </a:lnTo>
                    <a:lnTo>
                      <a:pt x="185" y="1191"/>
                    </a:lnTo>
                    <a:lnTo>
                      <a:pt x="185" y="1174"/>
                    </a:lnTo>
                    <a:lnTo>
                      <a:pt x="192" y="1171"/>
                    </a:lnTo>
                    <a:lnTo>
                      <a:pt x="209" y="1170"/>
                    </a:lnTo>
                    <a:lnTo>
                      <a:pt x="212" y="1165"/>
                    </a:lnTo>
                    <a:lnTo>
                      <a:pt x="210" y="1153"/>
                    </a:lnTo>
                    <a:lnTo>
                      <a:pt x="206" y="1143"/>
                    </a:lnTo>
                    <a:lnTo>
                      <a:pt x="200" y="1128"/>
                    </a:lnTo>
                    <a:lnTo>
                      <a:pt x="191" y="1119"/>
                    </a:lnTo>
                    <a:lnTo>
                      <a:pt x="198" y="1101"/>
                    </a:lnTo>
                    <a:lnTo>
                      <a:pt x="200" y="1087"/>
                    </a:lnTo>
                    <a:lnTo>
                      <a:pt x="201" y="1075"/>
                    </a:lnTo>
                    <a:lnTo>
                      <a:pt x="203" y="1063"/>
                    </a:lnTo>
                    <a:lnTo>
                      <a:pt x="192" y="1062"/>
                    </a:lnTo>
                    <a:lnTo>
                      <a:pt x="179" y="1057"/>
                    </a:lnTo>
                    <a:lnTo>
                      <a:pt x="164" y="1050"/>
                    </a:lnTo>
                    <a:lnTo>
                      <a:pt x="164" y="1042"/>
                    </a:lnTo>
                    <a:lnTo>
                      <a:pt x="164" y="1023"/>
                    </a:lnTo>
                    <a:lnTo>
                      <a:pt x="170" y="1018"/>
                    </a:lnTo>
                    <a:lnTo>
                      <a:pt x="171" y="1006"/>
                    </a:lnTo>
                    <a:lnTo>
                      <a:pt x="203" y="993"/>
                    </a:lnTo>
                    <a:lnTo>
                      <a:pt x="194" y="987"/>
                    </a:lnTo>
                    <a:lnTo>
                      <a:pt x="180" y="984"/>
                    </a:lnTo>
                    <a:lnTo>
                      <a:pt x="185" y="976"/>
                    </a:lnTo>
                    <a:lnTo>
                      <a:pt x="198" y="973"/>
                    </a:lnTo>
                    <a:lnTo>
                      <a:pt x="210" y="961"/>
                    </a:lnTo>
                    <a:lnTo>
                      <a:pt x="215" y="948"/>
                    </a:lnTo>
                    <a:lnTo>
                      <a:pt x="242" y="943"/>
                    </a:lnTo>
                    <a:lnTo>
                      <a:pt x="261" y="939"/>
                    </a:lnTo>
                    <a:lnTo>
                      <a:pt x="267" y="934"/>
                    </a:lnTo>
                    <a:lnTo>
                      <a:pt x="260" y="924"/>
                    </a:lnTo>
                    <a:lnTo>
                      <a:pt x="242" y="909"/>
                    </a:lnTo>
                    <a:lnTo>
                      <a:pt x="212" y="904"/>
                    </a:lnTo>
                    <a:lnTo>
                      <a:pt x="195" y="900"/>
                    </a:lnTo>
                    <a:lnTo>
                      <a:pt x="170" y="879"/>
                    </a:lnTo>
                    <a:lnTo>
                      <a:pt x="167" y="868"/>
                    </a:lnTo>
                    <a:lnTo>
                      <a:pt x="171" y="862"/>
                    </a:lnTo>
                    <a:lnTo>
                      <a:pt x="170" y="853"/>
                    </a:lnTo>
                    <a:lnTo>
                      <a:pt x="176" y="855"/>
                    </a:lnTo>
                    <a:lnTo>
                      <a:pt x="182" y="850"/>
                    </a:lnTo>
                    <a:lnTo>
                      <a:pt x="186" y="850"/>
                    </a:lnTo>
                    <a:lnTo>
                      <a:pt x="189" y="846"/>
                    </a:lnTo>
                    <a:lnTo>
                      <a:pt x="185" y="838"/>
                    </a:lnTo>
                    <a:lnTo>
                      <a:pt x="168" y="807"/>
                    </a:lnTo>
                    <a:lnTo>
                      <a:pt x="158" y="790"/>
                    </a:lnTo>
                    <a:lnTo>
                      <a:pt x="156" y="780"/>
                    </a:lnTo>
                    <a:lnTo>
                      <a:pt x="162" y="763"/>
                    </a:lnTo>
                    <a:lnTo>
                      <a:pt x="171" y="757"/>
                    </a:lnTo>
                    <a:lnTo>
                      <a:pt x="162" y="754"/>
                    </a:lnTo>
                    <a:lnTo>
                      <a:pt x="150" y="744"/>
                    </a:lnTo>
                    <a:lnTo>
                      <a:pt x="144" y="745"/>
                    </a:lnTo>
                    <a:lnTo>
                      <a:pt x="137" y="747"/>
                    </a:lnTo>
                    <a:lnTo>
                      <a:pt x="132" y="744"/>
                    </a:lnTo>
                    <a:lnTo>
                      <a:pt x="137" y="735"/>
                    </a:lnTo>
                    <a:lnTo>
                      <a:pt x="135" y="732"/>
                    </a:lnTo>
                    <a:lnTo>
                      <a:pt x="143" y="729"/>
                    </a:lnTo>
                    <a:lnTo>
                      <a:pt x="149" y="720"/>
                    </a:lnTo>
                    <a:lnTo>
                      <a:pt x="153" y="709"/>
                    </a:lnTo>
                    <a:lnTo>
                      <a:pt x="159" y="702"/>
                    </a:lnTo>
                    <a:lnTo>
                      <a:pt x="173" y="693"/>
                    </a:lnTo>
                    <a:lnTo>
                      <a:pt x="179" y="688"/>
                    </a:lnTo>
                    <a:lnTo>
                      <a:pt x="182" y="688"/>
                    </a:lnTo>
                    <a:lnTo>
                      <a:pt x="189" y="693"/>
                    </a:lnTo>
                    <a:lnTo>
                      <a:pt x="198" y="690"/>
                    </a:lnTo>
                    <a:lnTo>
                      <a:pt x="200" y="688"/>
                    </a:lnTo>
                    <a:lnTo>
                      <a:pt x="197" y="682"/>
                    </a:lnTo>
                    <a:lnTo>
                      <a:pt x="200" y="681"/>
                    </a:lnTo>
                    <a:lnTo>
                      <a:pt x="213" y="687"/>
                    </a:lnTo>
                    <a:lnTo>
                      <a:pt x="225" y="673"/>
                    </a:lnTo>
                    <a:lnTo>
                      <a:pt x="225" y="679"/>
                    </a:lnTo>
                    <a:lnTo>
                      <a:pt x="234" y="678"/>
                    </a:lnTo>
                    <a:lnTo>
                      <a:pt x="242" y="666"/>
                    </a:lnTo>
                    <a:lnTo>
                      <a:pt x="248" y="658"/>
                    </a:lnTo>
                    <a:lnTo>
                      <a:pt x="252" y="663"/>
                    </a:lnTo>
                    <a:lnTo>
                      <a:pt x="257" y="660"/>
                    </a:lnTo>
                    <a:lnTo>
                      <a:pt x="258" y="652"/>
                    </a:lnTo>
                    <a:lnTo>
                      <a:pt x="266" y="645"/>
                    </a:lnTo>
                    <a:lnTo>
                      <a:pt x="276" y="633"/>
                    </a:lnTo>
                    <a:lnTo>
                      <a:pt x="284" y="628"/>
                    </a:lnTo>
                    <a:lnTo>
                      <a:pt x="281" y="621"/>
                    </a:lnTo>
                    <a:lnTo>
                      <a:pt x="284" y="609"/>
                    </a:lnTo>
                    <a:lnTo>
                      <a:pt x="287" y="604"/>
                    </a:lnTo>
                    <a:lnTo>
                      <a:pt x="293" y="595"/>
                    </a:lnTo>
                    <a:lnTo>
                      <a:pt x="303" y="586"/>
                    </a:lnTo>
                    <a:lnTo>
                      <a:pt x="305" y="579"/>
                    </a:lnTo>
                    <a:lnTo>
                      <a:pt x="294" y="579"/>
                    </a:lnTo>
                    <a:lnTo>
                      <a:pt x="284" y="564"/>
                    </a:lnTo>
                    <a:lnTo>
                      <a:pt x="278" y="549"/>
                    </a:lnTo>
                    <a:lnTo>
                      <a:pt x="275" y="541"/>
                    </a:lnTo>
                    <a:lnTo>
                      <a:pt x="279" y="537"/>
                    </a:lnTo>
                    <a:lnTo>
                      <a:pt x="282" y="537"/>
                    </a:lnTo>
                    <a:lnTo>
                      <a:pt x="288" y="534"/>
                    </a:lnTo>
                    <a:lnTo>
                      <a:pt x="288" y="520"/>
                    </a:lnTo>
                    <a:lnTo>
                      <a:pt x="282" y="513"/>
                    </a:lnTo>
                    <a:lnTo>
                      <a:pt x="290" y="508"/>
                    </a:lnTo>
                    <a:lnTo>
                      <a:pt x="297" y="493"/>
                    </a:lnTo>
                    <a:lnTo>
                      <a:pt x="299" y="487"/>
                    </a:lnTo>
                    <a:lnTo>
                      <a:pt x="288" y="481"/>
                    </a:lnTo>
                    <a:lnTo>
                      <a:pt x="275" y="475"/>
                    </a:lnTo>
                    <a:lnTo>
                      <a:pt x="273" y="472"/>
                    </a:lnTo>
                    <a:lnTo>
                      <a:pt x="278" y="456"/>
                    </a:lnTo>
                    <a:lnTo>
                      <a:pt x="270" y="444"/>
                    </a:lnTo>
                    <a:lnTo>
                      <a:pt x="267" y="444"/>
                    </a:lnTo>
                    <a:lnTo>
                      <a:pt x="257" y="439"/>
                    </a:lnTo>
                    <a:lnTo>
                      <a:pt x="245" y="430"/>
                    </a:lnTo>
                    <a:lnTo>
                      <a:pt x="234" y="427"/>
                    </a:lnTo>
                    <a:lnTo>
                      <a:pt x="224" y="429"/>
                    </a:lnTo>
                    <a:lnTo>
                      <a:pt x="207" y="414"/>
                    </a:lnTo>
                    <a:lnTo>
                      <a:pt x="207" y="385"/>
                    </a:lnTo>
                    <a:lnTo>
                      <a:pt x="200" y="387"/>
                    </a:lnTo>
                    <a:lnTo>
                      <a:pt x="194" y="385"/>
                    </a:lnTo>
                    <a:lnTo>
                      <a:pt x="191" y="385"/>
                    </a:lnTo>
                    <a:lnTo>
                      <a:pt x="183" y="379"/>
                    </a:lnTo>
                    <a:lnTo>
                      <a:pt x="194" y="358"/>
                    </a:lnTo>
                    <a:lnTo>
                      <a:pt x="186" y="355"/>
                    </a:lnTo>
                    <a:lnTo>
                      <a:pt x="191" y="339"/>
                    </a:lnTo>
                    <a:lnTo>
                      <a:pt x="182" y="327"/>
                    </a:lnTo>
                    <a:lnTo>
                      <a:pt x="182" y="315"/>
                    </a:lnTo>
                    <a:lnTo>
                      <a:pt x="198" y="301"/>
                    </a:lnTo>
                    <a:lnTo>
                      <a:pt x="216" y="301"/>
                    </a:lnTo>
                    <a:lnTo>
                      <a:pt x="219" y="297"/>
                    </a:lnTo>
                    <a:lnTo>
                      <a:pt x="225" y="285"/>
                    </a:lnTo>
                    <a:lnTo>
                      <a:pt x="228" y="264"/>
                    </a:lnTo>
                    <a:lnTo>
                      <a:pt x="245" y="261"/>
                    </a:lnTo>
                    <a:lnTo>
                      <a:pt x="257" y="267"/>
                    </a:lnTo>
                    <a:lnTo>
                      <a:pt x="269" y="267"/>
                    </a:lnTo>
                    <a:lnTo>
                      <a:pt x="296" y="262"/>
                    </a:lnTo>
                    <a:lnTo>
                      <a:pt x="306" y="250"/>
                    </a:lnTo>
                    <a:lnTo>
                      <a:pt x="314" y="244"/>
                    </a:lnTo>
                    <a:lnTo>
                      <a:pt x="321" y="253"/>
                    </a:lnTo>
                    <a:lnTo>
                      <a:pt x="341" y="249"/>
                    </a:lnTo>
                    <a:lnTo>
                      <a:pt x="351" y="243"/>
                    </a:lnTo>
                    <a:lnTo>
                      <a:pt x="362" y="247"/>
                    </a:lnTo>
                    <a:lnTo>
                      <a:pt x="362" y="237"/>
                    </a:lnTo>
                    <a:lnTo>
                      <a:pt x="381" y="216"/>
                    </a:lnTo>
                    <a:lnTo>
                      <a:pt x="393" y="223"/>
                    </a:lnTo>
                    <a:lnTo>
                      <a:pt x="401" y="217"/>
                    </a:lnTo>
                    <a:lnTo>
                      <a:pt x="422" y="225"/>
                    </a:lnTo>
                    <a:lnTo>
                      <a:pt x="429" y="202"/>
                    </a:lnTo>
                    <a:lnTo>
                      <a:pt x="428" y="187"/>
                    </a:lnTo>
                    <a:lnTo>
                      <a:pt x="428" y="178"/>
                    </a:lnTo>
                    <a:lnTo>
                      <a:pt x="452" y="180"/>
                    </a:lnTo>
                    <a:lnTo>
                      <a:pt x="453" y="190"/>
                    </a:lnTo>
                    <a:lnTo>
                      <a:pt x="462" y="198"/>
                    </a:lnTo>
                    <a:lnTo>
                      <a:pt x="486" y="196"/>
                    </a:lnTo>
                    <a:lnTo>
                      <a:pt x="509" y="211"/>
                    </a:lnTo>
                    <a:lnTo>
                      <a:pt x="515" y="207"/>
                    </a:lnTo>
                    <a:lnTo>
                      <a:pt x="513" y="202"/>
                    </a:lnTo>
                    <a:lnTo>
                      <a:pt x="524" y="199"/>
                    </a:lnTo>
                    <a:lnTo>
                      <a:pt x="537" y="201"/>
                    </a:lnTo>
                    <a:lnTo>
                      <a:pt x="539" y="210"/>
                    </a:lnTo>
                    <a:lnTo>
                      <a:pt x="543" y="210"/>
                    </a:lnTo>
                    <a:lnTo>
                      <a:pt x="551" y="205"/>
                    </a:lnTo>
                    <a:lnTo>
                      <a:pt x="569" y="202"/>
                    </a:lnTo>
                    <a:lnTo>
                      <a:pt x="579" y="207"/>
                    </a:lnTo>
                    <a:lnTo>
                      <a:pt x="594" y="210"/>
                    </a:lnTo>
                    <a:lnTo>
                      <a:pt x="602" y="196"/>
                    </a:lnTo>
                    <a:lnTo>
                      <a:pt x="615" y="186"/>
                    </a:lnTo>
                    <a:lnTo>
                      <a:pt x="632" y="181"/>
                    </a:lnTo>
                    <a:lnTo>
                      <a:pt x="632" y="168"/>
                    </a:lnTo>
                    <a:lnTo>
                      <a:pt x="621" y="160"/>
                    </a:lnTo>
                    <a:lnTo>
                      <a:pt x="618" y="142"/>
                    </a:lnTo>
                    <a:lnTo>
                      <a:pt x="614" y="138"/>
                    </a:lnTo>
                    <a:lnTo>
                      <a:pt x="620" y="123"/>
                    </a:lnTo>
                    <a:lnTo>
                      <a:pt x="638" y="106"/>
                    </a:lnTo>
                    <a:lnTo>
                      <a:pt x="650" y="97"/>
                    </a:lnTo>
                    <a:lnTo>
                      <a:pt x="666" y="91"/>
                    </a:lnTo>
                    <a:lnTo>
                      <a:pt x="687" y="81"/>
                    </a:lnTo>
                    <a:lnTo>
                      <a:pt x="693" y="79"/>
                    </a:lnTo>
                    <a:lnTo>
                      <a:pt x="696" y="72"/>
                    </a:lnTo>
                    <a:lnTo>
                      <a:pt x="702" y="52"/>
                    </a:lnTo>
                    <a:lnTo>
                      <a:pt x="692" y="37"/>
                    </a:lnTo>
                    <a:lnTo>
                      <a:pt x="686" y="19"/>
                    </a:lnTo>
                    <a:lnTo>
                      <a:pt x="701" y="3"/>
                    </a:lnTo>
                    <a:lnTo>
                      <a:pt x="728" y="0"/>
                    </a:lnTo>
                    <a:lnTo>
                      <a:pt x="734" y="13"/>
                    </a:lnTo>
                    <a:lnTo>
                      <a:pt x="759" y="27"/>
                    </a:lnTo>
                    <a:lnTo>
                      <a:pt x="756" y="37"/>
                    </a:lnTo>
                    <a:lnTo>
                      <a:pt x="777" y="60"/>
                    </a:lnTo>
                    <a:lnTo>
                      <a:pt x="762" y="78"/>
                    </a:lnTo>
                    <a:lnTo>
                      <a:pt x="774" y="88"/>
                    </a:lnTo>
                    <a:lnTo>
                      <a:pt x="788" y="90"/>
                    </a:lnTo>
                    <a:lnTo>
                      <a:pt x="791" y="118"/>
                    </a:lnTo>
                    <a:lnTo>
                      <a:pt x="801" y="112"/>
                    </a:lnTo>
                    <a:lnTo>
                      <a:pt x="804" y="120"/>
                    </a:lnTo>
                    <a:lnTo>
                      <a:pt x="795" y="127"/>
                    </a:lnTo>
                    <a:lnTo>
                      <a:pt x="797" y="135"/>
                    </a:lnTo>
                    <a:lnTo>
                      <a:pt x="800" y="142"/>
                    </a:lnTo>
                    <a:lnTo>
                      <a:pt x="795" y="151"/>
                    </a:lnTo>
                    <a:lnTo>
                      <a:pt x="792" y="172"/>
                    </a:lnTo>
                    <a:lnTo>
                      <a:pt x="792" y="181"/>
                    </a:lnTo>
                    <a:lnTo>
                      <a:pt x="795" y="189"/>
                    </a:lnTo>
                    <a:lnTo>
                      <a:pt x="792" y="199"/>
                    </a:lnTo>
                    <a:lnTo>
                      <a:pt x="791" y="205"/>
                    </a:lnTo>
                    <a:lnTo>
                      <a:pt x="803" y="210"/>
                    </a:lnTo>
                    <a:lnTo>
                      <a:pt x="815" y="210"/>
                    </a:lnTo>
                    <a:lnTo>
                      <a:pt x="821" y="219"/>
                    </a:lnTo>
                    <a:lnTo>
                      <a:pt x="824" y="234"/>
                    </a:lnTo>
                    <a:lnTo>
                      <a:pt x="821" y="238"/>
                    </a:lnTo>
                    <a:lnTo>
                      <a:pt x="797" y="265"/>
                    </a:lnTo>
                    <a:lnTo>
                      <a:pt x="804" y="271"/>
                    </a:lnTo>
                    <a:lnTo>
                      <a:pt x="794" y="277"/>
                    </a:lnTo>
                    <a:lnTo>
                      <a:pt x="798" y="283"/>
                    </a:lnTo>
                    <a:lnTo>
                      <a:pt x="815" y="294"/>
                    </a:lnTo>
                    <a:lnTo>
                      <a:pt x="812" y="306"/>
                    </a:lnTo>
                    <a:lnTo>
                      <a:pt x="807" y="321"/>
                    </a:lnTo>
                    <a:lnTo>
                      <a:pt x="818" y="331"/>
                    </a:lnTo>
                    <a:lnTo>
                      <a:pt x="842" y="337"/>
                    </a:lnTo>
                    <a:lnTo>
                      <a:pt x="849" y="348"/>
                    </a:lnTo>
                    <a:lnTo>
                      <a:pt x="848" y="357"/>
                    </a:lnTo>
                    <a:lnTo>
                      <a:pt x="852" y="367"/>
                    </a:lnTo>
                    <a:lnTo>
                      <a:pt x="857" y="378"/>
                    </a:lnTo>
                    <a:lnTo>
                      <a:pt x="864" y="378"/>
                    </a:lnTo>
                    <a:lnTo>
                      <a:pt x="873" y="375"/>
                    </a:lnTo>
                    <a:lnTo>
                      <a:pt x="876" y="379"/>
                    </a:lnTo>
                    <a:lnTo>
                      <a:pt x="896" y="387"/>
                    </a:lnTo>
                    <a:lnTo>
                      <a:pt x="897" y="396"/>
                    </a:lnTo>
                    <a:lnTo>
                      <a:pt x="893" y="414"/>
                    </a:lnTo>
                    <a:lnTo>
                      <a:pt x="894" y="421"/>
                    </a:lnTo>
                    <a:lnTo>
                      <a:pt x="905" y="426"/>
                    </a:lnTo>
                    <a:lnTo>
                      <a:pt x="921" y="426"/>
                    </a:lnTo>
                    <a:lnTo>
                      <a:pt x="932" y="433"/>
                    </a:lnTo>
                    <a:lnTo>
                      <a:pt x="939" y="448"/>
                    </a:lnTo>
                    <a:lnTo>
                      <a:pt x="953" y="448"/>
                    </a:lnTo>
                    <a:lnTo>
                      <a:pt x="951" y="481"/>
                    </a:lnTo>
                    <a:lnTo>
                      <a:pt x="951" y="498"/>
                    </a:lnTo>
                    <a:lnTo>
                      <a:pt x="960" y="511"/>
                    </a:lnTo>
                    <a:lnTo>
                      <a:pt x="960" y="522"/>
                    </a:lnTo>
                    <a:lnTo>
                      <a:pt x="968" y="537"/>
                    </a:lnTo>
                    <a:lnTo>
                      <a:pt x="972" y="552"/>
                    </a:lnTo>
                    <a:lnTo>
                      <a:pt x="993" y="552"/>
                    </a:lnTo>
                    <a:lnTo>
                      <a:pt x="1002" y="571"/>
                    </a:lnTo>
                    <a:lnTo>
                      <a:pt x="1016" y="573"/>
                    </a:lnTo>
                    <a:lnTo>
                      <a:pt x="1013" y="583"/>
                    </a:lnTo>
                    <a:lnTo>
                      <a:pt x="1023" y="580"/>
                    </a:lnTo>
                    <a:lnTo>
                      <a:pt x="1034" y="580"/>
                    </a:lnTo>
                    <a:lnTo>
                      <a:pt x="1043" y="582"/>
                    </a:lnTo>
                    <a:lnTo>
                      <a:pt x="1052" y="573"/>
                    </a:lnTo>
                    <a:lnTo>
                      <a:pt x="1065" y="564"/>
                    </a:lnTo>
                    <a:lnTo>
                      <a:pt x="1068" y="568"/>
                    </a:lnTo>
                    <a:lnTo>
                      <a:pt x="1070" y="573"/>
                    </a:lnTo>
                    <a:lnTo>
                      <a:pt x="1074" y="583"/>
                    </a:lnTo>
                    <a:lnTo>
                      <a:pt x="1074" y="603"/>
                    </a:lnTo>
                    <a:lnTo>
                      <a:pt x="1070" y="613"/>
                    </a:lnTo>
                    <a:lnTo>
                      <a:pt x="1071" y="622"/>
                    </a:lnTo>
                    <a:lnTo>
                      <a:pt x="1091" y="622"/>
                    </a:lnTo>
                    <a:lnTo>
                      <a:pt x="1101" y="630"/>
                    </a:lnTo>
                    <a:lnTo>
                      <a:pt x="1106" y="639"/>
                    </a:lnTo>
                    <a:lnTo>
                      <a:pt x="1101" y="648"/>
                    </a:lnTo>
                    <a:lnTo>
                      <a:pt x="1101" y="652"/>
                    </a:lnTo>
                    <a:lnTo>
                      <a:pt x="1110" y="658"/>
                    </a:lnTo>
                    <a:lnTo>
                      <a:pt x="1112" y="672"/>
                    </a:lnTo>
                    <a:lnTo>
                      <a:pt x="1104" y="681"/>
                    </a:lnTo>
                    <a:lnTo>
                      <a:pt x="1101" y="705"/>
                    </a:lnTo>
                    <a:lnTo>
                      <a:pt x="1098" y="721"/>
                    </a:lnTo>
                    <a:lnTo>
                      <a:pt x="1091" y="726"/>
                    </a:lnTo>
                    <a:lnTo>
                      <a:pt x="1088" y="735"/>
                    </a:lnTo>
                    <a:lnTo>
                      <a:pt x="1098" y="751"/>
                    </a:lnTo>
                    <a:lnTo>
                      <a:pt x="1107" y="760"/>
                    </a:lnTo>
                    <a:lnTo>
                      <a:pt x="1116" y="760"/>
                    </a:lnTo>
                    <a:lnTo>
                      <a:pt x="1112" y="781"/>
                    </a:lnTo>
                    <a:lnTo>
                      <a:pt x="1107" y="789"/>
                    </a:lnTo>
                    <a:lnTo>
                      <a:pt x="1100" y="798"/>
                    </a:lnTo>
                    <a:lnTo>
                      <a:pt x="1094" y="807"/>
                    </a:lnTo>
                    <a:lnTo>
                      <a:pt x="1094" y="816"/>
                    </a:lnTo>
                    <a:lnTo>
                      <a:pt x="1094" y="835"/>
                    </a:lnTo>
                    <a:lnTo>
                      <a:pt x="1103" y="846"/>
                    </a:lnTo>
                    <a:lnTo>
                      <a:pt x="1103" y="856"/>
                    </a:lnTo>
                    <a:lnTo>
                      <a:pt x="1098" y="864"/>
                    </a:lnTo>
                    <a:lnTo>
                      <a:pt x="1091" y="856"/>
                    </a:lnTo>
                    <a:lnTo>
                      <a:pt x="1083" y="864"/>
                    </a:lnTo>
                    <a:lnTo>
                      <a:pt x="1086" y="868"/>
                    </a:lnTo>
                    <a:lnTo>
                      <a:pt x="1103" y="880"/>
                    </a:lnTo>
                    <a:lnTo>
                      <a:pt x="1103" y="889"/>
                    </a:lnTo>
                    <a:lnTo>
                      <a:pt x="1083" y="888"/>
                    </a:lnTo>
                    <a:lnTo>
                      <a:pt x="1074" y="894"/>
                    </a:lnTo>
                    <a:lnTo>
                      <a:pt x="1061" y="889"/>
                    </a:lnTo>
                    <a:lnTo>
                      <a:pt x="1049" y="906"/>
                    </a:lnTo>
                    <a:lnTo>
                      <a:pt x="1052" y="924"/>
                    </a:lnTo>
                    <a:lnTo>
                      <a:pt x="1050" y="934"/>
                    </a:lnTo>
                    <a:lnTo>
                      <a:pt x="1043" y="937"/>
                    </a:lnTo>
                    <a:lnTo>
                      <a:pt x="1040" y="943"/>
                    </a:lnTo>
                    <a:lnTo>
                      <a:pt x="1037" y="954"/>
                    </a:lnTo>
                    <a:lnTo>
                      <a:pt x="1032" y="963"/>
                    </a:lnTo>
                    <a:lnTo>
                      <a:pt x="1032" y="972"/>
                    </a:lnTo>
                    <a:lnTo>
                      <a:pt x="1020" y="975"/>
                    </a:lnTo>
                    <a:lnTo>
                      <a:pt x="1016" y="979"/>
                    </a:lnTo>
                    <a:lnTo>
                      <a:pt x="1010" y="991"/>
                    </a:lnTo>
                    <a:lnTo>
                      <a:pt x="998" y="985"/>
                    </a:lnTo>
                    <a:lnTo>
                      <a:pt x="990" y="993"/>
                    </a:lnTo>
                    <a:lnTo>
                      <a:pt x="968" y="984"/>
                    </a:lnTo>
                    <a:lnTo>
                      <a:pt x="965" y="987"/>
                    </a:lnTo>
                    <a:lnTo>
                      <a:pt x="959" y="996"/>
                    </a:lnTo>
                    <a:lnTo>
                      <a:pt x="953" y="999"/>
                    </a:lnTo>
                    <a:lnTo>
                      <a:pt x="936" y="1006"/>
                    </a:lnTo>
                    <a:lnTo>
                      <a:pt x="924" y="1011"/>
                    </a:lnTo>
                    <a:lnTo>
                      <a:pt x="902" y="1008"/>
                    </a:lnTo>
                    <a:lnTo>
                      <a:pt x="891" y="1011"/>
                    </a:lnTo>
                    <a:lnTo>
                      <a:pt x="891" y="1005"/>
                    </a:lnTo>
                    <a:lnTo>
                      <a:pt x="872" y="999"/>
                    </a:lnTo>
                    <a:lnTo>
                      <a:pt x="872" y="1003"/>
                    </a:lnTo>
                    <a:lnTo>
                      <a:pt x="866" y="1014"/>
                    </a:lnTo>
                    <a:lnTo>
                      <a:pt x="858" y="1008"/>
                    </a:lnTo>
                    <a:lnTo>
                      <a:pt x="851" y="1000"/>
                    </a:lnTo>
                    <a:lnTo>
                      <a:pt x="837" y="1009"/>
                    </a:lnTo>
                    <a:lnTo>
                      <a:pt x="819" y="1011"/>
                    </a:lnTo>
                    <a:lnTo>
                      <a:pt x="819" y="1021"/>
                    </a:lnTo>
                    <a:lnTo>
                      <a:pt x="819" y="1041"/>
                    </a:lnTo>
                    <a:lnTo>
                      <a:pt x="803" y="1039"/>
                    </a:lnTo>
                    <a:lnTo>
                      <a:pt x="798" y="1054"/>
                    </a:lnTo>
                    <a:lnTo>
                      <a:pt x="759" y="1041"/>
                    </a:lnTo>
                    <a:lnTo>
                      <a:pt x="759" y="1047"/>
                    </a:lnTo>
                    <a:lnTo>
                      <a:pt x="759" y="1054"/>
                    </a:lnTo>
                    <a:lnTo>
                      <a:pt x="749" y="1051"/>
                    </a:lnTo>
                    <a:lnTo>
                      <a:pt x="735" y="1060"/>
                    </a:lnTo>
                    <a:lnTo>
                      <a:pt x="738" y="1086"/>
                    </a:lnTo>
                    <a:lnTo>
                      <a:pt x="741" y="1102"/>
                    </a:lnTo>
                    <a:lnTo>
                      <a:pt x="738" y="1114"/>
                    </a:lnTo>
                    <a:lnTo>
                      <a:pt x="762" y="1104"/>
                    </a:lnTo>
                    <a:lnTo>
                      <a:pt x="768" y="1105"/>
                    </a:lnTo>
                    <a:lnTo>
                      <a:pt x="773" y="1114"/>
                    </a:lnTo>
                    <a:lnTo>
                      <a:pt x="768" y="1131"/>
                    </a:lnTo>
                    <a:lnTo>
                      <a:pt x="761" y="1135"/>
                    </a:lnTo>
                    <a:lnTo>
                      <a:pt x="764" y="1143"/>
                    </a:lnTo>
                    <a:lnTo>
                      <a:pt x="749" y="1147"/>
                    </a:lnTo>
                    <a:lnTo>
                      <a:pt x="738" y="1168"/>
                    </a:lnTo>
                    <a:lnTo>
                      <a:pt x="764" y="1182"/>
                    </a:lnTo>
                    <a:lnTo>
                      <a:pt x="783" y="1203"/>
                    </a:lnTo>
                    <a:lnTo>
                      <a:pt x="786" y="1219"/>
                    </a:lnTo>
                    <a:lnTo>
                      <a:pt x="791" y="1245"/>
                    </a:lnTo>
                    <a:lnTo>
                      <a:pt x="750" y="1278"/>
                    </a:lnTo>
                    <a:lnTo>
                      <a:pt x="747" y="1288"/>
                    </a:lnTo>
                    <a:lnTo>
                      <a:pt x="743" y="1294"/>
                    </a:lnTo>
                    <a:lnTo>
                      <a:pt x="764" y="1314"/>
                    </a:lnTo>
                    <a:lnTo>
                      <a:pt x="773" y="1327"/>
                    </a:lnTo>
                    <a:lnTo>
                      <a:pt x="777" y="1339"/>
                    </a:lnTo>
                    <a:lnTo>
                      <a:pt x="759" y="1357"/>
                    </a:lnTo>
                    <a:lnTo>
                      <a:pt x="797" y="1392"/>
                    </a:lnTo>
                    <a:lnTo>
                      <a:pt x="791" y="1404"/>
                    </a:lnTo>
                    <a:lnTo>
                      <a:pt x="815" y="1398"/>
                    </a:lnTo>
                    <a:lnTo>
                      <a:pt x="825" y="1371"/>
                    </a:lnTo>
                    <a:lnTo>
                      <a:pt x="843" y="1384"/>
                    </a:lnTo>
                    <a:lnTo>
                      <a:pt x="869" y="1393"/>
                    </a:lnTo>
                    <a:lnTo>
                      <a:pt x="888" y="1399"/>
                    </a:lnTo>
                    <a:lnTo>
                      <a:pt x="891" y="1414"/>
                    </a:lnTo>
                    <a:lnTo>
                      <a:pt x="903" y="1440"/>
                    </a:lnTo>
                    <a:lnTo>
                      <a:pt x="896" y="1449"/>
                    </a:lnTo>
                    <a:lnTo>
                      <a:pt x="914" y="1491"/>
                    </a:lnTo>
                    <a:lnTo>
                      <a:pt x="942" y="1492"/>
                    </a:lnTo>
                    <a:lnTo>
                      <a:pt x="942" y="1507"/>
                    </a:lnTo>
                    <a:lnTo>
                      <a:pt x="956" y="1512"/>
                    </a:lnTo>
                    <a:lnTo>
                      <a:pt x="968" y="1498"/>
                    </a:lnTo>
                    <a:lnTo>
                      <a:pt x="993" y="1489"/>
                    </a:lnTo>
                    <a:lnTo>
                      <a:pt x="996" y="1461"/>
                    </a:lnTo>
                    <a:lnTo>
                      <a:pt x="1001" y="1455"/>
                    </a:lnTo>
                    <a:lnTo>
                      <a:pt x="1008" y="1450"/>
                    </a:lnTo>
                    <a:lnTo>
                      <a:pt x="1014" y="1470"/>
                    </a:lnTo>
                    <a:lnTo>
                      <a:pt x="1032" y="1462"/>
                    </a:lnTo>
                    <a:lnTo>
                      <a:pt x="1046" y="1474"/>
                    </a:lnTo>
                    <a:close/>
                  </a:path>
                </a:pathLst>
              </a:custGeom>
              <a:solidFill>
                <a:sysClr val="window" lastClr="FFFFFF"/>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6" name="Freeform 298">
                <a:extLst>
                  <a:ext uri="{FF2B5EF4-FFF2-40B4-BE49-F238E27FC236}">
                    <a16:creationId xmlns:a16="http://schemas.microsoft.com/office/drawing/2014/main" id="{CB4B4E84-FCBE-ADFF-78C5-D86DB275B038}"/>
                  </a:ext>
                </a:extLst>
              </p:cNvPr>
              <p:cNvSpPr>
                <a:spLocks/>
              </p:cNvSpPr>
              <p:nvPr/>
            </p:nvSpPr>
            <p:spPr bwMode="auto">
              <a:xfrm>
                <a:off x="3346" y="608"/>
                <a:ext cx="481" cy="483"/>
              </a:xfrm>
              <a:custGeom>
                <a:avLst/>
                <a:gdLst>
                  <a:gd name="T0" fmla="*/ 0 w 1443"/>
                  <a:gd name="T1" fmla="*/ 0 h 1449"/>
                  <a:gd name="T2" fmla="*/ 0 w 1443"/>
                  <a:gd name="T3" fmla="*/ 0 h 1449"/>
                  <a:gd name="T4" fmla="*/ 0 w 1443"/>
                  <a:gd name="T5" fmla="*/ 0 h 1449"/>
                  <a:gd name="T6" fmla="*/ 0 w 1443"/>
                  <a:gd name="T7" fmla="*/ 0 h 1449"/>
                  <a:gd name="T8" fmla="*/ 0 w 1443"/>
                  <a:gd name="T9" fmla="*/ 0 h 1449"/>
                  <a:gd name="T10" fmla="*/ 0 w 1443"/>
                  <a:gd name="T11" fmla="*/ 0 h 1449"/>
                  <a:gd name="T12" fmla="*/ 0 w 1443"/>
                  <a:gd name="T13" fmla="*/ 0 h 1449"/>
                  <a:gd name="T14" fmla="*/ 0 w 1443"/>
                  <a:gd name="T15" fmla="*/ 0 h 1449"/>
                  <a:gd name="T16" fmla="*/ 0 w 1443"/>
                  <a:gd name="T17" fmla="*/ 0 h 1449"/>
                  <a:gd name="T18" fmla="*/ 0 w 1443"/>
                  <a:gd name="T19" fmla="*/ 0 h 1449"/>
                  <a:gd name="T20" fmla="*/ 0 w 1443"/>
                  <a:gd name="T21" fmla="*/ 0 h 1449"/>
                  <a:gd name="T22" fmla="*/ 0 w 1443"/>
                  <a:gd name="T23" fmla="*/ 0 h 1449"/>
                  <a:gd name="T24" fmla="*/ 0 w 1443"/>
                  <a:gd name="T25" fmla="*/ 0 h 1449"/>
                  <a:gd name="T26" fmla="*/ 0 w 1443"/>
                  <a:gd name="T27" fmla="*/ 0 h 1449"/>
                  <a:gd name="T28" fmla="*/ 0 w 1443"/>
                  <a:gd name="T29" fmla="*/ 0 h 1449"/>
                  <a:gd name="T30" fmla="*/ 0 w 1443"/>
                  <a:gd name="T31" fmla="*/ 0 h 1449"/>
                  <a:gd name="T32" fmla="*/ 0 w 1443"/>
                  <a:gd name="T33" fmla="*/ 0 h 1449"/>
                  <a:gd name="T34" fmla="*/ 0 w 1443"/>
                  <a:gd name="T35" fmla="*/ 0 h 1449"/>
                  <a:gd name="T36" fmla="*/ 0 w 1443"/>
                  <a:gd name="T37" fmla="*/ 0 h 1449"/>
                  <a:gd name="T38" fmla="*/ 0 w 1443"/>
                  <a:gd name="T39" fmla="*/ 0 h 1449"/>
                  <a:gd name="T40" fmla="*/ 0 w 1443"/>
                  <a:gd name="T41" fmla="*/ 0 h 1449"/>
                  <a:gd name="T42" fmla="*/ 0 w 1443"/>
                  <a:gd name="T43" fmla="*/ 0 h 1449"/>
                  <a:gd name="T44" fmla="*/ 0 w 1443"/>
                  <a:gd name="T45" fmla="*/ 0 h 1449"/>
                  <a:gd name="T46" fmla="*/ 0 w 1443"/>
                  <a:gd name="T47" fmla="*/ 0 h 1449"/>
                  <a:gd name="T48" fmla="*/ 0 w 1443"/>
                  <a:gd name="T49" fmla="*/ 0 h 1449"/>
                  <a:gd name="T50" fmla="*/ 0 w 1443"/>
                  <a:gd name="T51" fmla="*/ 0 h 1449"/>
                  <a:gd name="T52" fmla="*/ 0 w 1443"/>
                  <a:gd name="T53" fmla="*/ 0 h 1449"/>
                  <a:gd name="T54" fmla="*/ 0 w 1443"/>
                  <a:gd name="T55" fmla="*/ 0 h 1449"/>
                  <a:gd name="T56" fmla="*/ 0 w 1443"/>
                  <a:gd name="T57" fmla="*/ 0 h 1449"/>
                  <a:gd name="T58" fmla="*/ 0 w 1443"/>
                  <a:gd name="T59" fmla="*/ 0 h 1449"/>
                  <a:gd name="T60" fmla="*/ 0 w 1443"/>
                  <a:gd name="T61" fmla="*/ 0 h 1449"/>
                  <a:gd name="T62" fmla="*/ 0 w 1443"/>
                  <a:gd name="T63" fmla="*/ 0 h 1449"/>
                  <a:gd name="T64" fmla="*/ 0 w 1443"/>
                  <a:gd name="T65" fmla="*/ 0 h 1449"/>
                  <a:gd name="T66" fmla="*/ 0 w 1443"/>
                  <a:gd name="T67" fmla="*/ 0 h 1449"/>
                  <a:gd name="T68" fmla="*/ 0 w 1443"/>
                  <a:gd name="T69" fmla="*/ 0 h 1449"/>
                  <a:gd name="T70" fmla="*/ 0 w 1443"/>
                  <a:gd name="T71" fmla="*/ 0 h 1449"/>
                  <a:gd name="T72" fmla="*/ 0 w 1443"/>
                  <a:gd name="T73" fmla="*/ 0 h 1449"/>
                  <a:gd name="T74" fmla="*/ 0 w 1443"/>
                  <a:gd name="T75" fmla="*/ 0 h 1449"/>
                  <a:gd name="T76" fmla="*/ 0 w 1443"/>
                  <a:gd name="T77" fmla="*/ 0 h 1449"/>
                  <a:gd name="T78" fmla="*/ 0 w 1443"/>
                  <a:gd name="T79" fmla="*/ 0 h 1449"/>
                  <a:gd name="T80" fmla="*/ 0 w 1443"/>
                  <a:gd name="T81" fmla="*/ 0 h 1449"/>
                  <a:gd name="T82" fmla="*/ 0 w 1443"/>
                  <a:gd name="T83" fmla="*/ 0 h 1449"/>
                  <a:gd name="T84" fmla="*/ 0 w 1443"/>
                  <a:gd name="T85" fmla="*/ 0 h 1449"/>
                  <a:gd name="T86" fmla="*/ 0 w 1443"/>
                  <a:gd name="T87" fmla="*/ 0 h 1449"/>
                  <a:gd name="T88" fmla="*/ 0 w 1443"/>
                  <a:gd name="T89" fmla="*/ 0 h 1449"/>
                  <a:gd name="T90" fmla="*/ 0 w 1443"/>
                  <a:gd name="T91" fmla="*/ 0 h 1449"/>
                  <a:gd name="T92" fmla="*/ 0 w 1443"/>
                  <a:gd name="T93" fmla="*/ 0 h 1449"/>
                  <a:gd name="T94" fmla="*/ 0 w 1443"/>
                  <a:gd name="T95" fmla="*/ 0 h 1449"/>
                  <a:gd name="T96" fmla="*/ 0 w 1443"/>
                  <a:gd name="T97" fmla="*/ 0 h 1449"/>
                  <a:gd name="T98" fmla="*/ 0 w 1443"/>
                  <a:gd name="T99" fmla="*/ 0 h 1449"/>
                  <a:gd name="T100" fmla="*/ 0 w 1443"/>
                  <a:gd name="T101" fmla="*/ 0 h 1449"/>
                  <a:gd name="T102" fmla="*/ 0 w 1443"/>
                  <a:gd name="T103" fmla="*/ 0 h 1449"/>
                  <a:gd name="T104" fmla="*/ 0 w 1443"/>
                  <a:gd name="T105" fmla="*/ 0 h 1449"/>
                  <a:gd name="T106" fmla="*/ 0 w 1443"/>
                  <a:gd name="T107" fmla="*/ 0 h 1449"/>
                  <a:gd name="T108" fmla="*/ 0 w 1443"/>
                  <a:gd name="T109" fmla="*/ 0 h 1449"/>
                  <a:gd name="T110" fmla="*/ 0 w 1443"/>
                  <a:gd name="T111" fmla="*/ 0 h 1449"/>
                  <a:gd name="T112" fmla="*/ 0 w 1443"/>
                  <a:gd name="T113" fmla="*/ 0 h 1449"/>
                  <a:gd name="T114" fmla="*/ 0 w 1443"/>
                  <a:gd name="T115" fmla="*/ 0 h 1449"/>
                  <a:gd name="T116" fmla="*/ 0 w 1443"/>
                  <a:gd name="T117" fmla="*/ 0 h 14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43" h="1449">
                    <a:moveTo>
                      <a:pt x="269" y="1347"/>
                    </a:moveTo>
                    <a:lnTo>
                      <a:pt x="272" y="1346"/>
                    </a:lnTo>
                    <a:lnTo>
                      <a:pt x="275" y="1344"/>
                    </a:lnTo>
                    <a:lnTo>
                      <a:pt x="282" y="1343"/>
                    </a:lnTo>
                    <a:lnTo>
                      <a:pt x="282" y="1332"/>
                    </a:lnTo>
                    <a:lnTo>
                      <a:pt x="287" y="1326"/>
                    </a:lnTo>
                    <a:lnTo>
                      <a:pt x="267" y="1317"/>
                    </a:lnTo>
                    <a:lnTo>
                      <a:pt x="266" y="1311"/>
                    </a:lnTo>
                    <a:lnTo>
                      <a:pt x="263" y="1311"/>
                    </a:lnTo>
                    <a:lnTo>
                      <a:pt x="261" y="1307"/>
                    </a:lnTo>
                    <a:lnTo>
                      <a:pt x="264" y="1304"/>
                    </a:lnTo>
                    <a:lnTo>
                      <a:pt x="261" y="1299"/>
                    </a:lnTo>
                    <a:lnTo>
                      <a:pt x="258" y="1289"/>
                    </a:lnTo>
                    <a:lnTo>
                      <a:pt x="264" y="1283"/>
                    </a:lnTo>
                    <a:lnTo>
                      <a:pt x="264" y="1275"/>
                    </a:lnTo>
                    <a:lnTo>
                      <a:pt x="269" y="1272"/>
                    </a:lnTo>
                    <a:lnTo>
                      <a:pt x="282" y="1272"/>
                    </a:lnTo>
                    <a:lnTo>
                      <a:pt x="288" y="1266"/>
                    </a:lnTo>
                    <a:lnTo>
                      <a:pt x="297" y="1266"/>
                    </a:lnTo>
                    <a:lnTo>
                      <a:pt x="302" y="1265"/>
                    </a:lnTo>
                    <a:lnTo>
                      <a:pt x="306" y="1272"/>
                    </a:lnTo>
                    <a:lnTo>
                      <a:pt x="309" y="1274"/>
                    </a:lnTo>
                    <a:lnTo>
                      <a:pt x="314" y="1283"/>
                    </a:lnTo>
                    <a:lnTo>
                      <a:pt x="309" y="1286"/>
                    </a:lnTo>
                    <a:lnTo>
                      <a:pt x="317" y="1290"/>
                    </a:lnTo>
                    <a:lnTo>
                      <a:pt x="329" y="1292"/>
                    </a:lnTo>
                    <a:lnTo>
                      <a:pt x="330" y="1284"/>
                    </a:lnTo>
                    <a:lnTo>
                      <a:pt x="339" y="1262"/>
                    </a:lnTo>
                    <a:lnTo>
                      <a:pt x="333" y="1259"/>
                    </a:lnTo>
                    <a:lnTo>
                      <a:pt x="335" y="1251"/>
                    </a:lnTo>
                    <a:lnTo>
                      <a:pt x="336" y="1245"/>
                    </a:lnTo>
                    <a:lnTo>
                      <a:pt x="330" y="1244"/>
                    </a:lnTo>
                    <a:lnTo>
                      <a:pt x="323" y="1238"/>
                    </a:lnTo>
                    <a:lnTo>
                      <a:pt x="320" y="1241"/>
                    </a:lnTo>
                    <a:lnTo>
                      <a:pt x="315" y="1238"/>
                    </a:lnTo>
                    <a:lnTo>
                      <a:pt x="317" y="1230"/>
                    </a:lnTo>
                    <a:lnTo>
                      <a:pt x="317" y="1224"/>
                    </a:lnTo>
                    <a:lnTo>
                      <a:pt x="312" y="1206"/>
                    </a:lnTo>
                    <a:lnTo>
                      <a:pt x="315" y="1190"/>
                    </a:lnTo>
                    <a:lnTo>
                      <a:pt x="311" y="1184"/>
                    </a:lnTo>
                    <a:lnTo>
                      <a:pt x="309" y="1178"/>
                    </a:lnTo>
                    <a:lnTo>
                      <a:pt x="305" y="1166"/>
                    </a:lnTo>
                    <a:lnTo>
                      <a:pt x="308" y="1160"/>
                    </a:lnTo>
                    <a:lnTo>
                      <a:pt x="305" y="1152"/>
                    </a:lnTo>
                    <a:lnTo>
                      <a:pt x="299" y="1145"/>
                    </a:lnTo>
                    <a:lnTo>
                      <a:pt x="288" y="1133"/>
                    </a:lnTo>
                    <a:lnTo>
                      <a:pt x="275" y="1119"/>
                    </a:lnTo>
                    <a:lnTo>
                      <a:pt x="288" y="1112"/>
                    </a:lnTo>
                    <a:lnTo>
                      <a:pt x="291" y="1107"/>
                    </a:lnTo>
                    <a:lnTo>
                      <a:pt x="273" y="1107"/>
                    </a:lnTo>
                    <a:lnTo>
                      <a:pt x="269" y="1101"/>
                    </a:lnTo>
                    <a:lnTo>
                      <a:pt x="279" y="1071"/>
                    </a:lnTo>
                    <a:lnTo>
                      <a:pt x="288" y="1067"/>
                    </a:lnTo>
                    <a:lnTo>
                      <a:pt x="290" y="1059"/>
                    </a:lnTo>
                    <a:lnTo>
                      <a:pt x="288" y="1052"/>
                    </a:lnTo>
                    <a:lnTo>
                      <a:pt x="308" y="1040"/>
                    </a:lnTo>
                    <a:lnTo>
                      <a:pt x="309" y="1032"/>
                    </a:lnTo>
                    <a:lnTo>
                      <a:pt x="312" y="1022"/>
                    </a:lnTo>
                    <a:lnTo>
                      <a:pt x="318" y="1014"/>
                    </a:lnTo>
                    <a:lnTo>
                      <a:pt x="317" y="1007"/>
                    </a:lnTo>
                    <a:lnTo>
                      <a:pt x="317" y="999"/>
                    </a:lnTo>
                    <a:lnTo>
                      <a:pt x="314" y="1001"/>
                    </a:lnTo>
                    <a:lnTo>
                      <a:pt x="309" y="1001"/>
                    </a:lnTo>
                    <a:lnTo>
                      <a:pt x="306" y="1005"/>
                    </a:lnTo>
                    <a:lnTo>
                      <a:pt x="297" y="1004"/>
                    </a:lnTo>
                    <a:lnTo>
                      <a:pt x="293" y="1008"/>
                    </a:lnTo>
                    <a:lnTo>
                      <a:pt x="287" y="1014"/>
                    </a:lnTo>
                    <a:lnTo>
                      <a:pt x="285" y="1001"/>
                    </a:lnTo>
                    <a:lnTo>
                      <a:pt x="275" y="1004"/>
                    </a:lnTo>
                    <a:lnTo>
                      <a:pt x="282" y="992"/>
                    </a:lnTo>
                    <a:lnTo>
                      <a:pt x="282" y="983"/>
                    </a:lnTo>
                    <a:lnTo>
                      <a:pt x="290" y="965"/>
                    </a:lnTo>
                    <a:lnTo>
                      <a:pt x="288" y="959"/>
                    </a:lnTo>
                    <a:lnTo>
                      <a:pt x="276" y="959"/>
                    </a:lnTo>
                    <a:lnTo>
                      <a:pt x="272" y="953"/>
                    </a:lnTo>
                    <a:lnTo>
                      <a:pt x="272" y="941"/>
                    </a:lnTo>
                    <a:lnTo>
                      <a:pt x="269" y="921"/>
                    </a:lnTo>
                    <a:lnTo>
                      <a:pt x="276" y="917"/>
                    </a:lnTo>
                    <a:lnTo>
                      <a:pt x="275" y="911"/>
                    </a:lnTo>
                    <a:lnTo>
                      <a:pt x="266" y="911"/>
                    </a:lnTo>
                    <a:lnTo>
                      <a:pt x="263" y="908"/>
                    </a:lnTo>
                    <a:lnTo>
                      <a:pt x="263" y="897"/>
                    </a:lnTo>
                    <a:lnTo>
                      <a:pt x="254" y="888"/>
                    </a:lnTo>
                    <a:lnTo>
                      <a:pt x="266" y="875"/>
                    </a:lnTo>
                    <a:lnTo>
                      <a:pt x="264" y="860"/>
                    </a:lnTo>
                    <a:lnTo>
                      <a:pt x="248" y="845"/>
                    </a:lnTo>
                    <a:lnTo>
                      <a:pt x="252" y="836"/>
                    </a:lnTo>
                    <a:lnTo>
                      <a:pt x="258" y="827"/>
                    </a:lnTo>
                    <a:lnTo>
                      <a:pt x="269" y="815"/>
                    </a:lnTo>
                    <a:lnTo>
                      <a:pt x="276" y="804"/>
                    </a:lnTo>
                    <a:lnTo>
                      <a:pt x="287" y="800"/>
                    </a:lnTo>
                    <a:lnTo>
                      <a:pt x="291" y="795"/>
                    </a:lnTo>
                    <a:lnTo>
                      <a:pt x="287" y="774"/>
                    </a:lnTo>
                    <a:lnTo>
                      <a:pt x="279" y="773"/>
                    </a:lnTo>
                    <a:lnTo>
                      <a:pt x="273" y="782"/>
                    </a:lnTo>
                    <a:lnTo>
                      <a:pt x="257" y="791"/>
                    </a:lnTo>
                    <a:lnTo>
                      <a:pt x="252" y="780"/>
                    </a:lnTo>
                    <a:lnTo>
                      <a:pt x="258" y="770"/>
                    </a:lnTo>
                    <a:lnTo>
                      <a:pt x="264" y="759"/>
                    </a:lnTo>
                    <a:lnTo>
                      <a:pt x="261" y="741"/>
                    </a:lnTo>
                    <a:lnTo>
                      <a:pt x="263" y="738"/>
                    </a:lnTo>
                    <a:lnTo>
                      <a:pt x="276" y="741"/>
                    </a:lnTo>
                    <a:lnTo>
                      <a:pt x="288" y="732"/>
                    </a:lnTo>
                    <a:lnTo>
                      <a:pt x="290" y="731"/>
                    </a:lnTo>
                    <a:lnTo>
                      <a:pt x="284" y="723"/>
                    </a:lnTo>
                    <a:lnTo>
                      <a:pt x="288" y="711"/>
                    </a:lnTo>
                    <a:lnTo>
                      <a:pt x="297" y="707"/>
                    </a:lnTo>
                    <a:lnTo>
                      <a:pt x="302" y="707"/>
                    </a:lnTo>
                    <a:lnTo>
                      <a:pt x="306" y="713"/>
                    </a:lnTo>
                    <a:lnTo>
                      <a:pt x="317" y="714"/>
                    </a:lnTo>
                    <a:lnTo>
                      <a:pt x="324" y="711"/>
                    </a:lnTo>
                    <a:lnTo>
                      <a:pt x="321" y="696"/>
                    </a:lnTo>
                    <a:lnTo>
                      <a:pt x="315" y="686"/>
                    </a:lnTo>
                    <a:lnTo>
                      <a:pt x="302" y="680"/>
                    </a:lnTo>
                    <a:lnTo>
                      <a:pt x="300" y="671"/>
                    </a:lnTo>
                    <a:lnTo>
                      <a:pt x="299" y="666"/>
                    </a:lnTo>
                    <a:lnTo>
                      <a:pt x="293" y="660"/>
                    </a:lnTo>
                    <a:lnTo>
                      <a:pt x="293" y="654"/>
                    </a:lnTo>
                    <a:lnTo>
                      <a:pt x="290" y="647"/>
                    </a:lnTo>
                    <a:lnTo>
                      <a:pt x="284" y="642"/>
                    </a:lnTo>
                    <a:lnTo>
                      <a:pt x="278" y="612"/>
                    </a:lnTo>
                    <a:lnTo>
                      <a:pt x="275" y="603"/>
                    </a:lnTo>
                    <a:lnTo>
                      <a:pt x="275" y="600"/>
                    </a:lnTo>
                    <a:lnTo>
                      <a:pt x="273" y="585"/>
                    </a:lnTo>
                    <a:lnTo>
                      <a:pt x="267" y="575"/>
                    </a:lnTo>
                    <a:lnTo>
                      <a:pt x="269" y="569"/>
                    </a:lnTo>
                    <a:lnTo>
                      <a:pt x="264" y="552"/>
                    </a:lnTo>
                    <a:lnTo>
                      <a:pt x="255" y="546"/>
                    </a:lnTo>
                    <a:lnTo>
                      <a:pt x="249" y="543"/>
                    </a:lnTo>
                    <a:lnTo>
                      <a:pt x="249" y="537"/>
                    </a:lnTo>
                    <a:lnTo>
                      <a:pt x="245" y="536"/>
                    </a:lnTo>
                    <a:lnTo>
                      <a:pt x="245" y="527"/>
                    </a:lnTo>
                    <a:lnTo>
                      <a:pt x="239" y="521"/>
                    </a:lnTo>
                    <a:lnTo>
                      <a:pt x="231" y="513"/>
                    </a:lnTo>
                    <a:lnTo>
                      <a:pt x="227" y="513"/>
                    </a:lnTo>
                    <a:lnTo>
                      <a:pt x="216" y="507"/>
                    </a:lnTo>
                    <a:lnTo>
                      <a:pt x="194" y="497"/>
                    </a:lnTo>
                    <a:lnTo>
                      <a:pt x="186" y="492"/>
                    </a:lnTo>
                    <a:lnTo>
                      <a:pt x="174" y="480"/>
                    </a:lnTo>
                    <a:lnTo>
                      <a:pt x="168" y="470"/>
                    </a:lnTo>
                    <a:lnTo>
                      <a:pt x="158" y="465"/>
                    </a:lnTo>
                    <a:lnTo>
                      <a:pt x="159" y="453"/>
                    </a:lnTo>
                    <a:lnTo>
                      <a:pt x="147" y="450"/>
                    </a:lnTo>
                    <a:lnTo>
                      <a:pt x="138" y="438"/>
                    </a:lnTo>
                    <a:lnTo>
                      <a:pt x="122" y="429"/>
                    </a:lnTo>
                    <a:lnTo>
                      <a:pt x="119" y="420"/>
                    </a:lnTo>
                    <a:lnTo>
                      <a:pt x="114" y="419"/>
                    </a:lnTo>
                    <a:lnTo>
                      <a:pt x="113" y="413"/>
                    </a:lnTo>
                    <a:lnTo>
                      <a:pt x="96" y="401"/>
                    </a:lnTo>
                    <a:lnTo>
                      <a:pt x="90" y="404"/>
                    </a:lnTo>
                    <a:lnTo>
                      <a:pt x="87" y="398"/>
                    </a:lnTo>
                    <a:lnTo>
                      <a:pt x="84" y="398"/>
                    </a:lnTo>
                    <a:lnTo>
                      <a:pt x="78" y="393"/>
                    </a:lnTo>
                    <a:lnTo>
                      <a:pt x="74" y="384"/>
                    </a:lnTo>
                    <a:lnTo>
                      <a:pt x="63" y="383"/>
                    </a:lnTo>
                    <a:lnTo>
                      <a:pt x="60" y="377"/>
                    </a:lnTo>
                    <a:lnTo>
                      <a:pt x="65" y="369"/>
                    </a:lnTo>
                    <a:lnTo>
                      <a:pt x="63" y="362"/>
                    </a:lnTo>
                    <a:lnTo>
                      <a:pt x="66" y="356"/>
                    </a:lnTo>
                    <a:lnTo>
                      <a:pt x="62" y="348"/>
                    </a:lnTo>
                    <a:lnTo>
                      <a:pt x="57" y="347"/>
                    </a:lnTo>
                    <a:lnTo>
                      <a:pt x="48" y="348"/>
                    </a:lnTo>
                    <a:lnTo>
                      <a:pt x="39" y="344"/>
                    </a:lnTo>
                    <a:lnTo>
                      <a:pt x="24" y="360"/>
                    </a:lnTo>
                    <a:lnTo>
                      <a:pt x="17" y="357"/>
                    </a:lnTo>
                    <a:lnTo>
                      <a:pt x="12" y="353"/>
                    </a:lnTo>
                    <a:lnTo>
                      <a:pt x="6" y="357"/>
                    </a:lnTo>
                    <a:lnTo>
                      <a:pt x="0" y="351"/>
                    </a:lnTo>
                    <a:lnTo>
                      <a:pt x="0" y="345"/>
                    </a:lnTo>
                    <a:lnTo>
                      <a:pt x="30" y="321"/>
                    </a:lnTo>
                    <a:lnTo>
                      <a:pt x="56" y="300"/>
                    </a:lnTo>
                    <a:lnTo>
                      <a:pt x="68" y="282"/>
                    </a:lnTo>
                    <a:lnTo>
                      <a:pt x="74" y="263"/>
                    </a:lnTo>
                    <a:lnTo>
                      <a:pt x="95" y="213"/>
                    </a:lnTo>
                    <a:lnTo>
                      <a:pt x="111" y="183"/>
                    </a:lnTo>
                    <a:lnTo>
                      <a:pt x="141" y="170"/>
                    </a:lnTo>
                    <a:lnTo>
                      <a:pt x="156" y="167"/>
                    </a:lnTo>
                    <a:lnTo>
                      <a:pt x="155" y="177"/>
                    </a:lnTo>
                    <a:lnTo>
                      <a:pt x="165" y="188"/>
                    </a:lnTo>
                    <a:lnTo>
                      <a:pt x="182" y="195"/>
                    </a:lnTo>
                    <a:lnTo>
                      <a:pt x="192" y="198"/>
                    </a:lnTo>
                    <a:lnTo>
                      <a:pt x="216" y="210"/>
                    </a:lnTo>
                    <a:lnTo>
                      <a:pt x="227" y="215"/>
                    </a:lnTo>
                    <a:lnTo>
                      <a:pt x="234" y="215"/>
                    </a:lnTo>
                    <a:lnTo>
                      <a:pt x="234" y="210"/>
                    </a:lnTo>
                    <a:lnTo>
                      <a:pt x="225" y="207"/>
                    </a:lnTo>
                    <a:lnTo>
                      <a:pt x="228" y="201"/>
                    </a:lnTo>
                    <a:lnTo>
                      <a:pt x="215" y="204"/>
                    </a:lnTo>
                    <a:lnTo>
                      <a:pt x="212" y="198"/>
                    </a:lnTo>
                    <a:lnTo>
                      <a:pt x="222" y="194"/>
                    </a:lnTo>
                    <a:lnTo>
                      <a:pt x="222" y="192"/>
                    </a:lnTo>
                    <a:lnTo>
                      <a:pt x="209" y="189"/>
                    </a:lnTo>
                    <a:lnTo>
                      <a:pt x="204" y="183"/>
                    </a:lnTo>
                    <a:lnTo>
                      <a:pt x="207" y="182"/>
                    </a:lnTo>
                    <a:lnTo>
                      <a:pt x="228" y="185"/>
                    </a:lnTo>
                    <a:lnTo>
                      <a:pt x="231" y="179"/>
                    </a:lnTo>
                    <a:lnTo>
                      <a:pt x="212" y="174"/>
                    </a:lnTo>
                    <a:lnTo>
                      <a:pt x="195" y="173"/>
                    </a:lnTo>
                    <a:lnTo>
                      <a:pt x="177" y="137"/>
                    </a:lnTo>
                    <a:lnTo>
                      <a:pt x="171" y="149"/>
                    </a:lnTo>
                    <a:lnTo>
                      <a:pt x="170" y="138"/>
                    </a:lnTo>
                    <a:lnTo>
                      <a:pt x="162" y="134"/>
                    </a:lnTo>
                    <a:lnTo>
                      <a:pt x="165" y="125"/>
                    </a:lnTo>
                    <a:lnTo>
                      <a:pt x="164" y="120"/>
                    </a:lnTo>
                    <a:lnTo>
                      <a:pt x="147" y="117"/>
                    </a:lnTo>
                    <a:lnTo>
                      <a:pt x="135" y="102"/>
                    </a:lnTo>
                    <a:lnTo>
                      <a:pt x="135" y="78"/>
                    </a:lnTo>
                    <a:lnTo>
                      <a:pt x="140" y="44"/>
                    </a:lnTo>
                    <a:lnTo>
                      <a:pt x="149" y="8"/>
                    </a:lnTo>
                    <a:lnTo>
                      <a:pt x="165" y="0"/>
                    </a:lnTo>
                    <a:lnTo>
                      <a:pt x="186" y="3"/>
                    </a:lnTo>
                    <a:lnTo>
                      <a:pt x="210" y="35"/>
                    </a:lnTo>
                    <a:lnTo>
                      <a:pt x="221" y="33"/>
                    </a:lnTo>
                    <a:lnTo>
                      <a:pt x="228" y="39"/>
                    </a:lnTo>
                    <a:lnTo>
                      <a:pt x="248" y="36"/>
                    </a:lnTo>
                    <a:lnTo>
                      <a:pt x="252" y="32"/>
                    </a:lnTo>
                    <a:lnTo>
                      <a:pt x="263" y="24"/>
                    </a:lnTo>
                    <a:lnTo>
                      <a:pt x="275" y="26"/>
                    </a:lnTo>
                    <a:lnTo>
                      <a:pt x="284" y="15"/>
                    </a:lnTo>
                    <a:lnTo>
                      <a:pt x="306" y="9"/>
                    </a:lnTo>
                    <a:lnTo>
                      <a:pt x="317" y="5"/>
                    </a:lnTo>
                    <a:lnTo>
                      <a:pt x="335" y="11"/>
                    </a:lnTo>
                    <a:lnTo>
                      <a:pt x="350" y="21"/>
                    </a:lnTo>
                    <a:lnTo>
                      <a:pt x="360" y="29"/>
                    </a:lnTo>
                    <a:lnTo>
                      <a:pt x="369" y="30"/>
                    </a:lnTo>
                    <a:lnTo>
                      <a:pt x="384" y="41"/>
                    </a:lnTo>
                    <a:lnTo>
                      <a:pt x="389" y="50"/>
                    </a:lnTo>
                    <a:lnTo>
                      <a:pt x="395" y="59"/>
                    </a:lnTo>
                    <a:lnTo>
                      <a:pt x="411" y="57"/>
                    </a:lnTo>
                    <a:lnTo>
                      <a:pt x="417" y="63"/>
                    </a:lnTo>
                    <a:lnTo>
                      <a:pt x="431" y="65"/>
                    </a:lnTo>
                    <a:lnTo>
                      <a:pt x="435" y="53"/>
                    </a:lnTo>
                    <a:lnTo>
                      <a:pt x="449" y="42"/>
                    </a:lnTo>
                    <a:lnTo>
                      <a:pt x="450" y="42"/>
                    </a:lnTo>
                    <a:lnTo>
                      <a:pt x="458" y="42"/>
                    </a:lnTo>
                    <a:lnTo>
                      <a:pt x="464" y="50"/>
                    </a:lnTo>
                    <a:lnTo>
                      <a:pt x="462" y="51"/>
                    </a:lnTo>
                    <a:lnTo>
                      <a:pt x="465" y="57"/>
                    </a:lnTo>
                    <a:lnTo>
                      <a:pt x="464" y="62"/>
                    </a:lnTo>
                    <a:lnTo>
                      <a:pt x="444" y="75"/>
                    </a:lnTo>
                    <a:lnTo>
                      <a:pt x="449" y="90"/>
                    </a:lnTo>
                    <a:lnTo>
                      <a:pt x="455" y="92"/>
                    </a:lnTo>
                    <a:lnTo>
                      <a:pt x="456" y="87"/>
                    </a:lnTo>
                    <a:lnTo>
                      <a:pt x="462" y="92"/>
                    </a:lnTo>
                    <a:lnTo>
                      <a:pt x="470" y="98"/>
                    </a:lnTo>
                    <a:lnTo>
                      <a:pt x="494" y="111"/>
                    </a:lnTo>
                    <a:lnTo>
                      <a:pt x="519" y="117"/>
                    </a:lnTo>
                    <a:lnTo>
                      <a:pt x="528" y="120"/>
                    </a:lnTo>
                    <a:lnTo>
                      <a:pt x="537" y="131"/>
                    </a:lnTo>
                    <a:lnTo>
                      <a:pt x="546" y="132"/>
                    </a:lnTo>
                    <a:lnTo>
                      <a:pt x="548" y="140"/>
                    </a:lnTo>
                    <a:lnTo>
                      <a:pt x="542" y="147"/>
                    </a:lnTo>
                    <a:lnTo>
                      <a:pt x="543" y="153"/>
                    </a:lnTo>
                    <a:lnTo>
                      <a:pt x="549" y="159"/>
                    </a:lnTo>
                    <a:lnTo>
                      <a:pt x="555" y="177"/>
                    </a:lnTo>
                    <a:lnTo>
                      <a:pt x="558" y="179"/>
                    </a:lnTo>
                    <a:lnTo>
                      <a:pt x="558" y="183"/>
                    </a:lnTo>
                    <a:lnTo>
                      <a:pt x="560" y="195"/>
                    </a:lnTo>
                    <a:lnTo>
                      <a:pt x="569" y="192"/>
                    </a:lnTo>
                    <a:lnTo>
                      <a:pt x="570" y="186"/>
                    </a:lnTo>
                    <a:lnTo>
                      <a:pt x="579" y="191"/>
                    </a:lnTo>
                    <a:lnTo>
                      <a:pt x="588" y="179"/>
                    </a:lnTo>
                    <a:lnTo>
                      <a:pt x="599" y="180"/>
                    </a:lnTo>
                    <a:lnTo>
                      <a:pt x="603" y="191"/>
                    </a:lnTo>
                    <a:lnTo>
                      <a:pt x="611" y="203"/>
                    </a:lnTo>
                    <a:lnTo>
                      <a:pt x="614" y="203"/>
                    </a:lnTo>
                    <a:lnTo>
                      <a:pt x="623" y="191"/>
                    </a:lnTo>
                    <a:lnTo>
                      <a:pt x="630" y="180"/>
                    </a:lnTo>
                    <a:lnTo>
                      <a:pt x="639" y="180"/>
                    </a:lnTo>
                    <a:lnTo>
                      <a:pt x="654" y="179"/>
                    </a:lnTo>
                    <a:lnTo>
                      <a:pt x="660" y="174"/>
                    </a:lnTo>
                    <a:lnTo>
                      <a:pt x="668" y="174"/>
                    </a:lnTo>
                    <a:lnTo>
                      <a:pt x="669" y="180"/>
                    </a:lnTo>
                    <a:lnTo>
                      <a:pt x="674" y="183"/>
                    </a:lnTo>
                    <a:lnTo>
                      <a:pt x="681" y="182"/>
                    </a:lnTo>
                    <a:lnTo>
                      <a:pt x="690" y="176"/>
                    </a:lnTo>
                    <a:lnTo>
                      <a:pt x="707" y="164"/>
                    </a:lnTo>
                    <a:lnTo>
                      <a:pt x="719" y="173"/>
                    </a:lnTo>
                    <a:lnTo>
                      <a:pt x="723" y="173"/>
                    </a:lnTo>
                    <a:lnTo>
                      <a:pt x="732" y="174"/>
                    </a:lnTo>
                    <a:lnTo>
                      <a:pt x="740" y="168"/>
                    </a:lnTo>
                    <a:lnTo>
                      <a:pt x="750" y="171"/>
                    </a:lnTo>
                    <a:lnTo>
                      <a:pt x="752" y="161"/>
                    </a:lnTo>
                    <a:lnTo>
                      <a:pt x="746" y="156"/>
                    </a:lnTo>
                    <a:lnTo>
                      <a:pt x="744" y="153"/>
                    </a:lnTo>
                    <a:lnTo>
                      <a:pt x="755" y="147"/>
                    </a:lnTo>
                    <a:lnTo>
                      <a:pt x="761" y="153"/>
                    </a:lnTo>
                    <a:lnTo>
                      <a:pt x="777" y="176"/>
                    </a:lnTo>
                    <a:lnTo>
                      <a:pt x="783" y="182"/>
                    </a:lnTo>
                    <a:lnTo>
                      <a:pt x="791" y="182"/>
                    </a:lnTo>
                    <a:lnTo>
                      <a:pt x="791" y="177"/>
                    </a:lnTo>
                    <a:lnTo>
                      <a:pt x="794" y="165"/>
                    </a:lnTo>
                    <a:lnTo>
                      <a:pt x="801" y="159"/>
                    </a:lnTo>
                    <a:lnTo>
                      <a:pt x="809" y="158"/>
                    </a:lnTo>
                    <a:lnTo>
                      <a:pt x="815" y="152"/>
                    </a:lnTo>
                    <a:lnTo>
                      <a:pt x="824" y="156"/>
                    </a:lnTo>
                    <a:lnTo>
                      <a:pt x="843" y="156"/>
                    </a:lnTo>
                    <a:lnTo>
                      <a:pt x="855" y="156"/>
                    </a:lnTo>
                    <a:lnTo>
                      <a:pt x="858" y="167"/>
                    </a:lnTo>
                    <a:lnTo>
                      <a:pt x="869" y="180"/>
                    </a:lnTo>
                    <a:lnTo>
                      <a:pt x="882" y="183"/>
                    </a:lnTo>
                    <a:lnTo>
                      <a:pt x="885" y="194"/>
                    </a:lnTo>
                    <a:lnTo>
                      <a:pt x="887" y="200"/>
                    </a:lnTo>
                    <a:lnTo>
                      <a:pt x="878" y="207"/>
                    </a:lnTo>
                    <a:lnTo>
                      <a:pt x="870" y="209"/>
                    </a:lnTo>
                    <a:lnTo>
                      <a:pt x="849" y="218"/>
                    </a:lnTo>
                    <a:lnTo>
                      <a:pt x="830" y="224"/>
                    </a:lnTo>
                    <a:lnTo>
                      <a:pt x="827" y="231"/>
                    </a:lnTo>
                    <a:lnTo>
                      <a:pt x="818" y="236"/>
                    </a:lnTo>
                    <a:lnTo>
                      <a:pt x="809" y="243"/>
                    </a:lnTo>
                    <a:lnTo>
                      <a:pt x="798" y="291"/>
                    </a:lnTo>
                    <a:lnTo>
                      <a:pt x="800" y="300"/>
                    </a:lnTo>
                    <a:lnTo>
                      <a:pt x="812" y="302"/>
                    </a:lnTo>
                    <a:lnTo>
                      <a:pt x="821" y="308"/>
                    </a:lnTo>
                    <a:lnTo>
                      <a:pt x="822" y="314"/>
                    </a:lnTo>
                    <a:lnTo>
                      <a:pt x="830" y="326"/>
                    </a:lnTo>
                    <a:lnTo>
                      <a:pt x="834" y="330"/>
                    </a:lnTo>
                    <a:lnTo>
                      <a:pt x="836" y="327"/>
                    </a:lnTo>
                    <a:lnTo>
                      <a:pt x="837" y="320"/>
                    </a:lnTo>
                    <a:lnTo>
                      <a:pt x="840" y="308"/>
                    </a:lnTo>
                    <a:lnTo>
                      <a:pt x="848" y="290"/>
                    </a:lnTo>
                    <a:lnTo>
                      <a:pt x="849" y="284"/>
                    </a:lnTo>
                    <a:lnTo>
                      <a:pt x="851" y="281"/>
                    </a:lnTo>
                    <a:lnTo>
                      <a:pt x="846" y="273"/>
                    </a:lnTo>
                    <a:lnTo>
                      <a:pt x="852" y="267"/>
                    </a:lnTo>
                    <a:lnTo>
                      <a:pt x="864" y="273"/>
                    </a:lnTo>
                    <a:lnTo>
                      <a:pt x="873" y="267"/>
                    </a:lnTo>
                    <a:lnTo>
                      <a:pt x="878" y="266"/>
                    </a:lnTo>
                    <a:lnTo>
                      <a:pt x="891" y="267"/>
                    </a:lnTo>
                    <a:lnTo>
                      <a:pt x="896" y="269"/>
                    </a:lnTo>
                    <a:lnTo>
                      <a:pt x="906" y="272"/>
                    </a:lnTo>
                    <a:lnTo>
                      <a:pt x="917" y="288"/>
                    </a:lnTo>
                    <a:lnTo>
                      <a:pt x="926" y="287"/>
                    </a:lnTo>
                    <a:lnTo>
                      <a:pt x="932" y="282"/>
                    </a:lnTo>
                    <a:lnTo>
                      <a:pt x="932" y="266"/>
                    </a:lnTo>
                    <a:lnTo>
                      <a:pt x="933" y="263"/>
                    </a:lnTo>
                    <a:lnTo>
                      <a:pt x="942" y="267"/>
                    </a:lnTo>
                    <a:lnTo>
                      <a:pt x="950" y="264"/>
                    </a:lnTo>
                    <a:lnTo>
                      <a:pt x="954" y="269"/>
                    </a:lnTo>
                    <a:lnTo>
                      <a:pt x="950" y="278"/>
                    </a:lnTo>
                    <a:lnTo>
                      <a:pt x="948" y="284"/>
                    </a:lnTo>
                    <a:lnTo>
                      <a:pt x="947" y="290"/>
                    </a:lnTo>
                    <a:lnTo>
                      <a:pt x="954" y="293"/>
                    </a:lnTo>
                    <a:lnTo>
                      <a:pt x="966" y="296"/>
                    </a:lnTo>
                    <a:lnTo>
                      <a:pt x="983" y="299"/>
                    </a:lnTo>
                    <a:lnTo>
                      <a:pt x="992" y="302"/>
                    </a:lnTo>
                    <a:lnTo>
                      <a:pt x="999" y="306"/>
                    </a:lnTo>
                    <a:lnTo>
                      <a:pt x="1004" y="311"/>
                    </a:lnTo>
                    <a:lnTo>
                      <a:pt x="1010" y="309"/>
                    </a:lnTo>
                    <a:lnTo>
                      <a:pt x="1023" y="315"/>
                    </a:lnTo>
                    <a:lnTo>
                      <a:pt x="1040" y="315"/>
                    </a:lnTo>
                    <a:lnTo>
                      <a:pt x="1044" y="321"/>
                    </a:lnTo>
                    <a:lnTo>
                      <a:pt x="1049" y="324"/>
                    </a:lnTo>
                    <a:lnTo>
                      <a:pt x="1052" y="324"/>
                    </a:lnTo>
                    <a:lnTo>
                      <a:pt x="1055" y="320"/>
                    </a:lnTo>
                    <a:lnTo>
                      <a:pt x="1050" y="309"/>
                    </a:lnTo>
                    <a:lnTo>
                      <a:pt x="1050" y="302"/>
                    </a:lnTo>
                    <a:lnTo>
                      <a:pt x="1058" y="297"/>
                    </a:lnTo>
                    <a:lnTo>
                      <a:pt x="1052" y="279"/>
                    </a:lnTo>
                    <a:lnTo>
                      <a:pt x="1071" y="282"/>
                    </a:lnTo>
                    <a:lnTo>
                      <a:pt x="1091" y="293"/>
                    </a:lnTo>
                    <a:lnTo>
                      <a:pt x="1088" y="294"/>
                    </a:lnTo>
                    <a:lnTo>
                      <a:pt x="1098" y="299"/>
                    </a:lnTo>
                    <a:lnTo>
                      <a:pt x="1112" y="296"/>
                    </a:lnTo>
                    <a:lnTo>
                      <a:pt x="1113" y="303"/>
                    </a:lnTo>
                    <a:lnTo>
                      <a:pt x="1112" y="312"/>
                    </a:lnTo>
                    <a:lnTo>
                      <a:pt x="1109" y="326"/>
                    </a:lnTo>
                    <a:lnTo>
                      <a:pt x="1100" y="342"/>
                    </a:lnTo>
                    <a:lnTo>
                      <a:pt x="1097" y="354"/>
                    </a:lnTo>
                    <a:lnTo>
                      <a:pt x="1089" y="362"/>
                    </a:lnTo>
                    <a:lnTo>
                      <a:pt x="1077" y="368"/>
                    </a:lnTo>
                    <a:lnTo>
                      <a:pt x="1080" y="372"/>
                    </a:lnTo>
                    <a:lnTo>
                      <a:pt x="1089" y="381"/>
                    </a:lnTo>
                    <a:lnTo>
                      <a:pt x="1094" y="384"/>
                    </a:lnTo>
                    <a:lnTo>
                      <a:pt x="1109" y="377"/>
                    </a:lnTo>
                    <a:lnTo>
                      <a:pt x="1119" y="365"/>
                    </a:lnTo>
                    <a:lnTo>
                      <a:pt x="1124" y="365"/>
                    </a:lnTo>
                    <a:lnTo>
                      <a:pt x="1133" y="351"/>
                    </a:lnTo>
                    <a:lnTo>
                      <a:pt x="1137" y="353"/>
                    </a:lnTo>
                    <a:lnTo>
                      <a:pt x="1146" y="347"/>
                    </a:lnTo>
                    <a:lnTo>
                      <a:pt x="1151" y="350"/>
                    </a:lnTo>
                    <a:lnTo>
                      <a:pt x="1158" y="341"/>
                    </a:lnTo>
                    <a:lnTo>
                      <a:pt x="1175" y="341"/>
                    </a:lnTo>
                    <a:lnTo>
                      <a:pt x="1175" y="357"/>
                    </a:lnTo>
                    <a:lnTo>
                      <a:pt x="1191" y="374"/>
                    </a:lnTo>
                    <a:lnTo>
                      <a:pt x="1187" y="381"/>
                    </a:lnTo>
                    <a:lnTo>
                      <a:pt x="1182" y="387"/>
                    </a:lnTo>
                    <a:lnTo>
                      <a:pt x="1172" y="386"/>
                    </a:lnTo>
                    <a:lnTo>
                      <a:pt x="1169" y="392"/>
                    </a:lnTo>
                    <a:lnTo>
                      <a:pt x="1172" y="398"/>
                    </a:lnTo>
                    <a:lnTo>
                      <a:pt x="1181" y="404"/>
                    </a:lnTo>
                    <a:lnTo>
                      <a:pt x="1188" y="399"/>
                    </a:lnTo>
                    <a:lnTo>
                      <a:pt x="1188" y="393"/>
                    </a:lnTo>
                    <a:lnTo>
                      <a:pt x="1208" y="383"/>
                    </a:lnTo>
                    <a:lnTo>
                      <a:pt x="1215" y="389"/>
                    </a:lnTo>
                    <a:lnTo>
                      <a:pt x="1223" y="372"/>
                    </a:lnTo>
                    <a:lnTo>
                      <a:pt x="1235" y="372"/>
                    </a:lnTo>
                    <a:lnTo>
                      <a:pt x="1241" y="366"/>
                    </a:lnTo>
                    <a:lnTo>
                      <a:pt x="1238" y="363"/>
                    </a:lnTo>
                    <a:lnTo>
                      <a:pt x="1244" y="362"/>
                    </a:lnTo>
                    <a:lnTo>
                      <a:pt x="1254" y="363"/>
                    </a:lnTo>
                    <a:lnTo>
                      <a:pt x="1256" y="368"/>
                    </a:lnTo>
                    <a:lnTo>
                      <a:pt x="1262" y="374"/>
                    </a:lnTo>
                    <a:lnTo>
                      <a:pt x="1278" y="363"/>
                    </a:lnTo>
                    <a:lnTo>
                      <a:pt x="1287" y="366"/>
                    </a:lnTo>
                    <a:lnTo>
                      <a:pt x="1293" y="357"/>
                    </a:lnTo>
                    <a:lnTo>
                      <a:pt x="1304" y="363"/>
                    </a:lnTo>
                    <a:lnTo>
                      <a:pt x="1310" y="365"/>
                    </a:lnTo>
                    <a:lnTo>
                      <a:pt x="1337" y="372"/>
                    </a:lnTo>
                    <a:lnTo>
                      <a:pt x="1343" y="374"/>
                    </a:lnTo>
                    <a:lnTo>
                      <a:pt x="1356" y="366"/>
                    </a:lnTo>
                    <a:lnTo>
                      <a:pt x="1361" y="377"/>
                    </a:lnTo>
                    <a:lnTo>
                      <a:pt x="1376" y="380"/>
                    </a:lnTo>
                    <a:lnTo>
                      <a:pt x="1377" y="393"/>
                    </a:lnTo>
                    <a:lnTo>
                      <a:pt x="1385" y="398"/>
                    </a:lnTo>
                    <a:lnTo>
                      <a:pt x="1403" y="396"/>
                    </a:lnTo>
                    <a:lnTo>
                      <a:pt x="1401" y="405"/>
                    </a:lnTo>
                    <a:lnTo>
                      <a:pt x="1418" y="407"/>
                    </a:lnTo>
                    <a:lnTo>
                      <a:pt x="1422" y="413"/>
                    </a:lnTo>
                    <a:lnTo>
                      <a:pt x="1422" y="423"/>
                    </a:lnTo>
                    <a:lnTo>
                      <a:pt x="1413" y="428"/>
                    </a:lnTo>
                    <a:lnTo>
                      <a:pt x="1413" y="434"/>
                    </a:lnTo>
                    <a:lnTo>
                      <a:pt x="1418" y="441"/>
                    </a:lnTo>
                    <a:lnTo>
                      <a:pt x="1433" y="438"/>
                    </a:lnTo>
                    <a:lnTo>
                      <a:pt x="1443" y="440"/>
                    </a:lnTo>
                    <a:lnTo>
                      <a:pt x="1413" y="461"/>
                    </a:lnTo>
                    <a:lnTo>
                      <a:pt x="1412" y="473"/>
                    </a:lnTo>
                    <a:lnTo>
                      <a:pt x="1407" y="480"/>
                    </a:lnTo>
                    <a:lnTo>
                      <a:pt x="1392" y="497"/>
                    </a:lnTo>
                    <a:lnTo>
                      <a:pt x="1377" y="513"/>
                    </a:lnTo>
                    <a:lnTo>
                      <a:pt x="1374" y="524"/>
                    </a:lnTo>
                    <a:lnTo>
                      <a:pt x="1376" y="545"/>
                    </a:lnTo>
                    <a:lnTo>
                      <a:pt x="1376" y="552"/>
                    </a:lnTo>
                    <a:lnTo>
                      <a:pt x="1376" y="558"/>
                    </a:lnTo>
                    <a:lnTo>
                      <a:pt x="1355" y="573"/>
                    </a:lnTo>
                    <a:lnTo>
                      <a:pt x="1346" y="555"/>
                    </a:lnTo>
                    <a:lnTo>
                      <a:pt x="1340" y="567"/>
                    </a:lnTo>
                    <a:lnTo>
                      <a:pt x="1352" y="605"/>
                    </a:lnTo>
                    <a:lnTo>
                      <a:pt x="1344" y="611"/>
                    </a:lnTo>
                    <a:lnTo>
                      <a:pt x="1334" y="618"/>
                    </a:lnTo>
                    <a:lnTo>
                      <a:pt x="1335" y="626"/>
                    </a:lnTo>
                    <a:lnTo>
                      <a:pt x="1337" y="632"/>
                    </a:lnTo>
                    <a:lnTo>
                      <a:pt x="1346" y="630"/>
                    </a:lnTo>
                    <a:lnTo>
                      <a:pt x="1352" y="633"/>
                    </a:lnTo>
                    <a:lnTo>
                      <a:pt x="1350" y="644"/>
                    </a:lnTo>
                    <a:lnTo>
                      <a:pt x="1353" y="656"/>
                    </a:lnTo>
                    <a:lnTo>
                      <a:pt x="1352" y="665"/>
                    </a:lnTo>
                    <a:lnTo>
                      <a:pt x="1337" y="680"/>
                    </a:lnTo>
                    <a:lnTo>
                      <a:pt x="1341" y="692"/>
                    </a:lnTo>
                    <a:lnTo>
                      <a:pt x="1364" y="696"/>
                    </a:lnTo>
                    <a:lnTo>
                      <a:pt x="1367" y="723"/>
                    </a:lnTo>
                    <a:lnTo>
                      <a:pt x="1367" y="734"/>
                    </a:lnTo>
                    <a:lnTo>
                      <a:pt x="1368" y="737"/>
                    </a:lnTo>
                    <a:lnTo>
                      <a:pt x="1376" y="740"/>
                    </a:lnTo>
                    <a:lnTo>
                      <a:pt x="1379" y="761"/>
                    </a:lnTo>
                    <a:lnTo>
                      <a:pt x="1382" y="779"/>
                    </a:lnTo>
                    <a:lnTo>
                      <a:pt x="1377" y="785"/>
                    </a:lnTo>
                    <a:lnTo>
                      <a:pt x="1383" y="804"/>
                    </a:lnTo>
                    <a:lnTo>
                      <a:pt x="1383" y="815"/>
                    </a:lnTo>
                    <a:lnTo>
                      <a:pt x="1377" y="815"/>
                    </a:lnTo>
                    <a:lnTo>
                      <a:pt x="1374" y="810"/>
                    </a:lnTo>
                    <a:lnTo>
                      <a:pt x="1371" y="809"/>
                    </a:lnTo>
                    <a:lnTo>
                      <a:pt x="1370" y="818"/>
                    </a:lnTo>
                    <a:lnTo>
                      <a:pt x="1361" y="827"/>
                    </a:lnTo>
                    <a:lnTo>
                      <a:pt x="1364" y="831"/>
                    </a:lnTo>
                    <a:lnTo>
                      <a:pt x="1368" y="842"/>
                    </a:lnTo>
                    <a:lnTo>
                      <a:pt x="1373" y="851"/>
                    </a:lnTo>
                    <a:lnTo>
                      <a:pt x="1362" y="863"/>
                    </a:lnTo>
                    <a:lnTo>
                      <a:pt x="1370" y="875"/>
                    </a:lnTo>
                    <a:lnTo>
                      <a:pt x="1379" y="884"/>
                    </a:lnTo>
                    <a:lnTo>
                      <a:pt x="1382" y="890"/>
                    </a:lnTo>
                    <a:lnTo>
                      <a:pt x="1395" y="903"/>
                    </a:lnTo>
                    <a:lnTo>
                      <a:pt x="1397" y="909"/>
                    </a:lnTo>
                    <a:lnTo>
                      <a:pt x="1398" y="914"/>
                    </a:lnTo>
                    <a:lnTo>
                      <a:pt x="1385" y="921"/>
                    </a:lnTo>
                    <a:lnTo>
                      <a:pt x="1386" y="933"/>
                    </a:lnTo>
                    <a:lnTo>
                      <a:pt x="1385" y="944"/>
                    </a:lnTo>
                    <a:lnTo>
                      <a:pt x="1388" y="950"/>
                    </a:lnTo>
                    <a:lnTo>
                      <a:pt x="1383" y="959"/>
                    </a:lnTo>
                    <a:lnTo>
                      <a:pt x="1383" y="974"/>
                    </a:lnTo>
                    <a:lnTo>
                      <a:pt x="1367" y="983"/>
                    </a:lnTo>
                    <a:lnTo>
                      <a:pt x="1368" y="996"/>
                    </a:lnTo>
                    <a:lnTo>
                      <a:pt x="1371" y="999"/>
                    </a:lnTo>
                    <a:lnTo>
                      <a:pt x="1371" y="1001"/>
                    </a:lnTo>
                    <a:lnTo>
                      <a:pt x="1382" y="1014"/>
                    </a:lnTo>
                    <a:lnTo>
                      <a:pt x="1385" y="1020"/>
                    </a:lnTo>
                    <a:lnTo>
                      <a:pt x="1385" y="1026"/>
                    </a:lnTo>
                    <a:lnTo>
                      <a:pt x="1377" y="1028"/>
                    </a:lnTo>
                    <a:lnTo>
                      <a:pt x="1374" y="1025"/>
                    </a:lnTo>
                    <a:lnTo>
                      <a:pt x="1371" y="1028"/>
                    </a:lnTo>
                    <a:lnTo>
                      <a:pt x="1371" y="1041"/>
                    </a:lnTo>
                    <a:lnTo>
                      <a:pt x="1379" y="1047"/>
                    </a:lnTo>
                    <a:lnTo>
                      <a:pt x="1406" y="1056"/>
                    </a:lnTo>
                    <a:lnTo>
                      <a:pt x="1418" y="1062"/>
                    </a:lnTo>
                    <a:lnTo>
                      <a:pt x="1412" y="1076"/>
                    </a:lnTo>
                    <a:lnTo>
                      <a:pt x="1392" y="1085"/>
                    </a:lnTo>
                    <a:lnTo>
                      <a:pt x="1377" y="1077"/>
                    </a:lnTo>
                    <a:lnTo>
                      <a:pt x="1365" y="1079"/>
                    </a:lnTo>
                    <a:lnTo>
                      <a:pt x="1359" y="1085"/>
                    </a:lnTo>
                    <a:lnTo>
                      <a:pt x="1358" y="1095"/>
                    </a:lnTo>
                    <a:lnTo>
                      <a:pt x="1358" y="1119"/>
                    </a:lnTo>
                    <a:lnTo>
                      <a:pt x="1358" y="1122"/>
                    </a:lnTo>
                    <a:lnTo>
                      <a:pt x="1361" y="1133"/>
                    </a:lnTo>
                    <a:lnTo>
                      <a:pt x="1361" y="1146"/>
                    </a:lnTo>
                    <a:lnTo>
                      <a:pt x="1353" y="1151"/>
                    </a:lnTo>
                    <a:lnTo>
                      <a:pt x="1349" y="1154"/>
                    </a:lnTo>
                    <a:lnTo>
                      <a:pt x="1346" y="1160"/>
                    </a:lnTo>
                    <a:lnTo>
                      <a:pt x="1343" y="1175"/>
                    </a:lnTo>
                    <a:lnTo>
                      <a:pt x="1337" y="1181"/>
                    </a:lnTo>
                    <a:lnTo>
                      <a:pt x="1332" y="1187"/>
                    </a:lnTo>
                    <a:lnTo>
                      <a:pt x="1325" y="1190"/>
                    </a:lnTo>
                    <a:lnTo>
                      <a:pt x="1322" y="1199"/>
                    </a:lnTo>
                    <a:lnTo>
                      <a:pt x="1314" y="1205"/>
                    </a:lnTo>
                    <a:lnTo>
                      <a:pt x="1298" y="1190"/>
                    </a:lnTo>
                    <a:lnTo>
                      <a:pt x="1287" y="1190"/>
                    </a:lnTo>
                    <a:lnTo>
                      <a:pt x="1280" y="1202"/>
                    </a:lnTo>
                    <a:lnTo>
                      <a:pt x="1268" y="1211"/>
                    </a:lnTo>
                    <a:lnTo>
                      <a:pt x="1256" y="1214"/>
                    </a:lnTo>
                    <a:lnTo>
                      <a:pt x="1247" y="1221"/>
                    </a:lnTo>
                    <a:lnTo>
                      <a:pt x="1257" y="1236"/>
                    </a:lnTo>
                    <a:lnTo>
                      <a:pt x="1266" y="1241"/>
                    </a:lnTo>
                    <a:lnTo>
                      <a:pt x="1278" y="1242"/>
                    </a:lnTo>
                    <a:lnTo>
                      <a:pt x="1280" y="1250"/>
                    </a:lnTo>
                    <a:lnTo>
                      <a:pt x="1292" y="1245"/>
                    </a:lnTo>
                    <a:lnTo>
                      <a:pt x="1295" y="1251"/>
                    </a:lnTo>
                    <a:lnTo>
                      <a:pt x="1299" y="1251"/>
                    </a:lnTo>
                    <a:lnTo>
                      <a:pt x="1304" y="1253"/>
                    </a:lnTo>
                    <a:lnTo>
                      <a:pt x="1310" y="1248"/>
                    </a:lnTo>
                    <a:lnTo>
                      <a:pt x="1313" y="1254"/>
                    </a:lnTo>
                    <a:lnTo>
                      <a:pt x="1305" y="1265"/>
                    </a:lnTo>
                    <a:lnTo>
                      <a:pt x="1308" y="1275"/>
                    </a:lnTo>
                    <a:lnTo>
                      <a:pt x="1313" y="1298"/>
                    </a:lnTo>
                    <a:lnTo>
                      <a:pt x="1313" y="1307"/>
                    </a:lnTo>
                    <a:lnTo>
                      <a:pt x="1319" y="1322"/>
                    </a:lnTo>
                    <a:lnTo>
                      <a:pt x="1308" y="1325"/>
                    </a:lnTo>
                    <a:lnTo>
                      <a:pt x="1305" y="1331"/>
                    </a:lnTo>
                    <a:lnTo>
                      <a:pt x="1298" y="1326"/>
                    </a:lnTo>
                    <a:lnTo>
                      <a:pt x="1281" y="1335"/>
                    </a:lnTo>
                    <a:lnTo>
                      <a:pt x="1274" y="1329"/>
                    </a:lnTo>
                    <a:lnTo>
                      <a:pt x="1284" y="1323"/>
                    </a:lnTo>
                    <a:lnTo>
                      <a:pt x="1290" y="1316"/>
                    </a:lnTo>
                    <a:lnTo>
                      <a:pt x="1290" y="1311"/>
                    </a:lnTo>
                    <a:lnTo>
                      <a:pt x="1284" y="1311"/>
                    </a:lnTo>
                    <a:lnTo>
                      <a:pt x="1280" y="1311"/>
                    </a:lnTo>
                    <a:lnTo>
                      <a:pt x="1266" y="1313"/>
                    </a:lnTo>
                    <a:lnTo>
                      <a:pt x="1257" y="1316"/>
                    </a:lnTo>
                    <a:lnTo>
                      <a:pt x="1259" y="1341"/>
                    </a:lnTo>
                    <a:lnTo>
                      <a:pt x="1265" y="1353"/>
                    </a:lnTo>
                    <a:lnTo>
                      <a:pt x="1260" y="1359"/>
                    </a:lnTo>
                    <a:lnTo>
                      <a:pt x="1263" y="1368"/>
                    </a:lnTo>
                    <a:lnTo>
                      <a:pt x="1271" y="1374"/>
                    </a:lnTo>
                    <a:lnTo>
                      <a:pt x="1275" y="1368"/>
                    </a:lnTo>
                    <a:lnTo>
                      <a:pt x="1298" y="1374"/>
                    </a:lnTo>
                    <a:lnTo>
                      <a:pt x="1301" y="1385"/>
                    </a:lnTo>
                    <a:lnTo>
                      <a:pt x="1316" y="1388"/>
                    </a:lnTo>
                    <a:lnTo>
                      <a:pt x="1317" y="1380"/>
                    </a:lnTo>
                    <a:lnTo>
                      <a:pt x="1317" y="1370"/>
                    </a:lnTo>
                    <a:lnTo>
                      <a:pt x="1316" y="1370"/>
                    </a:lnTo>
                    <a:lnTo>
                      <a:pt x="1308" y="1365"/>
                    </a:lnTo>
                    <a:lnTo>
                      <a:pt x="1305" y="1356"/>
                    </a:lnTo>
                    <a:lnTo>
                      <a:pt x="1299" y="1361"/>
                    </a:lnTo>
                    <a:lnTo>
                      <a:pt x="1290" y="1362"/>
                    </a:lnTo>
                    <a:lnTo>
                      <a:pt x="1286" y="1359"/>
                    </a:lnTo>
                    <a:lnTo>
                      <a:pt x="1283" y="1344"/>
                    </a:lnTo>
                    <a:lnTo>
                      <a:pt x="1290" y="1338"/>
                    </a:lnTo>
                    <a:lnTo>
                      <a:pt x="1304" y="1340"/>
                    </a:lnTo>
                    <a:lnTo>
                      <a:pt x="1310" y="1347"/>
                    </a:lnTo>
                    <a:lnTo>
                      <a:pt x="1316" y="1347"/>
                    </a:lnTo>
                    <a:lnTo>
                      <a:pt x="1320" y="1341"/>
                    </a:lnTo>
                    <a:lnTo>
                      <a:pt x="1326" y="1341"/>
                    </a:lnTo>
                    <a:lnTo>
                      <a:pt x="1337" y="1346"/>
                    </a:lnTo>
                    <a:lnTo>
                      <a:pt x="1334" y="1350"/>
                    </a:lnTo>
                    <a:lnTo>
                      <a:pt x="1329" y="1352"/>
                    </a:lnTo>
                    <a:lnTo>
                      <a:pt x="1331" y="1356"/>
                    </a:lnTo>
                    <a:lnTo>
                      <a:pt x="1332" y="1358"/>
                    </a:lnTo>
                    <a:lnTo>
                      <a:pt x="1344" y="1356"/>
                    </a:lnTo>
                    <a:lnTo>
                      <a:pt x="1347" y="1364"/>
                    </a:lnTo>
                    <a:lnTo>
                      <a:pt x="1346" y="1388"/>
                    </a:lnTo>
                    <a:lnTo>
                      <a:pt x="1349" y="1397"/>
                    </a:lnTo>
                    <a:lnTo>
                      <a:pt x="1350" y="1400"/>
                    </a:lnTo>
                    <a:lnTo>
                      <a:pt x="1356" y="1406"/>
                    </a:lnTo>
                    <a:lnTo>
                      <a:pt x="1359" y="1404"/>
                    </a:lnTo>
                    <a:lnTo>
                      <a:pt x="1362" y="1400"/>
                    </a:lnTo>
                    <a:lnTo>
                      <a:pt x="1353" y="1380"/>
                    </a:lnTo>
                    <a:lnTo>
                      <a:pt x="1365" y="1358"/>
                    </a:lnTo>
                    <a:lnTo>
                      <a:pt x="1376" y="1367"/>
                    </a:lnTo>
                    <a:lnTo>
                      <a:pt x="1376" y="1382"/>
                    </a:lnTo>
                    <a:lnTo>
                      <a:pt x="1379" y="1392"/>
                    </a:lnTo>
                    <a:lnTo>
                      <a:pt x="1389" y="1397"/>
                    </a:lnTo>
                    <a:lnTo>
                      <a:pt x="1397" y="1395"/>
                    </a:lnTo>
                    <a:lnTo>
                      <a:pt x="1398" y="1398"/>
                    </a:lnTo>
                    <a:lnTo>
                      <a:pt x="1395" y="1406"/>
                    </a:lnTo>
                    <a:lnTo>
                      <a:pt x="1379" y="1410"/>
                    </a:lnTo>
                    <a:lnTo>
                      <a:pt x="1374" y="1415"/>
                    </a:lnTo>
                    <a:lnTo>
                      <a:pt x="1374" y="1424"/>
                    </a:lnTo>
                    <a:lnTo>
                      <a:pt x="1359" y="1421"/>
                    </a:lnTo>
                    <a:lnTo>
                      <a:pt x="1362" y="1436"/>
                    </a:lnTo>
                    <a:lnTo>
                      <a:pt x="1347" y="1446"/>
                    </a:lnTo>
                    <a:lnTo>
                      <a:pt x="1343" y="1449"/>
                    </a:lnTo>
                  </a:path>
                </a:pathLst>
              </a:custGeom>
              <a:grpFill/>
              <a:ln w="12700">
                <a:solidFill>
                  <a:srgbClr val="000000"/>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7" name="Freeform 300">
                <a:extLst>
                  <a:ext uri="{FF2B5EF4-FFF2-40B4-BE49-F238E27FC236}">
                    <a16:creationId xmlns:a16="http://schemas.microsoft.com/office/drawing/2014/main" id="{A9B79093-1133-2481-610E-52D37DD3DB66}"/>
                  </a:ext>
                </a:extLst>
              </p:cNvPr>
              <p:cNvSpPr>
                <a:spLocks/>
              </p:cNvSpPr>
              <p:nvPr/>
            </p:nvSpPr>
            <p:spPr bwMode="auto">
              <a:xfrm>
                <a:off x="3393" y="330"/>
                <a:ext cx="707" cy="431"/>
              </a:xfrm>
              <a:custGeom>
                <a:avLst/>
                <a:gdLst>
                  <a:gd name="T0" fmla="*/ 0 w 2120"/>
                  <a:gd name="T1" fmla="*/ 0 h 1293"/>
                  <a:gd name="T2" fmla="*/ 0 w 2120"/>
                  <a:gd name="T3" fmla="*/ 0 h 1293"/>
                  <a:gd name="T4" fmla="*/ 0 w 2120"/>
                  <a:gd name="T5" fmla="*/ 0 h 1293"/>
                  <a:gd name="T6" fmla="*/ 0 w 2120"/>
                  <a:gd name="T7" fmla="*/ 0 h 1293"/>
                  <a:gd name="T8" fmla="*/ 0 w 2120"/>
                  <a:gd name="T9" fmla="*/ 0 h 1293"/>
                  <a:gd name="T10" fmla="*/ 0 w 2120"/>
                  <a:gd name="T11" fmla="*/ 0 h 1293"/>
                  <a:gd name="T12" fmla="*/ 0 w 2120"/>
                  <a:gd name="T13" fmla="*/ 0 h 1293"/>
                  <a:gd name="T14" fmla="*/ 0 w 2120"/>
                  <a:gd name="T15" fmla="*/ 0 h 1293"/>
                  <a:gd name="T16" fmla="*/ 0 w 2120"/>
                  <a:gd name="T17" fmla="*/ 0 h 1293"/>
                  <a:gd name="T18" fmla="*/ 0 w 2120"/>
                  <a:gd name="T19" fmla="*/ 0 h 1293"/>
                  <a:gd name="T20" fmla="*/ 0 w 2120"/>
                  <a:gd name="T21" fmla="*/ 0 h 1293"/>
                  <a:gd name="T22" fmla="*/ 0 w 2120"/>
                  <a:gd name="T23" fmla="*/ 0 h 1293"/>
                  <a:gd name="T24" fmla="*/ 0 w 2120"/>
                  <a:gd name="T25" fmla="*/ 0 h 1293"/>
                  <a:gd name="T26" fmla="*/ 0 w 2120"/>
                  <a:gd name="T27" fmla="*/ 0 h 1293"/>
                  <a:gd name="T28" fmla="*/ 0 w 2120"/>
                  <a:gd name="T29" fmla="*/ 0 h 1293"/>
                  <a:gd name="T30" fmla="*/ 0 w 2120"/>
                  <a:gd name="T31" fmla="*/ 0 h 1293"/>
                  <a:gd name="T32" fmla="*/ 0 w 2120"/>
                  <a:gd name="T33" fmla="*/ 0 h 1293"/>
                  <a:gd name="T34" fmla="*/ 0 w 2120"/>
                  <a:gd name="T35" fmla="*/ 0 h 1293"/>
                  <a:gd name="T36" fmla="*/ 0 w 2120"/>
                  <a:gd name="T37" fmla="*/ 0 h 1293"/>
                  <a:gd name="T38" fmla="*/ 0 w 2120"/>
                  <a:gd name="T39" fmla="*/ 0 h 1293"/>
                  <a:gd name="T40" fmla="*/ 0 w 2120"/>
                  <a:gd name="T41" fmla="*/ 0 h 1293"/>
                  <a:gd name="T42" fmla="*/ 0 w 2120"/>
                  <a:gd name="T43" fmla="*/ 0 h 1293"/>
                  <a:gd name="T44" fmla="*/ 0 w 2120"/>
                  <a:gd name="T45" fmla="*/ 0 h 1293"/>
                  <a:gd name="T46" fmla="*/ 0 w 2120"/>
                  <a:gd name="T47" fmla="*/ 0 h 1293"/>
                  <a:gd name="T48" fmla="*/ 0 w 2120"/>
                  <a:gd name="T49" fmla="*/ 0 h 1293"/>
                  <a:gd name="T50" fmla="*/ 0 w 2120"/>
                  <a:gd name="T51" fmla="*/ 0 h 1293"/>
                  <a:gd name="T52" fmla="*/ 0 w 2120"/>
                  <a:gd name="T53" fmla="*/ 0 h 1293"/>
                  <a:gd name="T54" fmla="*/ 0 w 2120"/>
                  <a:gd name="T55" fmla="*/ 0 h 1293"/>
                  <a:gd name="T56" fmla="*/ 0 w 2120"/>
                  <a:gd name="T57" fmla="*/ 0 h 1293"/>
                  <a:gd name="T58" fmla="*/ 0 w 2120"/>
                  <a:gd name="T59" fmla="*/ 0 h 1293"/>
                  <a:gd name="T60" fmla="*/ 0 w 2120"/>
                  <a:gd name="T61" fmla="*/ 0 h 1293"/>
                  <a:gd name="T62" fmla="*/ 0 w 2120"/>
                  <a:gd name="T63" fmla="*/ 0 h 1293"/>
                  <a:gd name="T64" fmla="*/ 0 w 2120"/>
                  <a:gd name="T65" fmla="*/ 0 h 1293"/>
                  <a:gd name="T66" fmla="*/ 0 w 2120"/>
                  <a:gd name="T67" fmla="*/ 0 h 1293"/>
                  <a:gd name="T68" fmla="*/ 0 w 2120"/>
                  <a:gd name="T69" fmla="*/ 0 h 1293"/>
                  <a:gd name="T70" fmla="*/ 0 w 2120"/>
                  <a:gd name="T71" fmla="*/ 0 h 1293"/>
                  <a:gd name="T72" fmla="*/ 0 w 2120"/>
                  <a:gd name="T73" fmla="*/ 0 h 1293"/>
                  <a:gd name="T74" fmla="*/ 0 w 2120"/>
                  <a:gd name="T75" fmla="*/ 0 h 1293"/>
                  <a:gd name="T76" fmla="*/ 0 w 2120"/>
                  <a:gd name="T77" fmla="*/ 0 h 1293"/>
                  <a:gd name="T78" fmla="*/ 0 w 2120"/>
                  <a:gd name="T79" fmla="*/ 0 h 1293"/>
                  <a:gd name="T80" fmla="*/ 0 w 2120"/>
                  <a:gd name="T81" fmla="*/ 0 h 1293"/>
                  <a:gd name="T82" fmla="*/ 0 w 2120"/>
                  <a:gd name="T83" fmla="*/ 0 h 1293"/>
                  <a:gd name="T84" fmla="*/ 0 w 2120"/>
                  <a:gd name="T85" fmla="*/ 0 h 1293"/>
                  <a:gd name="T86" fmla="*/ 0 w 2120"/>
                  <a:gd name="T87" fmla="*/ 0 h 1293"/>
                  <a:gd name="T88" fmla="*/ 0 w 2120"/>
                  <a:gd name="T89" fmla="*/ 0 h 1293"/>
                  <a:gd name="T90" fmla="*/ 0 w 2120"/>
                  <a:gd name="T91" fmla="*/ 0 h 1293"/>
                  <a:gd name="T92" fmla="*/ 0 w 2120"/>
                  <a:gd name="T93" fmla="*/ 0 h 1293"/>
                  <a:gd name="T94" fmla="*/ 0 w 2120"/>
                  <a:gd name="T95" fmla="*/ 0 h 1293"/>
                  <a:gd name="T96" fmla="*/ 0 w 2120"/>
                  <a:gd name="T97" fmla="*/ 0 h 1293"/>
                  <a:gd name="T98" fmla="*/ 0 w 2120"/>
                  <a:gd name="T99" fmla="*/ 0 h 1293"/>
                  <a:gd name="T100" fmla="*/ 0 w 2120"/>
                  <a:gd name="T101" fmla="*/ 0 h 1293"/>
                  <a:gd name="T102" fmla="*/ 0 w 2120"/>
                  <a:gd name="T103" fmla="*/ 0 h 1293"/>
                  <a:gd name="T104" fmla="*/ 0 w 2120"/>
                  <a:gd name="T105" fmla="*/ 0 h 1293"/>
                  <a:gd name="T106" fmla="*/ 0 w 2120"/>
                  <a:gd name="T107" fmla="*/ 0 h 1293"/>
                  <a:gd name="T108" fmla="*/ 0 w 2120"/>
                  <a:gd name="T109" fmla="*/ 0 h 1293"/>
                  <a:gd name="T110" fmla="*/ 0 w 2120"/>
                  <a:gd name="T111" fmla="*/ 0 h 1293"/>
                  <a:gd name="T112" fmla="*/ 0 w 2120"/>
                  <a:gd name="T113" fmla="*/ 0 h 1293"/>
                  <a:gd name="T114" fmla="*/ 0 w 2120"/>
                  <a:gd name="T115" fmla="*/ 0 h 1293"/>
                  <a:gd name="T116" fmla="*/ 0 w 2120"/>
                  <a:gd name="T117" fmla="*/ 0 h 12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20" h="1293">
                    <a:moveTo>
                      <a:pt x="1215" y="1200"/>
                    </a:moveTo>
                    <a:lnTo>
                      <a:pt x="1202" y="1208"/>
                    </a:lnTo>
                    <a:lnTo>
                      <a:pt x="1196" y="1206"/>
                    </a:lnTo>
                    <a:lnTo>
                      <a:pt x="1169" y="1199"/>
                    </a:lnTo>
                    <a:lnTo>
                      <a:pt x="1163" y="1197"/>
                    </a:lnTo>
                    <a:lnTo>
                      <a:pt x="1152" y="1191"/>
                    </a:lnTo>
                    <a:lnTo>
                      <a:pt x="1146" y="1200"/>
                    </a:lnTo>
                    <a:lnTo>
                      <a:pt x="1137" y="1197"/>
                    </a:lnTo>
                    <a:lnTo>
                      <a:pt x="1121" y="1208"/>
                    </a:lnTo>
                    <a:lnTo>
                      <a:pt x="1115" y="1202"/>
                    </a:lnTo>
                    <a:lnTo>
                      <a:pt x="1113" y="1197"/>
                    </a:lnTo>
                    <a:lnTo>
                      <a:pt x="1103" y="1196"/>
                    </a:lnTo>
                    <a:lnTo>
                      <a:pt x="1097" y="1197"/>
                    </a:lnTo>
                    <a:lnTo>
                      <a:pt x="1100" y="1200"/>
                    </a:lnTo>
                    <a:lnTo>
                      <a:pt x="1094" y="1206"/>
                    </a:lnTo>
                    <a:lnTo>
                      <a:pt x="1082" y="1206"/>
                    </a:lnTo>
                    <a:lnTo>
                      <a:pt x="1074" y="1223"/>
                    </a:lnTo>
                    <a:lnTo>
                      <a:pt x="1067" y="1217"/>
                    </a:lnTo>
                    <a:lnTo>
                      <a:pt x="1047" y="1227"/>
                    </a:lnTo>
                    <a:lnTo>
                      <a:pt x="1047" y="1233"/>
                    </a:lnTo>
                    <a:lnTo>
                      <a:pt x="1040" y="1238"/>
                    </a:lnTo>
                    <a:lnTo>
                      <a:pt x="1031" y="1232"/>
                    </a:lnTo>
                    <a:lnTo>
                      <a:pt x="1028" y="1226"/>
                    </a:lnTo>
                    <a:lnTo>
                      <a:pt x="1031" y="1220"/>
                    </a:lnTo>
                    <a:lnTo>
                      <a:pt x="1041" y="1221"/>
                    </a:lnTo>
                    <a:lnTo>
                      <a:pt x="1046" y="1215"/>
                    </a:lnTo>
                    <a:lnTo>
                      <a:pt x="1050" y="1208"/>
                    </a:lnTo>
                    <a:lnTo>
                      <a:pt x="1034" y="1191"/>
                    </a:lnTo>
                    <a:lnTo>
                      <a:pt x="1034" y="1175"/>
                    </a:lnTo>
                    <a:lnTo>
                      <a:pt x="1017" y="1175"/>
                    </a:lnTo>
                    <a:lnTo>
                      <a:pt x="1010" y="1184"/>
                    </a:lnTo>
                    <a:lnTo>
                      <a:pt x="1005" y="1181"/>
                    </a:lnTo>
                    <a:lnTo>
                      <a:pt x="996" y="1187"/>
                    </a:lnTo>
                    <a:lnTo>
                      <a:pt x="992" y="1185"/>
                    </a:lnTo>
                    <a:lnTo>
                      <a:pt x="983" y="1199"/>
                    </a:lnTo>
                    <a:lnTo>
                      <a:pt x="978" y="1199"/>
                    </a:lnTo>
                    <a:lnTo>
                      <a:pt x="968" y="1211"/>
                    </a:lnTo>
                    <a:lnTo>
                      <a:pt x="953" y="1218"/>
                    </a:lnTo>
                    <a:lnTo>
                      <a:pt x="948" y="1215"/>
                    </a:lnTo>
                    <a:lnTo>
                      <a:pt x="939" y="1206"/>
                    </a:lnTo>
                    <a:lnTo>
                      <a:pt x="936" y="1202"/>
                    </a:lnTo>
                    <a:lnTo>
                      <a:pt x="948" y="1196"/>
                    </a:lnTo>
                    <a:lnTo>
                      <a:pt x="956" y="1188"/>
                    </a:lnTo>
                    <a:lnTo>
                      <a:pt x="959" y="1176"/>
                    </a:lnTo>
                    <a:lnTo>
                      <a:pt x="968" y="1160"/>
                    </a:lnTo>
                    <a:lnTo>
                      <a:pt x="971" y="1146"/>
                    </a:lnTo>
                    <a:lnTo>
                      <a:pt x="972" y="1137"/>
                    </a:lnTo>
                    <a:lnTo>
                      <a:pt x="971" y="1130"/>
                    </a:lnTo>
                    <a:lnTo>
                      <a:pt x="957" y="1133"/>
                    </a:lnTo>
                    <a:lnTo>
                      <a:pt x="947" y="1128"/>
                    </a:lnTo>
                    <a:lnTo>
                      <a:pt x="950" y="1127"/>
                    </a:lnTo>
                    <a:lnTo>
                      <a:pt x="930" y="1116"/>
                    </a:lnTo>
                    <a:lnTo>
                      <a:pt x="911" y="1113"/>
                    </a:lnTo>
                    <a:lnTo>
                      <a:pt x="917" y="1131"/>
                    </a:lnTo>
                    <a:lnTo>
                      <a:pt x="909" y="1136"/>
                    </a:lnTo>
                    <a:lnTo>
                      <a:pt x="909" y="1143"/>
                    </a:lnTo>
                    <a:lnTo>
                      <a:pt x="914" y="1154"/>
                    </a:lnTo>
                    <a:lnTo>
                      <a:pt x="911" y="1158"/>
                    </a:lnTo>
                    <a:lnTo>
                      <a:pt x="908" y="1158"/>
                    </a:lnTo>
                    <a:lnTo>
                      <a:pt x="903" y="1155"/>
                    </a:lnTo>
                    <a:lnTo>
                      <a:pt x="899" y="1149"/>
                    </a:lnTo>
                    <a:lnTo>
                      <a:pt x="882" y="1149"/>
                    </a:lnTo>
                    <a:lnTo>
                      <a:pt x="869" y="1143"/>
                    </a:lnTo>
                    <a:lnTo>
                      <a:pt x="863" y="1145"/>
                    </a:lnTo>
                    <a:lnTo>
                      <a:pt x="858" y="1140"/>
                    </a:lnTo>
                    <a:lnTo>
                      <a:pt x="851" y="1136"/>
                    </a:lnTo>
                    <a:lnTo>
                      <a:pt x="842" y="1133"/>
                    </a:lnTo>
                    <a:lnTo>
                      <a:pt x="825" y="1130"/>
                    </a:lnTo>
                    <a:lnTo>
                      <a:pt x="813" y="1127"/>
                    </a:lnTo>
                    <a:lnTo>
                      <a:pt x="806" y="1124"/>
                    </a:lnTo>
                    <a:lnTo>
                      <a:pt x="807" y="1118"/>
                    </a:lnTo>
                    <a:lnTo>
                      <a:pt x="809" y="1112"/>
                    </a:lnTo>
                    <a:lnTo>
                      <a:pt x="813" y="1103"/>
                    </a:lnTo>
                    <a:lnTo>
                      <a:pt x="809" y="1098"/>
                    </a:lnTo>
                    <a:lnTo>
                      <a:pt x="801" y="1101"/>
                    </a:lnTo>
                    <a:lnTo>
                      <a:pt x="792" y="1097"/>
                    </a:lnTo>
                    <a:lnTo>
                      <a:pt x="791" y="1100"/>
                    </a:lnTo>
                    <a:lnTo>
                      <a:pt x="791" y="1116"/>
                    </a:lnTo>
                    <a:lnTo>
                      <a:pt x="785" y="1121"/>
                    </a:lnTo>
                    <a:lnTo>
                      <a:pt x="776" y="1122"/>
                    </a:lnTo>
                    <a:lnTo>
                      <a:pt x="765" y="1106"/>
                    </a:lnTo>
                    <a:lnTo>
                      <a:pt x="755" y="1103"/>
                    </a:lnTo>
                    <a:lnTo>
                      <a:pt x="750" y="1101"/>
                    </a:lnTo>
                    <a:lnTo>
                      <a:pt x="737" y="1100"/>
                    </a:lnTo>
                    <a:lnTo>
                      <a:pt x="732" y="1101"/>
                    </a:lnTo>
                    <a:lnTo>
                      <a:pt x="723" y="1107"/>
                    </a:lnTo>
                    <a:lnTo>
                      <a:pt x="711" y="1101"/>
                    </a:lnTo>
                    <a:lnTo>
                      <a:pt x="705" y="1107"/>
                    </a:lnTo>
                    <a:lnTo>
                      <a:pt x="710" y="1115"/>
                    </a:lnTo>
                    <a:lnTo>
                      <a:pt x="708" y="1118"/>
                    </a:lnTo>
                    <a:lnTo>
                      <a:pt x="707" y="1124"/>
                    </a:lnTo>
                    <a:lnTo>
                      <a:pt x="699" y="1142"/>
                    </a:lnTo>
                    <a:lnTo>
                      <a:pt x="696" y="1154"/>
                    </a:lnTo>
                    <a:lnTo>
                      <a:pt x="695" y="1161"/>
                    </a:lnTo>
                    <a:lnTo>
                      <a:pt x="693" y="1164"/>
                    </a:lnTo>
                    <a:lnTo>
                      <a:pt x="689" y="1160"/>
                    </a:lnTo>
                    <a:lnTo>
                      <a:pt x="681" y="1148"/>
                    </a:lnTo>
                    <a:lnTo>
                      <a:pt x="680" y="1142"/>
                    </a:lnTo>
                    <a:lnTo>
                      <a:pt x="671" y="1136"/>
                    </a:lnTo>
                    <a:lnTo>
                      <a:pt x="659" y="1134"/>
                    </a:lnTo>
                    <a:lnTo>
                      <a:pt x="657" y="1125"/>
                    </a:lnTo>
                    <a:lnTo>
                      <a:pt x="668" y="1077"/>
                    </a:lnTo>
                    <a:lnTo>
                      <a:pt x="677" y="1070"/>
                    </a:lnTo>
                    <a:lnTo>
                      <a:pt x="686" y="1065"/>
                    </a:lnTo>
                    <a:lnTo>
                      <a:pt x="689" y="1058"/>
                    </a:lnTo>
                    <a:lnTo>
                      <a:pt x="708" y="1052"/>
                    </a:lnTo>
                    <a:lnTo>
                      <a:pt x="729" y="1043"/>
                    </a:lnTo>
                    <a:lnTo>
                      <a:pt x="737" y="1041"/>
                    </a:lnTo>
                    <a:lnTo>
                      <a:pt x="746" y="1034"/>
                    </a:lnTo>
                    <a:lnTo>
                      <a:pt x="744" y="1028"/>
                    </a:lnTo>
                    <a:lnTo>
                      <a:pt x="741" y="1017"/>
                    </a:lnTo>
                    <a:lnTo>
                      <a:pt x="728" y="1014"/>
                    </a:lnTo>
                    <a:lnTo>
                      <a:pt x="717" y="1001"/>
                    </a:lnTo>
                    <a:lnTo>
                      <a:pt x="714" y="990"/>
                    </a:lnTo>
                    <a:lnTo>
                      <a:pt x="702" y="990"/>
                    </a:lnTo>
                    <a:lnTo>
                      <a:pt x="683" y="990"/>
                    </a:lnTo>
                    <a:lnTo>
                      <a:pt x="674" y="986"/>
                    </a:lnTo>
                    <a:lnTo>
                      <a:pt x="668" y="992"/>
                    </a:lnTo>
                    <a:lnTo>
                      <a:pt x="660" y="993"/>
                    </a:lnTo>
                    <a:lnTo>
                      <a:pt x="653" y="999"/>
                    </a:lnTo>
                    <a:lnTo>
                      <a:pt x="650" y="1011"/>
                    </a:lnTo>
                    <a:lnTo>
                      <a:pt x="650" y="1016"/>
                    </a:lnTo>
                    <a:lnTo>
                      <a:pt x="642" y="1016"/>
                    </a:lnTo>
                    <a:lnTo>
                      <a:pt x="636" y="1010"/>
                    </a:lnTo>
                    <a:lnTo>
                      <a:pt x="620" y="987"/>
                    </a:lnTo>
                    <a:lnTo>
                      <a:pt x="614" y="981"/>
                    </a:lnTo>
                    <a:lnTo>
                      <a:pt x="603" y="987"/>
                    </a:lnTo>
                    <a:lnTo>
                      <a:pt x="605" y="990"/>
                    </a:lnTo>
                    <a:lnTo>
                      <a:pt x="611" y="995"/>
                    </a:lnTo>
                    <a:lnTo>
                      <a:pt x="609" y="1005"/>
                    </a:lnTo>
                    <a:lnTo>
                      <a:pt x="599" y="1002"/>
                    </a:lnTo>
                    <a:lnTo>
                      <a:pt x="591" y="1008"/>
                    </a:lnTo>
                    <a:lnTo>
                      <a:pt x="582" y="1007"/>
                    </a:lnTo>
                    <a:lnTo>
                      <a:pt x="578" y="1007"/>
                    </a:lnTo>
                    <a:lnTo>
                      <a:pt x="566" y="998"/>
                    </a:lnTo>
                    <a:lnTo>
                      <a:pt x="549" y="1010"/>
                    </a:lnTo>
                    <a:lnTo>
                      <a:pt x="540" y="1016"/>
                    </a:lnTo>
                    <a:lnTo>
                      <a:pt x="533" y="1017"/>
                    </a:lnTo>
                    <a:lnTo>
                      <a:pt x="528" y="1014"/>
                    </a:lnTo>
                    <a:lnTo>
                      <a:pt x="527" y="1008"/>
                    </a:lnTo>
                    <a:lnTo>
                      <a:pt x="519" y="1008"/>
                    </a:lnTo>
                    <a:lnTo>
                      <a:pt x="513" y="1013"/>
                    </a:lnTo>
                    <a:lnTo>
                      <a:pt x="498" y="1014"/>
                    </a:lnTo>
                    <a:lnTo>
                      <a:pt x="489" y="1014"/>
                    </a:lnTo>
                    <a:lnTo>
                      <a:pt x="482" y="1025"/>
                    </a:lnTo>
                    <a:lnTo>
                      <a:pt x="473" y="1037"/>
                    </a:lnTo>
                    <a:lnTo>
                      <a:pt x="470" y="1037"/>
                    </a:lnTo>
                    <a:lnTo>
                      <a:pt x="462" y="1025"/>
                    </a:lnTo>
                    <a:lnTo>
                      <a:pt x="458" y="1014"/>
                    </a:lnTo>
                    <a:lnTo>
                      <a:pt x="447" y="1013"/>
                    </a:lnTo>
                    <a:lnTo>
                      <a:pt x="438" y="1025"/>
                    </a:lnTo>
                    <a:lnTo>
                      <a:pt x="429" y="1020"/>
                    </a:lnTo>
                    <a:lnTo>
                      <a:pt x="428" y="1026"/>
                    </a:lnTo>
                    <a:lnTo>
                      <a:pt x="419" y="1029"/>
                    </a:lnTo>
                    <a:lnTo>
                      <a:pt x="417" y="1017"/>
                    </a:lnTo>
                    <a:lnTo>
                      <a:pt x="417" y="1013"/>
                    </a:lnTo>
                    <a:lnTo>
                      <a:pt x="414" y="1011"/>
                    </a:lnTo>
                    <a:lnTo>
                      <a:pt x="408" y="993"/>
                    </a:lnTo>
                    <a:lnTo>
                      <a:pt x="402" y="987"/>
                    </a:lnTo>
                    <a:lnTo>
                      <a:pt x="401" y="981"/>
                    </a:lnTo>
                    <a:lnTo>
                      <a:pt x="407" y="974"/>
                    </a:lnTo>
                    <a:lnTo>
                      <a:pt x="405" y="966"/>
                    </a:lnTo>
                    <a:lnTo>
                      <a:pt x="396" y="965"/>
                    </a:lnTo>
                    <a:lnTo>
                      <a:pt x="387" y="954"/>
                    </a:lnTo>
                    <a:lnTo>
                      <a:pt x="378" y="951"/>
                    </a:lnTo>
                    <a:lnTo>
                      <a:pt x="353" y="945"/>
                    </a:lnTo>
                    <a:lnTo>
                      <a:pt x="329" y="932"/>
                    </a:lnTo>
                    <a:lnTo>
                      <a:pt x="321" y="926"/>
                    </a:lnTo>
                    <a:lnTo>
                      <a:pt x="315" y="921"/>
                    </a:lnTo>
                    <a:lnTo>
                      <a:pt x="314" y="926"/>
                    </a:lnTo>
                    <a:lnTo>
                      <a:pt x="308" y="924"/>
                    </a:lnTo>
                    <a:lnTo>
                      <a:pt x="303" y="909"/>
                    </a:lnTo>
                    <a:lnTo>
                      <a:pt x="323" y="896"/>
                    </a:lnTo>
                    <a:lnTo>
                      <a:pt x="324" y="891"/>
                    </a:lnTo>
                    <a:lnTo>
                      <a:pt x="321" y="885"/>
                    </a:lnTo>
                    <a:lnTo>
                      <a:pt x="323" y="884"/>
                    </a:lnTo>
                    <a:lnTo>
                      <a:pt x="317" y="876"/>
                    </a:lnTo>
                    <a:lnTo>
                      <a:pt x="309" y="876"/>
                    </a:lnTo>
                    <a:lnTo>
                      <a:pt x="308" y="876"/>
                    </a:lnTo>
                    <a:lnTo>
                      <a:pt x="294" y="887"/>
                    </a:lnTo>
                    <a:lnTo>
                      <a:pt x="290" y="899"/>
                    </a:lnTo>
                    <a:lnTo>
                      <a:pt x="276" y="897"/>
                    </a:lnTo>
                    <a:lnTo>
                      <a:pt x="270" y="891"/>
                    </a:lnTo>
                    <a:lnTo>
                      <a:pt x="254" y="893"/>
                    </a:lnTo>
                    <a:lnTo>
                      <a:pt x="248" y="884"/>
                    </a:lnTo>
                    <a:lnTo>
                      <a:pt x="243" y="875"/>
                    </a:lnTo>
                    <a:lnTo>
                      <a:pt x="228" y="864"/>
                    </a:lnTo>
                    <a:lnTo>
                      <a:pt x="219" y="863"/>
                    </a:lnTo>
                    <a:lnTo>
                      <a:pt x="209" y="855"/>
                    </a:lnTo>
                    <a:lnTo>
                      <a:pt x="194" y="845"/>
                    </a:lnTo>
                    <a:lnTo>
                      <a:pt x="176" y="839"/>
                    </a:lnTo>
                    <a:lnTo>
                      <a:pt x="165" y="843"/>
                    </a:lnTo>
                    <a:lnTo>
                      <a:pt x="143" y="849"/>
                    </a:lnTo>
                    <a:lnTo>
                      <a:pt x="134" y="860"/>
                    </a:lnTo>
                    <a:lnTo>
                      <a:pt x="122" y="858"/>
                    </a:lnTo>
                    <a:lnTo>
                      <a:pt x="111" y="866"/>
                    </a:lnTo>
                    <a:lnTo>
                      <a:pt x="107" y="870"/>
                    </a:lnTo>
                    <a:lnTo>
                      <a:pt x="87" y="873"/>
                    </a:lnTo>
                    <a:lnTo>
                      <a:pt x="80" y="867"/>
                    </a:lnTo>
                    <a:lnTo>
                      <a:pt x="69" y="869"/>
                    </a:lnTo>
                    <a:lnTo>
                      <a:pt x="45" y="837"/>
                    </a:lnTo>
                    <a:lnTo>
                      <a:pt x="41" y="831"/>
                    </a:lnTo>
                    <a:lnTo>
                      <a:pt x="35" y="827"/>
                    </a:lnTo>
                    <a:lnTo>
                      <a:pt x="36" y="822"/>
                    </a:lnTo>
                    <a:lnTo>
                      <a:pt x="23" y="825"/>
                    </a:lnTo>
                    <a:lnTo>
                      <a:pt x="8" y="807"/>
                    </a:lnTo>
                    <a:lnTo>
                      <a:pt x="0" y="801"/>
                    </a:lnTo>
                    <a:lnTo>
                      <a:pt x="3" y="792"/>
                    </a:lnTo>
                    <a:lnTo>
                      <a:pt x="6" y="776"/>
                    </a:lnTo>
                    <a:lnTo>
                      <a:pt x="9" y="764"/>
                    </a:lnTo>
                    <a:lnTo>
                      <a:pt x="9" y="753"/>
                    </a:lnTo>
                    <a:lnTo>
                      <a:pt x="14" y="735"/>
                    </a:lnTo>
                    <a:lnTo>
                      <a:pt x="14" y="719"/>
                    </a:lnTo>
                    <a:lnTo>
                      <a:pt x="15" y="719"/>
                    </a:lnTo>
                    <a:lnTo>
                      <a:pt x="17" y="698"/>
                    </a:lnTo>
                    <a:lnTo>
                      <a:pt x="18" y="677"/>
                    </a:lnTo>
                    <a:lnTo>
                      <a:pt x="20" y="659"/>
                    </a:lnTo>
                    <a:lnTo>
                      <a:pt x="24" y="641"/>
                    </a:lnTo>
                    <a:lnTo>
                      <a:pt x="29" y="639"/>
                    </a:lnTo>
                    <a:lnTo>
                      <a:pt x="33" y="645"/>
                    </a:lnTo>
                    <a:lnTo>
                      <a:pt x="38" y="644"/>
                    </a:lnTo>
                    <a:lnTo>
                      <a:pt x="44" y="644"/>
                    </a:lnTo>
                    <a:lnTo>
                      <a:pt x="42" y="638"/>
                    </a:lnTo>
                    <a:lnTo>
                      <a:pt x="39" y="638"/>
                    </a:lnTo>
                    <a:lnTo>
                      <a:pt x="35" y="626"/>
                    </a:lnTo>
                    <a:lnTo>
                      <a:pt x="21" y="615"/>
                    </a:lnTo>
                    <a:lnTo>
                      <a:pt x="17" y="600"/>
                    </a:lnTo>
                    <a:lnTo>
                      <a:pt x="18" y="590"/>
                    </a:lnTo>
                    <a:lnTo>
                      <a:pt x="17" y="575"/>
                    </a:lnTo>
                    <a:lnTo>
                      <a:pt x="17" y="563"/>
                    </a:lnTo>
                    <a:lnTo>
                      <a:pt x="15" y="522"/>
                    </a:lnTo>
                    <a:lnTo>
                      <a:pt x="14" y="507"/>
                    </a:lnTo>
                    <a:lnTo>
                      <a:pt x="12" y="498"/>
                    </a:lnTo>
                    <a:lnTo>
                      <a:pt x="11" y="494"/>
                    </a:lnTo>
                    <a:lnTo>
                      <a:pt x="6" y="477"/>
                    </a:lnTo>
                    <a:lnTo>
                      <a:pt x="3" y="461"/>
                    </a:lnTo>
                    <a:lnTo>
                      <a:pt x="2" y="452"/>
                    </a:lnTo>
                    <a:lnTo>
                      <a:pt x="9" y="441"/>
                    </a:lnTo>
                    <a:lnTo>
                      <a:pt x="15" y="431"/>
                    </a:lnTo>
                    <a:lnTo>
                      <a:pt x="15" y="422"/>
                    </a:lnTo>
                    <a:lnTo>
                      <a:pt x="21" y="419"/>
                    </a:lnTo>
                    <a:lnTo>
                      <a:pt x="27" y="416"/>
                    </a:lnTo>
                    <a:lnTo>
                      <a:pt x="30" y="404"/>
                    </a:lnTo>
                    <a:lnTo>
                      <a:pt x="27" y="393"/>
                    </a:lnTo>
                    <a:lnTo>
                      <a:pt x="38" y="378"/>
                    </a:lnTo>
                    <a:lnTo>
                      <a:pt x="38" y="363"/>
                    </a:lnTo>
                    <a:lnTo>
                      <a:pt x="35" y="353"/>
                    </a:lnTo>
                    <a:lnTo>
                      <a:pt x="38" y="344"/>
                    </a:lnTo>
                    <a:lnTo>
                      <a:pt x="32" y="329"/>
                    </a:lnTo>
                    <a:lnTo>
                      <a:pt x="29" y="320"/>
                    </a:lnTo>
                    <a:lnTo>
                      <a:pt x="26" y="311"/>
                    </a:lnTo>
                    <a:lnTo>
                      <a:pt x="24" y="306"/>
                    </a:lnTo>
                    <a:lnTo>
                      <a:pt x="24" y="299"/>
                    </a:lnTo>
                    <a:lnTo>
                      <a:pt x="21" y="288"/>
                    </a:lnTo>
                    <a:lnTo>
                      <a:pt x="15" y="276"/>
                    </a:lnTo>
                    <a:lnTo>
                      <a:pt x="17" y="260"/>
                    </a:lnTo>
                    <a:lnTo>
                      <a:pt x="17" y="252"/>
                    </a:lnTo>
                    <a:lnTo>
                      <a:pt x="30" y="252"/>
                    </a:lnTo>
                    <a:lnTo>
                      <a:pt x="45" y="249"/>
                    </a:lnTo>
                    <a:lnTo>
                      <a:pt x="59" y="245"/>
                    </a:lnTo>
                    <a:lnTo>
                      <a:pt x="69" y="240"/>
                    </a:lnTo>
                    <a:lnTo>
                      <a:pt x="83" y="230"/>
                    </a:lnTo>
                    <a:lnTo>
                      <a:pt x="93" y="216"/>
                    </a:lnTo>
                    <a:lnTo>
                      <a:pt x="108" y="203"/>
                    </a:lnTo>
                    <a:lnTo>
                      <a:pt x="117" y="189"/>
                    </a:lnTo>
                    <a:lnTo>
                      <a:pt x="128" y="182"/>
                    </a:lnTo>
                    <a:lnTo>
                      <a:pt x="147" y="170"/>
                    </a:lnTo>
                    <a:lnTo>
                      <a:pt x="173" y="158"/>
                    </a:lnTo>
                    <a:lnTo>
                      <a:pt x="213" y="149"/>
                    </a:lnTo>
                    <a:lnTo>
                      <a:pt x="237" y="140"/>
                    </a:lnTo>
                    <a:lnTo>
                      <a:pt x="254" y="134"/>
                    </a:lnTo>
                    <a:lnTo>
                      <a:pt x="279" y="122"/>
                    </a:lnTo>
                    <a:lnTo>
                      <a:pt x="297" y="110"/>
                    </a:lnTo>
                    <a:lnTo>
                      <a:pt x="309" y="111"/>
                    </a:lnTo>
                    <a:lnTo>
                      <a:pt x="317" y="114"/>
                    </a:lnTo>
                    <a:lnTo>
                      <a:pt x="327" y="113"/>
                    </a:lnTo>
                    <a:lnTo>
                      <a:pt x="335" y="110"/>
                    </a:lnTo>
                    <a:lnTo>
                      <a:pt x="360" y="110"/>
                    </a:lnTo>
                    <a:lnTo>
                      <a:pt x="368" y="108"/>
                    </a:lnTo>
                    <a:lnTo>
                      <a:pt x="389" y="99"/>
                    </a:lnTo>
                    <a:lnTo>
                      <a:pt x="414" y="96"/>
                    </a:lnTo>
                    <a:lnTo>
                      <a:pt x="423" y="101"/>
                    </a:lnTo>
                    <a:lnTo>
                      <a:pt x="428" y="99"/>
                    </a:lnTo>
                    <a:lnTo>
                      <a:pt x="435" y="99"/>
                    </a:lnTo>
                    <a:lnTo>
                      <a:pt x="438" y="93"/>
                    </a:lnTo>
                    <a:lnTo>
                      <a:pt x="479" y="78"/>
                    </a:lnTo>
                    <a:lnTo>
                      <a:pt x="540" y="59"/>
                    </a:lnTo>
                    <a:lnTo>
                      <a:pt x="560" y="56"/>
                    </a:lnTo>
                    <a:lnTo>
                      <a:pt x="594" y="45"/>
                    </a:lnTo>
                    <a:lnTo>
                      <a:pt x="620" y="39"/>
                    </a:lnTo>
                    <a:lnTo>
                      <a:pt x="654" y="48"/>
                    </a:lnTo>
                    <a:lnTo>
                      <a:pt x="695" y="36"/>
                    </a:lnTo>
                    <a:lnTo>
                      <a:pt x="722" y="29"/>
                    </a:lnTo>
                    <a:lnTo>
                      <a:pt x="729" y="26"/>
                    </a:lnTo>
                    <a:lnTo>
                      <a:pt x="744" y="18"/>
                    </a:lnTo>
                    <a:lnTo>
                      <a:pt x="786" y="0"/>
                    </a:lnTo>
                    <a:lnTo>
                      <a:pt x="797" y="24"/>
                    </a:lnTo>
                    <a:lnTo>
                      <a:pt x="801" y="27"/>
                    </a:lnTo>
                    <a:lnTo>
                      <a:pt x="800" y="33"/>
                    </a:lnTo>
                    <a:lnTo>
                      <a:pt x="803" y="51"/>
                    </a:lnTo>
                    <a:lnTo>
                      <a:pt x="806" y="71"/>
                    </a:lnTo>
                    <a:lnTo>
                      <a:pt x="809" y="86"/>
                    </a:lnTo>
                    <a:lnTo>
                      <a:pt x="806" y="90"/>
                    </a:lnTo>
                    <a:lnTo>
                      <a:pt x="809" y="102"/>
                    </a:lnTo>
                    <a:lnTo>
                      <a:pt x="833" y="114"/>
                    </a:lnTo>
                    <a:lnTo>
                      <a:pt x="837" y="132"/>
                    </a:lnTo>
                    <a:lnTo>
                      <a:pt x="854" y="167"/>
                    </a:lnTo>
                    <a:lnTo>
                      <a:pt x="837" y="182"/>
                    </a:lnTo>
                    <a:lnTo>
                      <a:pt x="828" y="191"/>
                    </a:lnTo>
                    <a:lnTo>
                      <a:pt x="824" y="198"/>
                    </a:lnTo>
                    <a:lnTo>
                      <a:pt x="825" y="203"/>
                    </a:lnTo>
                    <a:lnTo>
                      <a:pt x="836" y="200"/>
                    </a:lnTo>
                    <a:lnTo>
                      <a:pt x="836" y="206"/>
                    </a:lnTo>
                    <a:lnTo>
                      <a:pt x="828" y="213"/>
                    </a:lnTo>
                    <a:lnTo>
                      <a:pt x="839" y="222"/>
                    </a:lnTo>
                    <a:lnTo>
                      <a:pt x="833" y="251"/>
                    </a:lnTo>
                    <a:lnTo>
                      <a:pt x="839" y="260"/>
                    </a:lnTo>
                    <a:lnTo>
                      <a:pt x="827" y="273"/>
                    </a:lnTo>
                    <a:lnTo>
                      <a:pt x="828" y="278"/>
                    </a:lnTo>
                    <a:lnTo>
                      <a:pt x="840" y="276"/>
                    </a:lnTo>
                    <a:lnTo>
                      <a:pt x="843" y="291"/>
                    </a:lnTo>
                    <a:lnTo>
                      <a:pt x="849" y="294"/>
                    </a:lnTo>
                    <a:lnTo>
                      <a:pt x="857" y="321"/>
                    </a:lnTo>
                    <a:lnTo>
                      <a:pt x="876" y="317"/>
                    </a:lnTo>
                    <a:lnTo>
                      <a:pt x="882" y="309"/>
                    </a:lnTo>
                    <a:lnTo>
                      <a:pt x="893" y="317"/>
                    </a:lnTo>
                    <a:lnTo>
                      <a:pt x="905" y="320"/>
                    </a:lnTo>
                    <a:lnTo>
                      <a:pt x="917" y="318"/>
                    </a:lnTo>
                    <a:lnTo>
                      <a:pt x="927" y="324"/>
                    </a:lnTo>
                    <a:lnTo>
                      <a:pt x="924" y="336"/>
                    </a:lnTo>
                    <a:lnTo>
                      <a:pt x="941" y="357"/>
                    </a:lnTo>
                    <a:lnTo>
                      <a:pt x="950" y="362"/>
                    </a:lnTo>
                    <a:lnTo>
                      <a:pt x="950" y="366"/>
                    </a:lnTo>
                    <a:lnTo>
                      <a:pt x="956" y="366"/>
                    </a:lnTo>
                    <a:lnTo>
                      <a:pt x="957" y="387"/>
                    </a:lnTo>
                    <a:lnTo>
                      <a:pt x="974" y="390"/>
                    </a:lnTo>
                    <a:lnTo>
                      <a:pt x="972" y="401"/>
                    </a:lnTo>
                    <a:lnTo>
                      <a:pt x="983" y="419"/>
                    </a:lnTo>
                    <a:lnTo>
                      <a:pt x="998" y="431"/>
                    </a:lnTo>
                    <a:lnTo>
                      <a:pt x="1023" y="422"/>
                    </a:lnTo>
                    <a:lnTo>
                      <a:pt x="1043" y="446"/>
                    </a:lnTo>
                    <a:lnTo>
                      <a:pt x="1053" y="441"/>
                    </a:lnTo>
                    <a:lnTo>
                      <a:pt x="1067" y="456"/>
                    </a:lnTo>
                    <a:lnTo>
                      <a:pt x="1071" y="455"/>
                    </a:lnTo>
                    <a:lnTo>
                      <a:pt x="1071" y="444"/>
                    </a:lnTo>
                    <a:lnTo>
                      <a:pt x="1082" y="444"/>
                    </a:lnTo>
                    <a:lnTo>
                      <a:pt x="1089" y="434"/>
                    </a:lnTo>
                    <a:lnTo>
                      <a:pt x="1089" y="414"/>
                    </a:lnTo>
                    <a:lnTo>
                      <a:pt x="1098" y="413"/>
                    </a:lnTo>
                    <a:lnTo>
                      <a:pt x="1094" y="399"/>
                    </a:lnTo>
                    <a:lnTo>
                      <a:pt x="1098" y="396"/>
                    </a:lnTo>
                    <a:lnTo>
                      <a:pt x="1107" y="387"/>
                    </a:lnTo>
                    <a:lnTo>
                      <a:pt x="1119" y="392"/>
                    </a:lnTo>
                    <a:lnTo>
                      <a:pt x="1127" y="389"/>
                    </a:lnTo>
                    <a:lnTo>
                      <a:pt x="1130" y="383"/>
                    </a:lnTo>
                    <a:lnTo>
                      <a:pt x="1143" y="377"/>
                    </a:lnTo>
                    <a:lnTo>
                      <a:pt x="1155" y="362"/>
                    </a:lnTo>
                    <a:lnTo>
                      <a:pt x="1173" y="366"/>
                    </a:lnTo>
                    <a:lnTo>
                      <a:pt x="1191" y="354"/>
                    </a:lnTo>
                    <a:lnTo>
                      <a:pt x="1214" y="365"/>
                    </a:lnTo>
                    <a:lnTo>
                      <a:pt x="1217" y="362"/>
                    </a:lnTo>
                    <a:lnTo>
                      <a:pt x="1230" y="354"/>
                    </a:lnTo>
                    <a:lnTo>
                      <a:pt x="1235" y="339"/>
                    </a:lnTo>
                    <a:lnTo>
                      <a:pt x="1245" y="348"/>
                    </a:lnTo>
                    <a:lnTo>
                      <a:pt x="1265" y="344"/>
                    </a:lnTo>
                    <a:lnTo>
                      <a:pt x="1274" y="365"/>
                    </a:lnTo>
                    <a:lnTo>
                      <a:pt x="1290" y="392"/>
                    </a:lnTo>
                    <a:lnTo>
                      <a:pt x="1305" y="411"/>
                    </a:lnTo>
                    <a:lnTo>
                      <a:pt x="1296" y="420"/>
                    </a:lnTo>
                    <a:lnTo>
                      <a:pt x="1311" y="426"/>
                    </a:lnTo>
                    <a:lnTo>
                      <a:pt x="1317" y="438"/>
                    </a:lnTo>
                    <a:lnTo>
                      <a:pt x="1340" y="432"/>
                    </a:lnTo>
                    <a:lnTo>
                      <a:pt x="1355" y="447"/>
                    </a:lnTo>
                    <a:lnTo>
                      <a:pt x="1341" y="458"/>
                    </a:lnTo>
                    <a:lnTo>
                      <a:pt x="1356" y="476"/>
                    </a:lnTo>
                    <a:lnTo>
                      <a:pt x="1338" y="485"/>
                    </a:lnTo>
                    <a:lnTo>
                      <a:pt x="1337" y="486"/>
                    </a:lnTo>
                    <a:lnTo>
                      <a:pt x="1341" y="498"/>
                    </a:lnTo>
                    <a:lnTo>
                      <a:pt x="1341" y="506"/>
                    </a:lnTo>
                    <a:lnTo>
                      <a:pt x="1343" y="518"/>
                    </a:lnTo>
                    <a:lnTo>
                      <a:pt x="1352" y="530"/>
                    </a:lnTo>
                    <a:lnTo>
                      <a:pt x="1350" y="539"/>
                    </a:lnTo>
                    <a:lnTo>
                      <a:pt x="1364" y="558"/>
                    </a:lnTo>
                    <a:lnTo>
                      <a:pt x="1368" y="572"/>
                    </a:lnTo>
                    <a:lnTo>
                      <a:pt x="1368" y="585"/>
                    </a:lnTo>
                    <a:lnTo>
                      <a:pt x="1368" y="603"/>
                    </a:lnTo>
                    <a:lnTo>
                      <a:pt x="1373" y="612"/>
                    </a:lnTo>
                    <a:lnTo>
                      <a:pt x="1368" y="615"/>
                    </a:lnTo>
                    <a:lnTo>
                      <a:pt x="1371" y="620"/>
                    </a:lnTo>
                    <a:lnTo>
                      <a:pt x="1368" y="624"/>
                    </a:lnTo>
                    <a:lnTo>
                      <a:pt x="1370" y="635"/>
                    </a:lnTo>
                    <a:lnTo>
                      <a:pt x="1373" y="639"/>
                    </a:lnTo>
                    <a:lnTo>
                      <a:pt x="1373" y="648"/>
                    </a:lnTo>
                    <a:lnTo>
                      <a:pt x="1389" y="657"/>
                    </a:lnTo>
                    <a:lnTo>
                      <a:pt x="1401" y="659"/>
                    </a:lnTo>
                    <a:lnTo>
                      <a:pt x="1407" y="671"/>
                    </a:lnTo>
                    <a:lnTo>
                      <a:pt x="1410" y="669"/>
                    </a:lnTo>
                    <a:lnTo>
                      <a:pt x="1428" y="672"/>
                    </a:lnTo>
                    <a:lnTo>
                      <a:pt x="1445" y="689"/>
                    </a:lnTo>
                    <a:lnTo>
                      <a:pt x="1458" y="683"/>
                    </a:lnTo>
                    <a:lnTo>
                      <a:pt x="1470" y="683"/>
                    </a:lnTo>
                    <a:lnTo>
                      <a:pt x="1475" y="678"/>
                    </a:lnTo>
                    <a:lnTo>
                      <a:pt x="1484" y="677"/>
                    </a:lnTo>
                    <a:lnTo>
                      <a:pt x="1491" y="669"/>
                    </a:lnTo>
                    <a:lnTo>
                      <a:pt x="1497" y="671"/>
                    </a:lnTo>
                    <a:lnTo>
                      <a:pt x="1505" y="671"/>
                    </a:lnTo>
                    <a:lnTo>
                      <a:pt x="1508" y="659"/>
                    </a:lnTo>
                    <a:lnTo>
                      <a:pt x="1520" y="642"/>
                    </a:lnTo>
                    <a:lnTo>
                      <a:pt x="1562" y="651"/>
                    </a:lnTo>
                    <a:lnTo>
                      <a:pt x="1557" y="669"/>
                    </a:lnTo>
                    <a:lnTo>
                      <a:pt x="1542" y="680"/>
                    </a:lnTo>
                    <a:lnTo>
                      <a:pt x="1545" y="696"/>
                    </a:lnTo>
                    <a:lnTo>
                      <a:pt x="1563" y="684"/>
                    </a:lnTo>
                    <a:lnTo>
                      <a:pt x="1590" y="680"/>
                    </a:lnTo>
                    <a:lnTo>
                      <a:pt x="1601" y="677"/>
                    </a:lnTo>
                    <a:lnTo>
                      <a:pt x="1611" y="693"/>
                    </a:lnTo>
                    <a:lnTo>
                      <a:pt x="1629" y="683"/>
                    </a:lnTo>
                    <a:lnTo>
                      <a:pt x="1649" y="702"/>
                    </a:lnTo>
                    <a:lnTo>
                      <a:pt x="1658" y="720"/>
                    </a:lnTo>
                    <a:lnTo>
                      <a:pt x="1668" y="722"/>
                    </a:lnTo>
                    <a:lnTo>
                      <a:pt x="1674" y="732"/>
                    </a:lnTo>
                    <a:lnTo>
                      <a:pt x="1673" y="741"/>
                    </a:lnTo>
                    <a:lnTo>
                      <a:pt x="1677" y="750"/>
                    </a:lnTo>
                    <a:lnTo>
                      <a:pt x="1682" y="768"/>
                    </a:lnTo>
                    <a:lnTo>
                      <a:pt x="1683" y="788"/>
                    </a:lnTo>
                    <a:lnTo>
                      <a:pt x="1682" y="807"/>
                    </a:lnTo>
                    <a:lnTo>
                      <a:pt x="1674" y="821"/>
                    </a:lnTo>
                    <a:lnTo>
                      <a:pt x="1667" y="830"/>
                    </a:lnTo>
                    <a:lnTo>
                      <a:pt x="1674" y="836"/>
                    </a:lnTo>
                    <a:lnTo>
                      <a:pt x="1677" y="852"/>
                    </a:lnTo>
                    <a:lnTo>
                      <a:pt x="1674" y="857"/>
                    </a:lnTo>
                    <a:lnTo>
                      <a:pt x="1683" y="864"/>
                    </a:lnTo>
                    <a:lnTo>
                      <a:pt x="1680" y="872"/>
                    </a:lnTo>
                    <a:lnTo>
                      <a:pt x="1691" y="881"/>
                    </a:lnTo>
                    <a:lnTo>
                      <a:pt x="1698" y="887"/>
                    </a:lnTo>
                    <a:lnTo>
                      <a:pt x="1691" y="888"/>
                    </a:lnTo>
                    <a:lnTo>
                      <a:pt x="1709" y="905"/>
                    </a:lnTo>
                    <a:lnTo>
                      <a:pt x="1716" y="906"/>
                    </a:lnTo>
                    <a:lnTo>
                      <a:pt x="1709" y="890"/>
                    </a:lnTo>
                    <a:lnTo>
                      <a:pt x="1712" y="887"/>
                    </a:lnTo>
                    <a:lnTo>
                      <a:pt x="1721" y="899"/>
                    </a:lnTo>
                    <a:lnTo>
                      <a:pt x="1727" y="899"/>
                    </a:lnTo>
                    <a:lnTo>
                      <a:pt x="1722" y="891"/>
                    </a:lnTo>
                    <a:lnTo>
                      <a:pt x="1725" y="888"/>
                    </a:lnTo>
                    <a:lnTo>
                      <a:pt x="1725" y="876"/>
                    </a:lnTo>
                    <a:lnTo>
                      <a:pt x="1734" y="854"/>
                    </a:lnTo>
                    <a:lnTo>
                      <a:pt x="1754" y="852"/>
                    </a:lnTo>
                    <a:lnTo>
                      <a:pt x="1769" y="848"/>
                    </a:lnTo>
                    <a:lnTo>
                      <a:pt x="1781" y="851"/>
                    </a:lnTo>
                    <a:lnTo>
                      <a:pt x="1788" y="845"/>
                    </a:lnTo>
                    <a:lnTo>
                      <a:pt x="1793" y="851"/>
                    </a:lnTo>
                    <a:lnTo>
                      <a:pt x="1793" y="858"/>
                    </a:lnTo>
                    <a:lnTo>
                      <a:pt x="1800" y="857"/>
                    </a:lnTo>
                    <a:lnTo>
                      <a:pt x="1800" y="848"/>
                    </a:lnTo>
                    <a:lnTo>
                      <a:pt x="1824" y="851"/>
                    </a:lnTo>
                    <a:lnTo>
                      <a:pt x="1826" y="858"/>
                    </a:lnTo>
                    <a:lnTo>
                      <a:pt x="1838" y="867"/>
                    </a:lnTo>
                    <a:lnTo>
                      <a:pt x="1850" y="866"/>
                    </a:lnTo>
                    <a:lnTo>
                      <a:pt x="1848" y="878"/>
                    </a:lnTo>
                    <a:lnTo>
                      <a:pt x="1875" y="873"/>
                    </a:lnTo>
                    <a:lnTo>
                      <a:pt x="1914" y="852"/>
                    </a:lnTo>
                    <a:lnTo>
                      <a:pt x="1920" y="857"/>
                    </a:lnTo>
                    <a:lnTo>
                      <a:pt x="1929" y="863"/>
                    </a:lnTo>
                    <a:lnTo>
                      <a:pt x="1932" y="855"/>
                    </a:lnTo>
                    <a:lnTo>
                      <a:pt x="1950" y="852"/>
                    </a:lnTo>
                    <a:lnTo>
                      <a:pt x="1953" y="845"/>
                    </a:lnTo>
                    <a:lnTo>
                      <a:pt x="1959" y="842"/>
                    </a:lnTo>
                    <a:lnTo>
                      <a:pt x="1965" y="852"/>
                    </a:lnTo>
                    <a:lnTo>
                      <a:pt x="1968" y="863"/>
                    </a:lnTo>
                    <a:lnTo>
                      <a:pt x="1989" y="875"/>
                    </a:lnTo>
                    <a:lnTo>
                      <a:pt x="2003" y="897"/>
                    </a:lnTo>
                    <a:lnTo>
                      <a:pt x="2015" y="897"/>
                    </a:lnTo>
                    <a:lnTo>
                      <a:pt x="2034" y="908"/>
                    </a:lnTo>
                    <a:lnTo>
                      <a:pt x="2037" y="941"/>
                    </a:lnTo>
                    <a:lnTo>
                      <a:pt x="2045" y="941"/>
                    </a:lnTo>
                    <a:lnTo>
                      <a:pt x="2046" y="960"/>
                    </a:lnTo>
                    <a:lnTo>
                      <a:pt x="2069" y="962"/>
                    </a:lnTo>
                    <a:lnTo>
                      <a:pt x="2070" y="947"/>
                    </a:lnTo>
                    <a:lnTo>
                      <a:pt x="2054" y="941"/>
                    </a:lnTo>
                    <a:lnTo>
                      <a:pt x="2067" y="924"/>
                    </a:lnTo>
                    <a:lnTo>
                      <a:pt x="2078" y="941"/>
                    </a:lnTo>
                    <a:lnTo>
                      <a:pt x="2097" y="944"/>
                    </a:lnTo>
                    <a:lnTo>
                      <a:pt x="2109" y="965"/>
                    </a:lnTo>
                    <a:lnTo>
                      <a:pt x="2097" y="980"/>
                    </a:lnTo>
                    <a:lnTo>
                      <a:pt x="2081" y="989"/>
                    </a:lnTo>
                    <a:lnTo>
                      <a:pt x="2075" y="1007"/>
                    </a:lnTo>
                    <a:lnTo>
                      <a:pt x="2058" y="1013"/>
                    </a:lnTo>
                    <a:lnTo>
                      <a:pt x="2060" y="1020"/>
                    </a:lnTo>
                    <a:lnTo>
                      <a:pt x="2066" y="1028"/>
                    </a:lnTo>
                    <a:lnTo>
                      <a:pt x="2061" y="1035"/>
                    </a:lnTo>
                    <a:lnTo>
                      <a:pt x="2055" y="1055"/>
                    </a:lnTo>
                    <a:lnTo>
                      <a:pt x="2063" y="1056"/>
                    </a:lnTo>
                    <a:lnTo>
                      <a:pt x="2060" y="1064"/>
                    </a:lnTo>
                    <a:lnTo>
                      <a:pt x="2048" y="1080"/>
                    </a:lnTo>
                    <a:lnTo>
                      <a:pt x="2040" y="1100"/>
                    </a:lnTo>
                    <a:lnTo>
                      <a:pt x="2060" y="1110"/>
                    </a:lnTo>
                    <a:lnTo>
                      <a:pt x="2063" y="1100"/>
                    </a:lnTo>
                    <a:lnTo>
                      <a:pt x="2094" y="1103"/>
                    </a:lnTo>
                    <a:lnTo>
                      <a:pt x="2099" y="1124"/>
                    </a:lnTo>
                    <a:lnTo>
                      <a:pt x="2093" y="1130"/>
                    </a:lnTo>
                    <a:lnTo>
                      <a:pt x="2102" y="1134"/>
                    </a:lnTo>
                    <a:lnTo>
                      <a:pt x="2097" y="1140"/>
                    </a:lnTo>
                    <a:lnTo>
                      <a:pt x="2118" y="1161"/>
                    </a:lnTo>
                    <a:lnTo>
                      <a:pt x="2120" y="1178"/>
                    </a:lnTo>
                    <a:lnTo>
                      <a:pt x="2090" y="1199"/>
                    </a:lnTo>
                    <a:lnTo>
                      <a:pt x="2076" y="1202"/>
                    </a:lnTo>
                    <a:lnTo>
                      <a:pt x="2067" y="1202"/>
                    </a:lnTo>
                    <a:lnTo>
                      <a:pt x="2045" y="1236"/>
                    </a:lnTo>
                    <a:lnTo>
                      <a:pt x="2051" y="1248"/>
                    </a:lnTo>
                    <a:lnTo>
                      <a:pt x="2066" y="1259"/>
                    </a:lnTo>
                    <a:lnTo>
                      <a:pt x="2048" y="1283"/>
                    </a:lnTo>
                    <a:lnTo>
                      <a:pt x="2016" y="1290"/>
                    </a:lnTo>
                    <a:lnTo>
                      <a:pt x="2003" y="1293"/>
                    </a:lnTo>
                    <a:lnTo>
                      <a:pt x="2003" y="1281"/>
                    </a:lnTo>
                    <a:lnTo>
                      <a:pt x="1965" y="1277"/>
                    </a:lnTo>
                    <a:lnTo>
                      <a:pt x="1956" y="1275"/>
                    </a:lnTo>
                    <a:lnTo>
                      <a:pt x="1949" y="1275"/>
                    </a:lnTo>
                    <a:lnTo>
                      <a:pt x="1941" y="1262"/>
                    </a:lnTo>
                    <a:lnTo>
                      <a:pt x="1923" y="1266"/>
                    </a:lnTo>
                    <a:lnTo>
                      <a:pt x="1920" y="1256"/>
                    </a:lnTo>
                    <a:lnTo>
                      <a:pt x="1932" y="1236"/>
                    </a:lnTo>
                    <a:lnTo>
                      <a:pt x="1931" y="1214"/>
                    </a:lnTo>
                    <a:lnTo>
                      <a:pt x="1923" y="1208"/>
                    </a:lnTo>
                    <a:lnTo>
                      <a:pt x="1898" y="1226"/>
                    </a:lnTo>
                    <a:lnTo>
                      <a:pt x="1896" y="1223"/>
                    </a:lnTo>
                    <a:lnTo>
                      <a:pt x="1877" y="1229"/>
                    </a:lnTo>
                    <a:lnTo>
                      <a:pt x="1850" y="1250"/>
                    </a:lnTo>
                    <a:lnTo>
                      <a:pt x="1839" y="1227"/>
                    </a:lnTo>
                    <a:lnTo>
                      <a:pt x="1818" y="1217"/>
                    </a:lnTo>
                    <a:lnTo>
                      <a:pt x="1805" y="1202"/>
                    </a:lnTo>
                    <a:lnTo>
                      <a:pt x="1794" y="1214"/>
                    </a:lnTo>
                    <a:lnTo>
                      <a:pt x="1790" y="1214"/>
                    </a:lnTo>
                    <a:lnTo>
                      <a:pt x="1778" y="1202"/>
                    </a:lnTo>
                    <a:lnTo>
                      <a:pt x="1761" y="1200"/>
                    </a:lnTo>
                    <a:lnTo>
                      <a:pt x="1746" y="1206"/>
                    </a:lnTo>
                    <a:lnTo>
                      <a:pt x="1728" y="1197"/>
                    </a:lnTo>
                    <a:lnTo>
                      <a:pt x="1713" y="1178"/>
                    </a:lnTo>
                    <a:lnTo>
                      <a:pt x="1707" y="1182"/>
                    </a:lnTo>
                    <a:lnTo>
                      <a:pt x="1692" y="1190"/>
                    </a:lnTo>
                    <a:lnTo>
                      <a:pt x="1680" y="1193"/>
                    </a:lnTo>
                    <a:lnTo>
                      <a:pt x="1670" y="1202"/>
                    </a:lnTo>
                    <a:lnTo>
                      <a:pt x="1670" y="1205"/>
                    </a:lnTo>
                    <a:lnTo>
                      <a:pt x="1658" y="1211"/>
                    </a:lnTo>
                    <a:lnTo>
                      <a:pt x="1670" y="1215"/>
                    </a:lnTo>
                    <a:lnTo>
                      <a:pt x="1668" y="1226"/>
                    </a:lnTo>
                    <a:lnTo>
                      <a:pt x="1653" y="1217"/>
                    </a:lnTo>
                    <a:lnTo>
                      <a:pt x="1646" y="1220"/>
                    </a:lnTo>
                    <a:lnTo>
                      <a:pt x="1632" y="1233"/>
                    </a:lnTo>
                    <a:lnTo>
                      <a:pt x="1625" y="1229"/>
                    </a:lnTo>
                    <a:lnTo>
                      <a:pt x="1619" y="1226"/>
                    </a:lnTo>
                    <a:lnTo>
                      <a:pt x="1613" y="1215"/>
                    </a:lnTo>
                    <a:lnTo>
                      <a:pt x="1602" y="1206"/>
                    </a:lnTo>
                    <a:lnTo>
                      <a:pt x="1598" y="1199"/>
                    </a:lnTo>
                    <a:lnTo>
                      <a:pt x="1587" y="1197"/>
                    </a:lnTo>
                    <a:lnTo>
                      <a:pt x="1577" y="1197"/>
                    </a:lnTo>
                    <a:lnTo>
                      <a:pt x="1577" y="1206"/>
                    </a:lnTo>
                    <a:lnTo>
                      <a:pt x="1569" y="1206"/>
                    </a:lnTo>
                    <a:lnTo>
                      <a:pt x="1565" y="1217"/>
                    </a:lnTo>
                    <a:lnTo>
                      <a:pt x="1548" y="1220"/>
                    </a:lnTo>
                    <a:lnTo>
                      <a:pt x="1545" y="1224"/>
                    </a:lnTo>
                    <a:lnTo>
                      <a:pt x="1532" y="1236"/>
                    </a:lnTo>
                    <a:lnTo>
                      <a:pt x="1482" y="1236"/>
                    </a:lnTo>
                    <a:lnTo>
                      <a:pt x="1479" y="1227"/>
                    </a:lnTo>
                    <a:lnTo>
                      <a:pt x="1473" y="1230"/>
                    </a:lnTo>
                    <a:lnTo>
                      <a:pt x="1461" y="1220"/>
                    </a:lnTo>
                    <a:lnTo>
                      <a:pt x="1455" y="1227"/>
                    </a:lnTo>
                    <a:lnTo>
                      <a:pt x="1440" y="1218"/>
                    </a:lnTo>
                    <a:lnTo>
                      <a:pt x="1427" y="1220"/>
                    </a:lnTo>
                    <a:lnTo>
                      <a:pt x="1422" y="1229"/>
                    </a:lnTo>
                    <a:lnTo>
                      <a:pt x="1412" y="1242"/>
                    </a:lnTo>
                    <a:lnTo>
                      <a:pt x="1386" y="1238"/>
                    </a:lnTo>
                    <a:lnTo>
                      <a:pt x="1380" y="1241"/>
                    </a:lnTo>
                    <a:lnTo>
                      <a:pt x="1364" y="1245"/>
                    </a:lnTo>
                    <a:lnTo>
                      <a:pt x="1358" y="1242"/>
                    </a:lnTo>
                    <a:lnTo>
                      <a:pt x="1358" y="1224"/>
                    </a:lnTo>
                    <a:lnTo>
                      <a:pt x="1353" y="1224"/>
                    </a:lnTo>
                    <a:lnTo>
                      <a:pt x="1352" y="1224"/>
                    </a:lnTo>
                    <a:lnTo>
                      <a:pt x="1346" y="1233"/>
                    </a:lnTo>
                    <a:lnTo>
                      <a:pt x="1340" y="1224"/>
                    </a:lnTo>
                    <a:lnTo>
                      <a:pt x="1328" y="1229"/>
                    </a:lnTo>
                    <a:lnTo>
                      <a:pt x="1323" y="1224"/>
                    </a:lnTo>
                    <a:lnTo>
                      <a:pt x="1296" y="1247"/>
                    </a:lnTo>
                    <a:lnTo>
                      <a:pt x="1281" y="1247"/>
                    </a:lnTo>
                    <a:lnTo>
                      <a:pt x="1277" y="1241"/>
                    </a:lnTo>
                    <a:lnTo>
                      <a:pt x="1260" y="1239"/>
                    </a:lnTo>
                    <a:lnTo>
                      <a:pt x="1262" y="1230"/>
                    </a:lnTo>
                    <a:lnTo>
                      <a:pt x="1244" y="1232"/>
                    </a:lnTo>
                    <a:lnTo>
                      <a:pt x="1236" y="1227"/>
                    </a:lnTo>
                    <a:lnTo>
                      <a:pt x="1235" y="1214"/>
                    </a:lnTo>
                    <a:lnTo>
                      <a:pt x="1220" y="1211"/>
                    </a:lnTo>
                    <a:lnTo>
                      <a:pt x="1215" y="1200"/>
                    </a:lnTo>
                    <a:close/>
                  </a:path>
                </a:pathLst>
              </a:custGeom>
              <a:solidFill>
                <a:sysClr val="window" lastClr="FFFFFF"/>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8" name="Freeform 301">
                <a:extLst>
                  <a:ext uri="{FF2B5EF4-FFF2-40B4-BE49-F238E27FC236}">
                    <a16:creationId xmlns:a16="http://schemas.microsoft.com/office/drawing/2014/main" id="{84693D61-3A69-ECB0-0B0C-6353FBC50F55}"/>
                  </a:ext>
                </a:extLst>
              </p:cNvPr>
              <p:cNvSpPr>
                <a:spLocks/>
              </p:cNvSpPr>
              <p:nvPr/>
            </p:nvSpPr>
            <p:spPr bwMode="auto">
              <a:xfrm>
                <a:off x="3365" y="1045"/>
                <a:ext cx="308" cy="366"/>
              </a:xfrm>
              <a:custGeom>
                <a:avLst/>
                <a:gdLst>
                  <a:gd name="T0" fmla="*/ 0 w 924"/>
                  <a:gd name="T1" fmla="*/ 0 h 1098"/>
                  <a:gd name="T2" fmla="*/ 0 w 924"/>
                  <a:gd name="T3" fmla="*/ 0 h 1098"/>
                  <a:gd name="T4" fmla="*/ 0 w 924"/>
                  <a:gd name="T5" fmla="*/ 0 h 1098"/>
                  <a:gd name="T6" fmla="*/ 0 w 924"/>
                  <a:gd name="T7" fmla="*/ 0 h 1098"/>
                  <a:gd name="T8" fmla="*/ 0 w 924"/>
                  <a:gd name="T9" fmla="*/ 0 h 1098"/>
                  <a:gd name="T10" fmla="*/ 0 w 924"/>
                  <a:gd name="T11" fmla="*/ 0 h 1098"/>
                  <a:gd name="T12" fmla="*/ 0 w 924"/>
                  <a:gd name="T13" fmla="*/ 0 h 1098"/>
                  <a:gd name="T14" fmla="*/ 0 w 924"/>
                  <a:gd name="T15" fmla="*/ 0 h 1098"/>
                  <a:gd name="T16" fmla="*/ 0 w 924"/>
                  <a:gd name="T17" fmla="*/ 0 h 1098"/>
                  <a:gd name="T18" fmla="*/ 0 w 924"/>
                  <a:gd name="T19" fmla="*/ 0 h 1098"/>
                  <a:gd name="T20" fmla="*/ 0 w 924"/>
                  <a:gd name="T21" fmla="*/ 0 h 1098"/>
                  <a:gd name="T22" fmla="*/ 0 w 924"/>
                  <a:gd name="T23" fmla="*/ 0 h 1098"/>
                  <a:gd name="T24" fmla="*/ 0 w 924"/>
                  <a:gd name="T25" fmla="*/ 0 h 1098"/>
                  <a:gd name="T26" fmla="*/ 0 w 924"/>
                  <a:gd name="T27" fmla="*/ 0 h 1098"/>
                  <a:gd name="T28" fmla="*/ 0 w 924"/>
                  <a:gd name="T29" fmla="*/ 0 h 1098"/>
                  <a:gd name="T30" fmla="*/ 0 w 924"/>
                  <a:gd name="T31" fmla="*/ 0 h 1098"/>
                  <a:gd name="T32" fmla="*/ 0 w 924"/>
                  <a:gd name="T33" fmla="*/ 0 h 1098"/>
                  <a:gd name="T34" fmla="*/ 0 w 924"/>
                  <a:gd name="T35" fmla="*/ 0 h 1098"/>
                  <a:gd name="T36" fmla="*/ 0 w 924"/>
                  <a:gd name="T37" fmla="*/ 0 h 1098"/>
                  <a:gd name="T38" fmla="*/ 0 w 924"/>
                  <a:gd name="T39" fmla="*/ 0 h 1098"/>
                  <a:gd name="T40" fmla="*/ 0 w 924"/>
                  <a:gd name="T41" fmla="*/ 0 h 1098"/>
                  <a:gd name="T42" fmla="*/ 0 w 924"/>
                  <a:gd name="T43" fmla="*/ 0 h 1098"/>
                  <a:gd name="T44" fmla="*/ 0 w 924"/>
                  <a:gd name="T45" fmla="*/ 0 h 1098"/>
                  <a:gd name="T46" fmla="*/ 0 w 924"/>
                  <a:gd name="T47" fmla="*/ 0 h 1098"/>
                  <a:gd name="T48" fmla="*/ 0 w 924"/>
                  <a:gd name="T49" fmla="*/ 0 h 1098"/>
                  <a:gd name="T50" fmla="*/ 0 w 924"/>
                  <a:gd name="T51" fmla="*/ 0 h 1098"/>
                  <a:gd name="T52" fmla="*/ 0 w 924"/>
                  <a:gd name="T53" fmla="*/ 0 h 1098"/>
                  <a:gd name="T54" fmla="*/ 0 w 924"/>
                  <a:gd name="T55" fmla="*/ 0 h 1098"/>
                  <a:gd name="T56" fmla="*/ 0 w 924"/>
                  <a:gd name="T57" fmla="*/ 0 h 1098"/>
                  <a:gd name="T58" fmla="*/ 0 w 924"/>
                  <a:gd name="T59" fmla="*/ 0 h 1098"/>
                  <a:gd name="T60" fmla="*/ 0 w 924"/>
                  <a:gd name="T61" fmla="*/ 0 h 1098"/>
                  <a:gd name="T62" fmla="*/ 0 w 924"/>
                  <a:gd name="T63" fmla="*/ 0 h 1098"/>
                  <a:gd name="T64" fmla="*/ 0 w 924"/>
                  <a:gd name="T65" fmla="*/ 0 h 1098"/>
                  <a:gd name="T66" fmla="*/ 0 w 924"/>
                  <a:gd name="T67" fmla="*/ 0 h 1098"/>
                  <a:gd name="T68" fmla="*/ 0 w 924"/>
                  <a:gd name="T69" fmla="*/ 0 h 1098"/>
                  <a:gd name="T70" fmla="*/ 0 w 924"/>
                  <a:gd name="T71" fmla="*/ 0 h 1098"/>
                  <a:gd name="T72" fmla="*/ 0 w 924"/>
                  <a:gd name="T73" fmla="*/ 0 h 1098"/>
                  <a:gd name="T74" fmla="*/ 0 w 924"/>
                  <a:gd name="T75" fmla="*/ 0 h 1098"/>
                  <a:gd name="T76" fmla="*/ 0 w 924"/>
                  <a:gd name="T77" fmla="*/ 0 h 1098"/>
                  <a:gd name="T78" fmla="*/ 0 w 924"/>
                  <a:gd name="T79" fmla="*/ 0 h 1098"/>
                  <a:gd name="T80" fmla="*/ 0 w 924"/>
                  <a:gd name="T81" fmla="*/ 0 h 1098"/>
                  <a:gd name="T82" fmla="*/ 0 w 924"/>
                  <a:gd name="T83" fmla="*/ 0 h 1098"/>
                  <a:gd name="T84" fmla="*/ 0 w 924"/>
                  <a:gd name="T85" fmla="*/ 0 h 1098"/>
                  <a:gd name="T86" fmla="*/ 0 w 924"/>
                  <a:gd name="T87" fmla="*/ 0 h 1098"/>
                  <a:gd name="T88" fmla="*/ 0 w 924"/>
                  <a:gd name="T89" fmla="*/ 0 h 1098"/>
                  <a:gd name="T90" fmla="*/ 0 w 924"/>
                  <a:gd name="T91" fmla="*/ 0 h 1098"/>
                  <a:gd name="T92" fmla="*/ 0 w 924"/>
                  <a:gd name="T93" fmla="*/ 0 h 1098"/>
                  <a:gd name="T94" fmla="*/ 0 w 924"/>
                  <a:gd name="T95" fmla="*/ 0 h 1098"/>
                  <a:gd name="T96" fmla="*/ 0 w 924"/>
                  <a:gd name="T97" fmla="*/ 0 h 1098"/>
                  <a:gd name="T98" fmla="*/ 0 w 924"/>
                  <a:gd name="T99" fmla="*/ 0 h 1098"/>
                  <a:gd name="T100" fmla="*/ 0 w 924"/>
                  <a:gd name="T101" fmla="*/ 0 h 1098"/>
                  <a:gd name="T102" fmla="*/ 0 w 924"/>
                  <a:gd name="T103" fmla="*/ 0 h 1098"/>
                  <a:gd name="T104" fmla="*/ 0 w 924"/>
                  <a:gd name="T105" fmla="*/ 0 h 1098"/>
                  <a:gd name="T106" fmla="*/ 0 w 924"/>
                  <a:gd name="T107" fmla="*/ 0 h 1098"/>
                  <a:gd name="T108" fmla="*/ 0 w 924"/>
                  <a:gd name="T109" fmla="*/ 0 h 1098"/>
                  <a:gd name="T110" fmla="*/ 0 w 924"/>
                  <a:gd name="T111" fmla="*/ 0 h 1098"/>
                  <a:gd name="T112" fmla="*/ 0 w 924"/>
                  <a:gd name="T113" fmla="*/ 0 h 1098"/>
                  <a:gd name="T114" fmla="*/ 0 w 924"/>
                  <a:gd name="T115" fmla="*/ 0 h 109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924" h="1098">
                    <a:moveTo>
                      <a:pt x="894" y="630"/>
                    </a:moveTo>
                    <a:lnTo>
                      <a:pt x="896" y="638"/>
                    </a:lnTo>
                    <a:lnTo>
                      <a:pt x="899" y="645"/>
                    </a:lnTo>
                    <a:lnTo>
                      <a:pt x="890" y="645"/>
                    </a:lnTo>
                    <a:lnTo>
                      <a:pt x="887" y="648"/>
                    </a:lnTo>
                    <a:lnTo>
                      <a:pt x="888" y="656"/>
                    </a:lnTo>
                    <a:lnTo>
                      <a:pt x="884" y="657"/>
                    </a:lnTo>
                    <a:lnTo>
                      <a:pt x="878" y="647"/>
                    </a:lnTo>
                    <a:lnTo>
                      <a:pt x="875" y="647"/>
                    </a:lnTo>
                    <a:lnTo>
                      <a:pt x="872" y="654"/>
                    </a:lnTo>
                    <a:lnTo>
                      <a:pt x="870" y="651"/>
                    </a:lnTo>
                    <a:lnTo>
                      <a:pt x="863" y="660"/>
                    </a:lnTo>
                    <a:lnTo>
                      <a:pt x="858" y="662"/>
                    </a:lnTo>
                    <a:lnTo>
                      <a:pt x="861" y="666"/>
                    </a:lnTo>
                    <a:lnTo>
                      <a:pt x="858" y="669"/>
                    </a:lnTo>
                    <a:lnTo>
                      <a:pt x="869" y="675"/>
                    </a:lnTo>
                    <a:lnTo>
                      <a:pt x="866" y="680"/>
                    </a:lnTo>
                    <a:lnTo>
                      <a:pt x="863" y="689"/>
                    </a:lnTo>
                    <a:lnTo>
                      <a:pt x="864" y="696"/>
                    </a:lnTo>
                    <a:lnTo>
                      <a:pt x="857" y="698"/>
                    </a:lnTo>
                    <a:lnTo>
                      <a:pt x="854" y="698"/>
                    </a:lnTo>
                    <a:lnTo>
                      <a:pt x="846" y="699"/>
                    </a:lnTo>
                    <a:lnTo>
                      <a:pt x="843" y="702"/>
                    </a:lnTo>
                    <a:lnTo>
                      <a:pt x="849" y="710"/>
                    </a:lnTo>
                    <a:lnTo>
                      <a:pt x="854" y="710"/>
                    </a:lnTo>
                    <a:lnTo>
                      <a:pt x="852" y="719"/>
                    </a:lnTo>
                    <a:lnTo>
                      <a:pt x="864" y="722"/>
                    </a:lnTo>
                    <a:lnTo>
                      <a:pt x="863" y="743"/>
                    </a:lnTo>
                    <a:lnTo>
                      <a:pt x="857" y="747"/>
                    </a:lnTo>
                    <a:lnTo>
                      <a:pt x="846" y="753"/>
                    </a:lnTo>
                    <a:lnTo>
                      <a:pt x="849" y="765"/>
                    </a:lnTo>
                    <a:lnTo>
                      <a:pt x="855" y="767"/>
                    </a:lnTo>
                    <a:lnTo>
                      <a:pt x="855" y="770"/>
                    </a:lnTo>
                    <a:lnTo>
                      <a:pt x="846" y="771"/>
                    </a:lnTo>
                    <a:lnTo>
                      <a:pt x="846" y="777"/>
                    </a:lnTo>
                    <a:lnTo>
                      <a:pt x="830" y="801"/>
                    </a:lnTo>
                    <a:lnTo>
                      <a:pt x="831" y="803"/>
                    </a:lnTo>
                    <a:lnTo>
                      <a:pt x="837" y="804"/>
                    </a:lnTo>
                    <a:lnTo>
                      <a:pt x="828" y="821"/>
                    </a:lnTo>
                    <a:lnTo>
                      <a:pt x="828" y="831"/>
                    </a:lnTo>
                    <a:lnTo>
                      <a:pt x="836" y="831"/>
                    </a:lnTo>
                    <a:lnTo>
                      <a:pt x="836" y="833"/>
                    </a:lnTo>
                    <a:lnTo>
                      <a:pt x="833" y="836"/>
                    </a:lnTo>
                    <a:lnTo>
                      <a:pt x="836" y="840"/>
                    </a:lnTo>
                    <a:lnTo>
                      <a:pt x="842" y="845"/>
                    </a:lnTo>
                    <a:lnTo>
                      <a:pt x="839" y="855"/>
                    </a:lnTo>
                    <a:lnTo>
                      <a:pt x="837" y="864"/>
                    </a:lnTo>
                    <a:lnTo>
                      <a:pt x="831" y="869"/>
                    </a:lnTo>
                    <a:lnTo>
                      <a:pt x="831" y="873"/>
                    </a:lnTo>
                    <a:lnTo>
                      <a:pt x="828" y="875"/>
                    </a:lnTo>
                    <a:lnTo>
                      <a:pt x="834" y="882"/>
                    </a:lnTo>
                    <a:lnTo>
                      <a:pt x="833" y="887"/>
                    </a:lnTo>
                    <a:lnTo>
                      <a:pt x="833" y="896"/>
                    </a:lnTo>
                    <a:lnTo>
                      <a:pt x="830" y="897"/>
                    </a:lnTo>
                    <a:lnTo>
                      <a:pt x="830" y="902"/>
                    </a:lnTo>
                    <a:lnTo>
                      <a:pt x="834" y="908"/>
                    </a:lnTo>
                    <a:lnTo>
                      <a:pt x="830" y="917"/>
                    </a:lnTo>
                    <a:lnTo>
                      <a:pt x="833" y="920"/>
                    </a:lnTo>
                    <a:lnTo>
                      <a:pt x="833" y="930"/>
                    </a:lnTo>
                    <a:lnTo>
                      <a:pt x="843" y="935"/>
                    </a:lnTo>
                    <a:lnTo>
                      <a:pt x="848" y="945"/>
                    </a:lnTo>
                    <a:lnTo>
                      <a:pt x="861" y="957"/>
                    </a:lnTo>
                    <a:lnTo>
                      <a:pt x="863" y="960"/>
                    </a:lnTo>
                    <a:lnTo>
                      <a:pt x="849" y="959"/>
                    </a:lnTo>
                    <a:lnTo>
                      <a:pt x="833" y="972"/>
                    </a:lnTo>
                    <a:lnTo>
                      <a:pt x="827" y="969"/>
                    </a:lnTo>
                    <a:lnTo>
                      <a:pt x="816" y="969"/>
                    </a:lnTo>
                    <a:lnTo>
                      <a:pt x="807" y="975"/>
                    </a:lnTo>
                    <a:lnTo>
                      <a:pt x="813" y="984"/>
                    </a:lnTo>
                    <a:lnTo>
                      <a:pt x="804" y="993"/>
                    </a:lnTo>
                    <a:lnTo>
                      <a:pt x="788" y="996"/>
                    </a:lnTo>
                    <a:lnTo>
                      <a:pt x="788" y="1004"/>
                    </a:lnTo>
                    <a:lnTo>
                      <a:pt x="785" y="1001"/>
                    </a:lnTo>
                    <a:lnTo>
                      <a:pt x="774" y="1008"/>
                    </a:lnTo>
                    <a:lnTo>
                      <a:pt x="783" y="1013"/>
                    </a:lnTo>
                    <a:lnTo>
                      <a:pt x="782" y="1019"/>
                    </a:lnTo>
                    <a:lnTo>
                      <a:pt x="777" y="1019"/>
                    </a:lnTo>
                    <a:lnTo>
                      <a:pt x="773" y="1025"/>
                    </a:lnTo>
                    <a:lnTo>
                      <a:pt x="779" y="1037"/>
                    </a:lnTo>
                    <a:lnTo>
                      <a:pt x="764" y="1037"/>
                    </a:lnTo>
                    <a:lnTo>
                      <a:pt x="746" y="1041"/>
                    </a:lnTo>
                    <a:lnTo>
                      <a:pt x="743" y="1047"/>
                    </a:lnTo>
                    <a:lnTo>
                      <a:pt x="750" y="1056"/>
                    </a:lnTo>
                    <a:lnTo>
                      <a:pt x="747" y="1062"/>
                    </a:lnTo>
                    <a:lnTo>
                      <a:pt x="725" y="1068"/>
                    </a:lnTo>
                    <a:lnTo>
                      <a:pt x="717" y="1071"/>
                    </a:lnTo>
                    <a:lnTo>
                      <a:pt x="710" y="1061"/>
                    </a:lnTo>
                    <a:lnTo>
                      <a:pt x="704" y="1061"/>
                    </a:lnTo>
                    <a:lnTo>
                      <a:pt x="698" y="1049"/>
                    </a:lnTo>
                    <a:lnTo>
                      <a:pt x="690" y="1046"/>
                    </a:lnTo>
                    <a:lnTo>
                      <a:pt x="681" y="1044"/>
                    </a:lnTo>
                    <a:lnTo>
                      <a:pt x="669" y="1070"/>
                    </a:lnTo>
                    <a:lnTo>
                      <a:pt x="647" y="1064"/>
                    </a:lnTo>
                    <a:lnTo>
                      <a:pt x="642" y="1068"/>
                    </a:lnTo>
                    <a:lnTo>
                      <a:pt x="642" y="1071"/>
                    </a:lnTo>
                    <a:lnTo>
                      <a:pt x="638" y="1073"/>
                    </a:lnTo>
                    <a:lnTo>
                      <a:pt x="635" y="1080"/>
                    </a:lnTo>
                    <a:lnTo>
                      <a:pt x="627" y="1080"/>
                    </a:lnTo>
                    <a:lnTo>
                      <a:pt x="632" y="1062"/>
                    </a:lnTo>
                    <a:lnTo>
                      <a:pt x="624" y="1061"/>
                    </a:lnTo>
                    <a:lnTo>
                      <a:pt x="629" y="1046"/>
                    </a:lnTo>
                    <a:lnTo>
                      <a:pt x="621" y="1044"/>
                    </a:lnTo>
                    <a:lnTo>
                      <a:pt x="618" y="1049"/>
                    </a:lnTo>
                    <a:lnTo>
                      <a:pt x="612" y="1041"/>
                    </a:lnTo>
                    <a:lnTo>
                      <a:pt x="605" y="1043"/>
                    </a:lnTo>
                    <a:lnTo>
                      <a:pt x="597" y="1029"/>
                    </a:lnTo>
                    <a:lnTo>
                      <a:pt x="596" y="1029"/>
                    </a:lnTo>
                    <a:lnTo>
                      <a:pt x="596" y="1034"/>
                    </a:lnTo>
                    <a:lnTo>
                      <a:pt x="585" y="1041"/>
                    </a:lnTo>
                    <a:lnTo>
                      <a:pt x="584" y="1050"/>
                    </a:lnTo>
                    <a:lnTo>
                      <a:pt x="579" y="1055"/>
                    </a:lnTo>
                    <a:lnTo>
                      <a:pt x="579" y="1059"/>
                    </a:lnTo>
                    <a:lnTo>
                      <a:pt x="578" y="1068"/>
                    </a:lnTo>
                    <a:lnTo>
                      <a:pt x="572" y="1064"/>
                    </a:lnTo>
                    <a:lnTo>
                      <a:pt x="567" y="1065"/>
                    </a:lnTo>
                    <a:lnTo>
                      <a:pt x="554" y="1064"/>
                    </a:lnTo>
                    <a:lnTo>
                      <a:pt x="555" y="1070"/>
                    </a:lnTo>
                    <a:lnTo>
                      <a:pt x="557" y="1074"/>
                    </a:lnTo>
                    <a:lnTo>
                      <a:pt x="563" y="1074"/>
                    </a:lnTo>
                    <a:lnTo>
                      <a:pt x="563" y="1082"/>
                    </a:lnTo>
                    <a:lnTo>
                      <a:pt x="545" y="1080"/>
                    </a:lnTo>
                    <a:lnTo>
                      <a:pt x="522" y="1082"/>
                    </a:lnTo>
                    <a:lnTo>
                      <a:pt x="522" y="1074"/>
                    </a:lnTo>
                    <a:lnTo>
                      <a:pt x="515" y="1074"/>
                    </a:lnTo>
                    <a:lnTo>
                      <a:pt x="504" y="1086"/>
                    </a:lnTo>
                    <a:lnTo>
                      <a:pt x="479" y="1086"/>
                    </a:lnTo>
                    <a:lnTo>
                      <a:pt x="479" y="1094"/>
                    </a:lnTo>
                    <a:lnTo>
                      <a:pt x="470" y="1098"/>
                    </a:lnTo>
                    <a:lnTo>
                      <a:pt x="459" y="1094"/>
                    </a:lnTo>
                    <a:lnTo>
                      <a:pt x="440" y="1098"/>
                    </a:lnTo>
                    <a:lnTo>
                      <a:pt x="438" y="1095"/>
                    </a:lnTo>
                    <a:lnTo>
                      <a:pt x="429" y="1098"/>
                    </a:lnTo>
                    <a:lnTo>
                      <a:pt x="420" y="1098"/>
                    </a:lnTo>
                    <a:lnTo>
                      <a:pt x="411" y="1089"/>
                    </a:lnTo>
                    <a:lnTo>
                      <a:pt x="401" y="1073"/>
                    </a:lnTo>
                    <a:lnTo>
                      <a:pt x="404" y="1064"/>
                    </a:lnTo>
                    <a:lnTo>
                      <a:pt x="411" y="1059"/>
                    </a:lnTo>
                    <a:lnTo>
                      <a:pt x="414" y="1043"/>
                    </a:lnTo>
                    <a:lnTo>
                      <a:pt x="417" y="1019"/>
                    </a:lnTo>
                    <a:lnTo>
                      <a:pt x="425" y="1010"/>
                    </a:lnTo>
                    <a:lnTo>
                      <a:pt x="423" y="996"/>
                    </a:lnTo>
                    <a:lnTo>
                      <a:pt x="414" y="990"/>
                    </a:lnTo>
                    <a:lnTo>
                      <a:pt x="414" y="986"/>
                    </a:lnTo>
                    <a:lnTo>
                      <a:pt x="419" y="977"/>
                    </a:lnTo>
                    <a:lnTo>
                      <a:pt x="414" y="968"/>
                    </a:lnTo>
                    <a:lnTo>
                      <a:pt x="404" y="960"/>
                    </a:lnTo>
                    <a:lnTo>
                      <a:pt x="384" y="960"/>
                    </a:lnTo>
                    <a:lnTo>
                      <a:pt x="383" y="951"/>
                    </a:lnTo>
                    <a:lnTo>
                      <a:pt x="387" y="941"/>
                    </a:lnTo>
                    <a:lnTo>
                      <a:pt x="387" y="921"/>
                    </a:lnTo>
                    <a:lnTo>
                      <a:pt x="383" y="911"/>
                    </a:lnTo>
                    <a:lnTo>
                      <a:pt x="381" y="906"/>
                    </a:lnTo>
                    <a:lnTo>
                      <a:pt x="378" y="902"/>
                    </a:lnTo>
                    <a:lnTo>
                      <a:pt x="365" y="911"/>
                    </a:lnTo>
                    <a:lnTo>
                      <a:pt x="356" y="920"/>
                    </a:lnTo>
                    <a:lnTo>
                      <a:pt x="347" y="918"/>
                    </a:lnTo>
                    <a:lnTo>
                      <a:pt x="336" y="918"/>
                    </a:lnTo>
                    <a:lnTo>
                      <a:pt x="326" y="921"/>
                    </a:lnTo>
                    <a:lnTo>
                      <a:pt x="329" y="911"/>
                    </a:lnTo>
                    <a:lnTo>
                      <a:pt x="315" y="909"/>
                    </a:lnTo>
                    <a:lnTo>
                      <a:pt x="306" y="890"/>
                    </a:lnTo>
                    <a:lnTo>
                      <a:pt x="285" y="890"/>
                    </a:lnTo>
                    <a:lnTo>
                      <a:pt x="281" y="875"/>
                    </a:lnTo>
                    <a:lnTo>
                      <a:pt x="273" y="860"/>
                    </a:lnTo>
                    <a:lnTo>
                      <a:pt x="273" y="849"/>
                    </a:lnTo>
                    <a:lnTo>
                      <a:pt x="264" y="836"/>
                    </a:lnTo>
                    <a:lnTo>
                      <a:pt x="264" y="819"/>
                    </a:lnTo>
                    <a:lnTo>
                      <a:pt x="266" y="786"/>
                    </a:lnTo>
                    <a:lnTo>
                      <a:pt x="252" y="786"/>
                    </a:lnTo>
                    <a:lnTo>
                      <a:pt x="245" y="771"/>
                    </a:lnTo>
                    <a:lnTo>
                      <a:pt x="234" y="764"/>
                    </a:lnTo>
                    <a:lnTo>
                      <a:pt x="218" y="764"/>
                    </a:lnTo>
                    <a:lnTo>
                      <a:pt x="207" y="759"/>
                    </a:lnTo>
                    <a:lnTo>
                      <a:pt x="206" y="752"/>
                    </a:lnTo>
                    <a:lnTo>
                      <a:pt x="210" y="734"/>
                    </a:lnTo>
                    <a:lnTo>
                      <a:pt x="209" y="725"/>
                    </a:lnTo>
                    <a:lnTo>
                      <a:pt x="189" y="717"/>
                    </a:lnTo>
                    <a:lnTo>
                      <a:pt x="186" y="713"/>
                    </a:lnTo>
                    <a:lnTo>
                      <a:pt x="177" y="716"/>
                    </a:lnTo>
                    <a:lnTo>
                      <a:pt x="170" y="716"/>
                    </a:lnTo>
                    <a:lnTo>
                      <a:pt x="165" y="705"/>
                    </a:lnTo>
                    <a:lnTo>
                      <a:pt x="161" y="695"/>
                    </a:lnTo>
                    <a:lnTo>
                      <a:pt x="162" y="686"/>
                    </a:lnTo>
                    <a:lnTo>
                      <a:pt x="155" y="675"/>
                    </a:lnTo>
                    <a:lnTo>
                      <a:pt x="131" y="669"/>
                    </a:lnTo>
                    <a:lnTo>
                      <a:pt x="120" y="659"/>
                    </a:lnTo>
                    <a:lnTo>
                      <a:pt x="125" y="644"/>
                    </a:lnTo>
                    <a:lnTo>
                      <a:pt x="128" y="632"/>
                    </a:lnTo>
                    <a:lnTo>
                      <a:pt x="111" y="621"/>
                    </a:lnTo>
                    <a:lnTo>
                      <a:pt x="107" y="615"/>
                    </a:lnTo>
                    <a:lnTo>
                      <a:pt x="117" y="609"/>
                    </a:lnTo>
                    <a:lnTo>
                      <a:pt x="110" y="603"/>
                    </a:lnTo>
                    <a:lnTo>
                      <a:pt x="134" y="576"/>
                    </a:lnTo>
                    <a:lnTo>
                      <a:pt x="137" y="572"/>
                    </a:lnTo>
                    <a:lnTo>
                      <a:pt x="134" y="557"/>
                    </a:lnTo>
                    <a:lnTo>
                      <a:pt x="128" y="548"/>
                    </a:lnTo>
                    <a:lnTo>
                      <a:pt x="116" y="548"/>
                    </a:lnTo>
                    <a:lnTo>
                      <a:pt x="104" y="543"/>
                    </a:lnTo>
                    <a:lnTo>
                      <a:pt x="105" y="537"/>
                    </a:lnTo>
                    <a:lnTo>
                      <a:pt x="108" y="527"/>
                    </a:lnTo>
                    <a:lnTo>
                      <a:pt x="105" y="519"/>
                    </a:lnTo>
                    <a:lnTo>
                      <a:pt x="105" y="510"/>
                    </a:lnTo>
                    <a:lnTo>
                      <a:pt x="108" y="489"/>
                    </a:lnTo>
                    <a:lnTo>
                      <a:pt x="113" y="480"/>
                    </a:lnTo>
                    <a:lnTo>
                      <a:pt x="110" y="473"/>
                    </a:lnTo>
                    <a:lnTo>
                      <a:pt x="108" y="465"/>
                    </a:lnTo>
                    <a:lnTo>
                      <a:pt x="117" y="458"/>
                    </a:lnTo>
                    <a:lnTo>
                      <a:pt x="114" y="450"/>
                    </a:lnTo>
                    <a:lnTo>
                      <a:pt x="104" y="456"/>
                    </a:lnTo>
                    <a:lnTo>
                      <a:pt x="101" y="428"/>
                    </a:lnTo>
                    <a:lnTo>
                      <a:pt x="87" y="426"/>
                    </a:lnTo>
                    <a:lnTo>
                      <a:pt x="75" y="416"/>
                    </a:lnTo>
                    <a:lnTo>
                      <a:pt x="90" y="398"/>
                    </a:lnTo>
                    <a:lnTo>
                      <a:pt x="69" y="375"/>
                    </a:lnTo>
                    <a:lnTo>
                      <a:pt x="72" y="365"/>
                    </a:lnTo>
                    <a:lnTo>
                      <a:pt x="47" y="351"/>
                    </a:lnTo>
                    <a:lnTo>
                      <a:pt x="41" y="338"/>
                    </a:lnTo>
                    <a:lnTo>
                      <a:pt x="48" y="326"/>
                    </a:lnTo>
                    <a:lnTo>
                      <a:pt x="50" y="323"/>
                    </a:lnTo>
                    <a:lnTo>
                      <a:pt x="45" y="326"/>
                    </a:lnTo>
                    <a:lnTo>
                      <a:pt x="41" y="321"/>
                    </a:lnTo>
                    <a:lnTo>
                      <a:pt x="41" y="314"/>
                    </a:lnTo>
                    <a:lnTo>
                      <a:pt x="36" y="308"/>
                    </a:lnTo>
                    <a:lnTo>
                      <a:pt x="41" y="303"/>
                    </a:lnTo>
                    <a:lnTo>
                      <a:pt x="45" y="305"/>
                    </a:lnTo>
                    <a:lnTo>
                      <a:pt x="56" y="294"/>
                    </a:lnTo>
                    <a:lnTo>
                      <a:pt x="51" y="293"/>
                    </a:lnTo>
                    <a:lnTo>
                      <a:pt x="48" y="288"/>
                    </a:lnTo>
                    <a:lnTo>
                      <a:pt x="44" y="291"/>
                    </a:lnTo>
                    <a:lnTo>
                      <a:pt x="36" y="291"/>
                    </a:lnTo>
                    <a:lnTo>
                      <a:pt x="32" y="293"/>
                    </a:lnTo>
                    <a:lnTo>
                      <a:pt x="30" y="291"/>
                    </a:lnTo>
                    <a:lnTo>
                      <a:pt x="20" y="297"/>
                    </a:lnTo>
                    <a:lnTo>
                      <a:pt x="17" y="287"/>
                    </a:lnTo>
                    <a:lnTo>
                      <a:pt x="14" y="284"/>
                    </a:lnTo>
                    <a:lnTo>
                      <a:pt x="12" y="282"/>
                    </a:lnTo>
                    <a:lnTo>
                      <a:pt x="20" y="279"/>
                    </a:lnTo>
                    <a:lnTo>
                      <a:pt x="18" y="273"/>
                    </a:lnTo>
                    <a:lnTo>
                      <a:pt x="27" y="267"/>
                    </a:lnTo>
                    <a:lnTo>
                      <a:pt x="27" y="263"/>
                    </a:lnTo>
                    <a:lnTo>
                      <a:pt x="23" y="257"/>
                    </a:lnTo>
                    <a:lnTo>
                      <a:pt x="21" y="249"/>
                    </a:lnTo>
                    <a:lnTo>
                      <a:pt x="9" y="237"/>
                    </a:lnTo>
                    <a:lnTo>
                      <a:pt x="8" y="227"/>
                    </a:lnTo>
                    <a:lnTo>
                      <a:pt x="0" y="213"/>
                    </a:lnTo>
                    <a:lnTo>
                      <a:pt x="5" y="210"/>
                    </a:lnTo>
                    <a:lnTo>
                      <a:pt x="3" y="209"/>
                    </a:lnTo>
                    <a:lnTo>
                      <a:pt x="11" y="198"/>
                    </a:lnTo>
                    <a:lnTo>
                      <a:pt x="33" y="209"/>
                    </a:lnTo>
                    <a:lnTo>
                      <a:pt x="36" y="204"/>
                    </a:lnTo>
                    <a:lnTo>
                      <a:pt x="44" y="204"/>
                    </a:lnTo>
                    <a:lnTo>
                      <a:pt x="51" y="192"/>
                    </a:lnTo>
                    <a:lnTo>
                      <a:pt x="53" y="179"/>
                    </a:lnTo>
                    <a:lnTo>
                      <a:pt x="57" y="182"/>
                    </a:lnTo>
                    <a:lnTo>
                      <a:pt x="59" y="188"/>
                    </a:lnTo>
                    <a:lnTo>
                      <a:pt x="59" y="192"/>
                    </a:lnTo>
                    <a:lnTo>
                      <a:pt x="80" y="188"/>
                    </a:lnTo>
                    <a:lnTo>
                      <a:pt x="87" y="191"/>
                    </a:lnTo>
                    <a:lnTo>
                      <a:pt x="98" y="186"/>
                    </a:lnTo>
                    <a:lnTo>
                      <a:pt x="101" y="180"/>
                    </a:lnTo>
                    <a:lnTo>
                      <a:pt x="117" y="176"/>
                    </a:lnTo>
                    <a:lnTo>
                      <a:pt x="126" y="173"/>
                    </a:lnTo>
                    <a:lnTo>
                      <a:pt x="128" y="180"/>
                    </a:lnTo>
                    <a:lnTo>
                      <a:pt x="137" y="173"/>
                    </a:lnTo>
                    <a:lnTo>
                      <a:pt x="138" y="164"/>
                    </a:lnTo>
                    <a:lnTo>
                      <a:pt x="135" y="161"/>
                    </a:lnTo>
                    <a:lnTo>
                      <a:pt x="144" y="149"/>
                    </a:lnTo>
                    <a:lnTo>
                      <a:pt x="150" y="140"/>
                    </a:lnTo>
                    <a:lnTo>
                      <a:pt x="155" y="137"/>
                    </a:lnTo>
                    <a:lnTo>
                      <a:pt x="162" y="123"/>
                    </a:lnTo>
                    <a:lnTo>
                      <a:pt x="168" y="114"/>
                    </a:lnTo>
                    <a:lnTo>
                      <a:pt x="165" y="107"/>
                    </a:lnTo>
                    <a:lnTo>
                      <a:pt x="173" y="93"/>
                    </a:lnTo>
                    <a:lnTo>
                      <a:pt x="173" y="80"/>
                    </a:lnTo>
                    <a:lnTo>
                      <a:pt x="177" y="77"/>
                    </a:lnTo>
                    <a:lnTo>
                      <a:pt x="177" y="65"/>
                    </a:lnTo>
                    <a:lnTo>
                      <a:pt x="180" y="60"/>
                    </a:lnTo>
                    <a:lnTo>
                      <a:pt x="177" y="50"/>
                    </a:lnTo>
                    <a:lnTo>
                      <a:pt x="179" y="47"/>
                    </a:lnTo>
                    <a:lnTo>
                      <a:pt x="182" y="39"/>
                    </a:lnTo>
                    <a:lnTo>
                      <a:pt x="179" y="33"/>
                    </a:lnTo>
                    <a:lnTo>
                      <a:pt x="188" y="20"/>
                    </a:lnTo>
                    <a:lnTo>
                      <a:pt x="195" y="15"/>
                    </a:lnTo>
                    <a:lnTo>
                      <a:pt x="198" y="12"/>
                    </a:lnTo>
                    <a:lnTo>
                      <a:pt x="201" y="11"/>
                    </a:lnTo>
                    <a:lnTo>
                      <a:pt x="206" y="0"/>
                    </a:lnTo>
                    <a:lnTo>
                      <a:pt x="209" y="0"/>
                    </a:lnTo>
                    <a:lnTo>
                      <a:pt x="210" y="6"/>
                    </a:lnTo>
                    <a:lnTo>
                      <a:pt x="230" y="15"/>
                    </a:lnTo>
                    <a:lnTo>
                      <a:pt x="225" y="21"/>
                    </a:lnTo>
                    <a:lnTo>
                      <a:pt x="225" y="32"/>
                    </a:lnTo>
                    <a:lnTo>
                      <a:pt x="218" y="33"/>
                    </a:lnTo>
                    <a:lnTo>
                      <a:pt x="215" y="35"/>
                    </a:lnTo>
                    <a:lnTo>
                      <a:pt x="212" y="36"/>
                    </a:lnTo>
                    <a:lnTo>
                      <a:pt x="212" y="41"/>
                    </a:lnTo>
                    <a:lnTo>
                      <a:pt x="219" y="42"/>
                    </a:lnTo>
                    <a:lnTo>
                      <a:pt x="221" y="48"/>
                    </a:lnTo>
                    <a:lnTo>
                      <a:pt x="227" y="48"/>
                    </a:lnTo>
                    <a:lnTo>
                      <a:pt x="231" y="56"/>
                    </a:lnTo>
                    <a:lnTo>
                      <a:pt x="231" y="65"/>
                    </a:lnTo>
                    <a:lnTo>
                      <a:pt x="242" y="71"/>
                    </a:lnTo>
                    <a:lnTo>
                      <a:pt x="263" y="60"/>
                    </a:lnTo>
                    <a:lnTo>
                      <a:pt x="269" y="63"/>
                    </a:lnTo>
                    <a:lnTo>
                      <a:pt x="272" y="68"/>
                    </a:lnTo>
                    <a:lnTo>
                      <a:pt x="273" y="60"/>
                    </a:lnTo>
                    <a:lnTo>
                      <a:pt x="279" y="62"/>
                    </a:lnTo>
                    <a:lnTo>
                      <a:pt x="279" y="66"/>
                    </a:lnTo>
                    <a:lnTo>
                      <a:pt x="288" y="69"/>
                    </a:lnTo>
                    <a:lnTo>
                      <a:pt x="287" y="72"/>
                    </a:lnTo>
                    <a:lnTo>
                      <a:pt x="299" y="68"/>
                    </a:lnTo>
                    <a:lnTo>
                      <a:pt x="305" y="72"/>
                    </a:lnTo>
                    <a:lnTo>
                      <a:pt x="303" y="81"/>
                    </a:lnTo>
                    <a:lnTo>
                      <a:pt x="308" y="81"/>
                    </a:lnTo>
                    <a:lnTo>
                      <a:pt x="311" y="75"/>
                    </a:lnTo>
                    <a:lnTo>
                      <a:pt x="321" y="75"/>
                    </a:lnTo>
                    <a:lnTo>
                      <a:pt x="323" y="77"/>
                    </a:lnTo>
                    <a:lnTo>
                      <a:pt x="338" y="72"/>
                    </a:lnTo>
                    <a:lnTo>
                      <a:pt x="341" y="86"/>
                    </a:lnTo>
                    <a:lnTo>
                      <a:pt x="342" y="87"/>
                    </a:lnTo>
                    <a:lnTo>
                      <a:pt x="348" y="86"/>
                    </a:lnTo>
                    <a:lnTo>
                      <a:pt x="381" y="72"/>
                    </a:lnTo>
                    <a:lnTo>
                      <a:pt x="384" y="78"/>
                    </a:lnTo>
                    <a:lnTo>
                      <a:pt x="396" y="78"/>
                    </a:lnTo>
                    <a:lnTo>
                      <a:pt x="405" y="72"/>
                    </a:lnTo>
                    <a:lnTo>
                      <a:pt x="414" y="62"/>
                    </a:lnTo>
                    <a:lnTo>
                      <a:pt x="429" y="69"/>
                    </a:lnTo>
                    <a:lnTo>
                      <a:pt x="431" y="71"/>
                    </a:lnTo>
                    <a:lnTo>
                      <a:pt x="435" y="72"/>
                    </a:lnTo>
                    <a:lnTo>
                      <a:pt x="452" y="56"/>
                    </a:lnTo>
                    <a:lnTo>
                      <a:pt x="459" y="56"/>
                    </a:lnTo>
                    <a:lnTo>
                      <a:pt x="464" y="53"/>
                    </a:lnTo>
                    <a:lnTo>
                      <a:pt x="471" y="45"/>
                    </a:lnTo>
                    <a:lnTo>
                      <a:pt x="492" y="39"/>
                    </a:lnTo>
                    <a:lnTo>
                      <a:pt x="494" y="35"/>
                    </a:lnTo>
                    <a:lnTo>
                      <a:pt x="497" y="33"/>
                    </a:lnTo>
                    <a:lnTo>
                      <a:pt x="498" y="38"/>
                    </a:lnTo>
                    <a:lnTo>
                      <a:pt x="506" y="35"/>
                    </a:lnTo>
                    <a:lnTo>
                      <a:pt x="506" y="51"/>
                    </a:lnTo>
                    <a:lnTo>
                      <a:pt x="509" y="54"/>
                    </a:lnTo>
                    <a:lnTo>
                      <a:pt x="519" y="54"/>
                    </a:lnTo>
                    <a:lnTo>
                      <a:pt x="524" y="59"/>
                    </a:lnTo>
                    <a:lnTo>
                      <a:pt x="534" y="51"/>
                    </a:lnTo>
                    <a:lnTo>
                      <a:pt x="540" y="54"/>
                    </a:lnTo>
                    <a:lnTo>
                      <a:pt x="542" y="68"/>
                    </a:lnTo>
                    <a:lnTo>
                      <a:pt x="545" y="68"/>
                    </a:lnTo>
                    <a:lnTo>
                      <a:pt x="546" y="59"/>
                    </a:lnTo>
                    <a:lnTo>
                      <a:pt x="552" y="59"/>
                    </a:lnTo>
                    <a:lnTo>
                      <a:pt x="552" y="62"/>
                    </a:lnTo>
                    <a:lnTo>
                      <a:pt x="564" y="66"/>
                    </a:lnTo>
                    <a:lnTo>
                      <a:pt x="560" y="74"/>
                    </a:lnTo>
                    <a:lnTo>
                      <a:pt x="563" y="81"/>
                    </a:lnTo>
                    <a:lnTo>
                      <a:pt x="567" y="83"/>
                    </a:lnTo>
                    <a:lnTo>
                      <a:pt x="575" y="75"/>
                    </a:lnTo>
                    <a:lnTo>
                      <a:pt x="575" y="69"/>
                    </a:lnTo>
                    <a:lnTo>
                      <a:pt x="585" y="74"/>
                    </a:lnTo>
                    <a:lnTo>
                      <a:pt x="602" y="71"/>
                    </a:lnTo>
                    <a:lnTo>
                      <a:pt x="605" y="66"/>
                    </a:lnTo>
                    <a:lnTo>
                      <a:pt x="618" y="81"/>
                    </a:lnTo>
                    <a:lnTo>
                      <a:pt x="612" y="84"/>
                    </a:lnTo>
                    <a:lnTo>
                      <a:pt x="606" y="95"/>
                    </a:lnTo>
                    <a:lnTo>
                      <a:pt x="617" y="98"/>
                    </a:lnTo>
                    <a:lnTo>
                      <a:pt x="626" y="98"/>
                    </a:lnTo>
                    <a:lnTo>
                      <a:pt x="636" y="96"/>
                    </a:lnTo>
                    <a:lnTo>
                      <a:pt x="644" y="92"/>
                    </a:lnTo>
                    <a:lnTo>
                      <a:pt x="659" y="87"/>
                    </a:lnTo>
                    <a:lnTo>
                      <a:pt x="665" y="75"/>
                    </a:lnTo>
                    <a:lnTo>
                      <a:pt x="674" y="62"/>
                    </a:lnTo>
                    <a:lnTo>
                      <a:pt x="680" y="59"/>
                    </a:lnTo>
                    <a:lnTo>
                      <a:pt x="689" y="60"/>
                    </a:lnTo>
                    <a:lnTo>
                      <a:pt x="690" y="66"/>
                    </a:lnTo>
                    <a:lnTo>
                      <a:pt x="702" y="78"/>
                    </a:lnTo>
                    <a:lnTo>
                      <a:pt x="720" y="104"/>
                    </a:lnTo>
                    <a:lnTo>
                      <a:pt x="729" y="90"/>
                    </a:lnTo>
                    <a:lnTo>
                      <a:pt x="734" y="90"/>
                    </a:lnTo>
                    <a:lnTo>
                      <a:pt x="747" y="101"/>
                    </a:lnTo>
                    <a:lnTo>
                      <a:pt x="764" y="98"/>
                    </a:lnTo>
                    <a:lnTo>
                      <a:pt x="767" y="101"/>
                    </a:lnTo>
                    <a:lnTo>
                      <a:pt x="785" y="105"/>
                    </a:lnTo>
                    <a:lnTo>
                      <a:pt x="782" y="111"/>
                    </a:lnTo>
                    <a:lnTo>
                      <a:pt x="782" y="119"/>
                    </a:lnTo>
                    <a:lnTo>
                      <a:pt x="800" y="111"/>
                    </a:lnTo>
                    <a:lnTo>
                      <a:pt x="800" y="114"/>
                    </a:lnTo>
                    <a:lnTo>
                      <a:pt x="815" y="123"/>
                    </a:lnTo>
                    <a:lnTo>
                      <a:pt x="830" y="134"/>
                    </a:lnTo>
                    <a:lnTo>
                      <a:pt x="833" y="138"/>
                    </a:lnTo>
                    <a:lnTo>
                      <a:pt x="825" y="144"/>
                    </a:lnTo>
                    <a:lnTo>
                      <a:pt x="824" y="149"/>
                    </a:lnTo>
                    <a:lnTo>
                      <a:pt x="836" y="153"/>
                    </a:lnTo>
                    <a:lnTo>
                      <a:pt x="839" y="153"/>
                    </a:lnTo>
                    <a:lnTo>
                      <a:pt x="852" y="155"/>
                    </a:lnTo>
                    <a:lnTo>
                      <a:pt x="857" y="155"/>
                    </a:lnTo>
                    <a:lnTo>
                      <a:pt x="857" y="137"/>
                    </a:lnTo>
                    <a:lnTo>
                      <a:pt x="863" y="132"/>
                    </a:lnTo>
                    <a:lnTo>
                      <a:pt x="863" y="138"/>
                    </a:lnTo>
                    <a:lnTo>
                      <a:pt x="867" y="138"/>
                    </a:lnTo>
                    <a:lnTo>
                      <a:pt x="870" y="132"/>
                    </a:lnTo>
                    <a:lnTo>
                      <a:pt x="879" y="129"/>
                    </a:lnTo>
                    <a:lnTo>
                      <a:pt x="881" y="144"/>
                    </a:lnTo>
                    <a:lnTo>
                      <a:pt x="882" y="155"/>
                    </a:lnTo>
                    <a:lnTo>
                      <a:pt x="893" y="167"/>
                    </a:lnTo>
                    <a:lnTo>
                      <a:pt x="896" y="180"/>
                    </a:lnTo>
                    <a:lnTo>
                      <a:pt x="902" y="180"/>
                    </a:lnTo>
                    <a:lnTo>
                      <a:pt x="900" y="188"/>
                    </a:lnTo>
                    <a:lnTo>
                      <a:pt x="888" y="201"/>
                    </a:lnTo>
                    <a:lnTo>
                      <a:pt x="888" y="207"/>
                    </a:lnTo>
                    <a:lnTo>
                      <a:pt x="899" y="204"/>
                    </a:lnTo>
                    <a:lnTo>
                      <a:pt x="897" y="210"/>
                    </a:lnTo>
                    <a:lnTo>
                      <a:pt x="903" y="215"/>
                    </a:lnTo>
                    <a:lnTo>
                      <a:pt x="896" y="216"/>
                    </a:lnTo>
                    <a:lnTo>
                      <a:pt x="890" y="222"/>
                    </a:lnTo>
                    <a:lnTo>
                      <a:pt x="887" y="224"/>
                    </a:lnTo>
                    <a:lnTo>
                      <a:pt x="884" y="240"/>
                    </a:lnTo>
                    <a:lnTo>
                      <a:pt x="869" y="243"/>
                    </a:lnTo>
                    <a:lnTo>
                      <a:pt x="863" y="243"/>
                    </a:lnTo>
                    <a:lnTo>
                      <a:pt x="860" y="249"/>
                    </a:lnTo>
                    <a:lnTo>
                      <a:pt x="864" y="258"/>
                    </a:lnTo>
                    <a:lnTo>
                      <a:pt x="870" y="254"/>
                    </a:lnTo>
                    <a:lnTo>
                      <a:pt x="872" y="261"/>
                    </a:lnTo>
                    <a:lnTo>
                      <a:pt x="887" y="260"/>
                    </a:lnTo>
                    <a:lnTo>
                      <a:pt x="890" y="269"/>
                    </a:lnTo>
                    <a:lnTo>
                      <a:pt x="893" y="273"/>
                    </a:lnTo>
                    <a:lnTo>
                      <a:pt x="896" y="290"/>
                    </a:lnTo>
                    <a:lnTo>
                      <a:pt x="896" y="297"/>
                    </a:lnTo>
                    <a:lnTo>
                      <a:pt x="884" y="299"/>
                    </a:lnTo>
                    <a:lnTo>
                      <a:pt x="906" y="330"/>
                    </a:lnTo>
                    <a:lnTo>
                      <a:pt x="908" y="342"/>
                    </a:lnTo>
                    <a:lnTo>
                      <a:pt x="915" y="347"/>
                    </a:lnTo>
                    <a:lnTo>
                      <a:pt x="914" y="357"/>
                    </a:lnTo>
                    <a:lnTo>
                      <a:pt x="905" y="362"/>
                    </a:lnTo>
                    <a:lnTo>
                      <a:pt x="906" y="381"/>
                    </a:lnTo>
                    <a:lnTo>
                      <a:pt x="900" y="387"/>
                    </a:lnTo>
                    <a:lnTo>
                      <a:pt x="903" y="393"/>
                    </a:lnTo>
                    <a:lnTo>
                      <a:pt x="881" y="401"/>
                    </a:lnTo>
                    <a:lnTo>
                      <a:pt x="879" y="408"/>
                    </a:lnTo>
                    <a:lnTo>
                      <a:pt x="887" y="411"/>
                    </a:lnTo>
                    <a:lnTo>
                      <a:pt x="887" y="428"/>
                    </a:lnTo>
                    <a:lnTo>
                      <a:pt x="902" y="431"/>
                    </a:lnTo>
                    <a:lnTo>
                      <a:pt x="897" y="441"/>
                    </a:lnTo>
                    <a:lnTo>
                      <a:pt x="891" y="446"/>
                    </a:lnTo>
                    <a:lnTo>
                      <a:pt x="902" y="465"/>
                    </a:lnTo>
                    <a:lnTo>
                      <a:pt x="903" y="474"/>
                    </a:lnTo>
                    <a:lnTo>
                      <a:pt x="905" y="474"/>
                    </a:lnTo>
                    <a:lnTo>
                      <a:pt x="909" y="486"/>
                    </a:lnTo>
                    <a:lnTo>
                      <a:pt x="908" y="491"/>
                    </a:lnTo>
                    <a:lnTo>
                      <a:pt x="905" y="494"/>
                    </a:lnTo>
                    <a:lnTo>
                      <a:pt x="905" y="504"/>
                    </a:lnTo>
                    <a:lnTo>
                      <a:pt x="912" y="512"/>
                    </a:lnTo>
                    <a:lnTo>
                      <a:pt x="902" y="528"/>
                    </a:lnTo>
                    <a:lnTo>
                      <a:pt x="906" y="537"/>
                    </a:lnTo>
                    <a:lnTo>
                      <a:pt x="917" y="534"/>
                    </a:lnTo>
                    <a:lnTo>
                      <a:pt x="924" y="548"/>
                    </a:lnTo>
                    <a:lnTo>
                      <a:pt x="909" y="552"/>
                    </a:lnTo>
                    <a:lnTo>
                      <a:pt x="914" y="560"/>
                    </a:lnTo>
                    <a:lnTo>
                      <a:pt x="902" y="572"/>
                    </a:lnTo>
                    <a:lnTo>
                      <a:pt x="908" y="579"/>
                    </a:lnTo>
                    <a:lnTo>
                      <a:pt x="906" y="584"/>
                    </a:lnTo>
                    <a:lnTo>
                      <a:pt x="894" y="597"/>
                    </a:lnTo>
                    <a:lnTo>
                      <a:pt x="891" y="608"/>
                    </a:lnTo>
                    <a:lnTo>
                      <a:pt x="885" y="609"/>
                    </a:lnTo>
                    <a:lnTo>
                      <a:pt x="885" y="614"/>
                    </a:lnTo>
                    <a:lnTo>
                      <a:pt x="894" y="620"/>
                    </a:lnTo>
                    <a:lnTo>
                      <a:pt x="896" y="620"/>
                    </a:lnTo>
                    <a:lnTo>
                      <a:pt x="891" y="626"/>
                    </a:lnTo>
                    <a:lnTo>
                      <a:pt x="894" y="630"/>
                    </a:lnTo>
                    <a:close/>
                  </a:path>
                </a:pathLst>
              </a:custGeom>
              <a:solidFill>
                <a:srgbClr val="FF99CC"/>
              </a:solid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89" name="Freeform 303">
                <a:extLst>
                  <a:ext uri="{FF2B5EF4-FFF2-40B4-BE49-F238E27FC236}">
                    <a16:creationId xmlns:a16="http://schemas.microsoft.com/office/drawing/2014/main" id="{6C87BD9A-2538-E3B0-C9CA-9F1AFED2B3AB}"/>
                  </a:ext>
                </a:extLst>
              </p:cNvPr>
              <p:cNvSpPr>
                <a:spLocks/>
              </p:cNvSpPr>
              <p:nvPr/>
            </p:nvSpPr>
            <p:spPr bwMode="auto">
              <a:xfrm>
                <a:off x="3100" y="3097"/>
                <a:ext cx="423" cy="472"/>
              </a:xfrm>
              <a:custGeom>
                <a:avLst/>
                <a:gdLst>
                  <a:gd name="T0" fmla="*/ 0 w 1268"/>
                  <a:gd name="T1" fmla="*/ 0 h 1416"/>
                  <a:gd name="T2" fmla="*/ 0 w 1268"/>
                  <a:gd name="T3" fmla="*/ 0 h 1416"/>
                  <a:gd name="T4" fmla="*/ 0 w 1268"/>
                  <a:gd name="T5" fmla="*/ 0 h 1416"/>
                  <a:gd name="T6" fmla="*/ 0 w 1268"/>
                  <a:gd name="T7" fmla="*/ 0 h 1416"/>
                  <a:gd name="T8" fmla="*/ 0 w 1268"/>
                  <a:gd name="T9" fmla="*/ 0 h 1416"/>
                  <a:gd name="T10" fmla="*/ 0 w 1268"/>
                  <a:gd name="T11" fmla="*/ 0 h 1416"/>
                  <a:gd name="T12" fmla="*/ 0 w 1268"/>
                  <a:gd name="T13" fmla="*/ 0 h 1416"/>
                  <a:gd name="T14" fmla="*/ 0 w 1268"/>
                  <a:gd name="T15" fmla="*/ 0 h 1416"/>
                  <a:gd name="T16" fmla="*/ 0 w 1268"/>
                  <a:gd name="T17" fmla="*/ 0 h 1416"/>
                  <a:gd name="T18" fmla="*/ 0 w 1268"/>
                  <a:gd name="T19" fmla="*/ 0 h 1416"/>
                  <a:gd name="T20" fmla="*/ 0 w 1268"/>
                  <a:gd name="T21" fmla="*/ 0 h 1416"/>
                  <a:gd name="T22" fmla="*/ 0 w 1268"/>
                  <a:gd name="T23" fmla="*/ 0 h 1416"/>
                  <a:gd name="T24" fmla="*/ 0 w 1268"/>
                  <a:gd name="T25" fmla="*/ 0 h 1416"/>
                  <a:gd name="T26" fmla="*/ 0 w 1268"/>
                  <a:gd name="T27" fmla="*/ 0 h 1416"/>
                  <a:gd name="T28" fmla="*/ 0 w 1268"/>
                  <a:gd name="T29" fmla="*/ 0 h 1416"/>
                  <a:gd name="T30" fmla="*/ 0 w 1268"/>
                  <a:gd name="T31" fmla="*/ 0 h 1416"/>
                  <a:gd name="T32" fmla="*/ 0 w 1268"/>
                  <a:gd name="T33" fmla="*/ 0 h 1416"/>
                  <a:gd name="T34" fmla="*/ 0 w 1268"/>
                  <a:gd name="T35" fmla="*/ 0 h 1416"/>
                  <a:gd name="T36" fmla="*/ 0 w 1268"/>
                  <a:gd name="T37" fmla="*/ 0 h 1416"/>
                  <a:gd name="T38" fmla="*/ 0 w 1268"/>
                  <a:gd name="T39" fmla="*/ 0 h 1416"/>
                  <a:gd name="T40" fmla="*/ 0 w 1268"/>
                  <a:gd name="T41" fmla="*/ 0 h 1416"/>
                  <a:gd name="T42" fmla="*/ 0 w 1268"/>
                  <a:gd name="T43" fmla="*/ 0 h 1416"/>
                  <a:gd name="T44" fmla="*/ 0 w 1268"/>
                  <a:gd name="T45" fmla="*/ 0 h 1416"/>
                  <a:gd name="T46" fmla="*/ 0 w 1268"/>
                  <a:gd name="T47" fmla="*/ 0 h 1416"/>
                  <a:gd name="T48" fmla="*/ 0 w 1268"/>
                  <a:gd name="T49" fmla="*/ 0 h 1416"/>
                  <a:gd name="T50" fmla="*/ 0 w 1268"/>
                  <a:gd name="T51" fmla="*/ 0 h 1416"/>
                  <a:gd name="T52" fmla="*/ 0 w 1268"/>
                  <a:gd name="T53" fmla="*/ 0 h 1416"/>
                  <a:gd name="T54" fmla="*/ 0 w 1268"/>
                  <a:gd name="T55" fmla="*/ 0 h 1416"/>
                  <a:gd name="T56" fmla="*/ 0 w 1268"/>
                  <a:gd name="T57" fmla="*/ 0 h 1416"/>
                  <a:gd name="T58" fmla="*/ 0 w 1268"/>
                  <a:gd name="T59" fmla="*/ 0 h 1416"/>
                  <a:gd name="T60" fmla="*/ 0 w 1268"/>
                  <a:gd name="T61" fmla="*/ 0 h 1416"/>
                  <a:gd name="T62" fmla="*/ 0 w 1268"/>
                  <a:gd name="T63" fmla="*/ 0 h 1416"/>
                  <a:gd name="T64" fmla="*/ 0 w 1268"/>
                  <a:gd name="T65" fmla="*/ 0 h 1416"/>
                  <a:gd name="T66" fmla="*/ 0 w 1268"/>
                  <a:gd name="T67" fmla="*/ 0 h 1416"/>
                  <a:gd name="T68" fmla="*/ 0 w 1268"/>
                  <a:gd name="T69" fmla="*/ 0 h 1416"/>
                  <a:gd name="T70" fmla="*/ 0 w 1268"/>
                  <a:gd name="T71" fmla="*/ 0 h 1416"/>
                  <a:gd name="T72" fmla="*/ 0 w 1268"/>
                  <a:gd name="T73" fmla="*/ 0 h 1416"/>
                  <a:gd name="T74" fmla="*/ 0 w 1268"/>
                  <a:gd name="T75" fmla="*/ 0 h 1416"/>
                  <a:gd name="T76" fmla="*/ 0 w 1268"/>
                  <a:gd name="T77" fmla="*/ 0 h 1416"/>
                  <a:gd name="T78" fmla="*/ 0 w 1268"/>
                  <a:gd name="T79" fmla="*/ 0 h 1416"/>
                  <a:gd name="T80" fmla="*/ 0 w 1268"/>
                  <a:gd name="T81" fmla="*/ 0 h 1416"/>
                  <a:gd name="T82" fmla="*/ 0 w 1268"/>
                  <a:gd name="T83" fmla="*/ 0 h 1416"/>
                  <a:gd name="T84" fmla="*/ 0 w 1268"/>
                  <a:gd name="T85" fmla="*/ 0 h 1416"/>
                  <a:gd name="T86" fmla="*/ 0 w 1268"/>
                  <a:gd name="T87" fmla="*/ 0 h 1416"/>
                  <a:gd name="T88" fmla="*/ 0 w 1268"/>
                  <a:gd name="T89" fmla="*/ 0 h 1416"/>
                  <a:gd name="T90" fmla="*/ 0 w 1268"/>
                  <a:gd name="T91" fmla="*/ 0 h 1416"/>
                  <a:gd name="T92" fmla="*/ 0 w 1268"/>
                  <a:gd name="T93" fmla="*/ 0 h 1416"/>
                  <a:gd name="T94" fmla="*/ 0 w 1268"/>
                  <a:gd name="T95" fmla="*/ 0 h 1416"/>
                  <a:gd name="T96" fmla="*/ 0 w 1268"/>
                  <a:gd name="T97" fmla="*/ 0 h 1416"/>
                  <a:gd name="T98" fmla="*/ 0 w 1268"/>
                  <a:gd name="T99" fmla="*/ 0 h 1416"/>
                  <a:gd name="T100" fmla="*/ 0 w 1268"/>
                  <a:gd name="T101" fmla="*/ 0 h 1416"/>
                  <a:gd name="T102" fmla="*/ 0 w 1268"/>
                  <a:gd name="T103" fmla="*/ 0 h 1416"/>
                  <a:gd name="T104" fmla="*/ 0 w 1268"/>
                  <a:gd name="T105" fmla="*/ 0 h 1416"/>
                  <a:gd name="T106" fmla="*/ 0 w 1268"/>
                  <a:gd name="T107" fmla="*/ 0 h 1416"/>
                  <a:gd name="T108" fmla="*/ 0 w 1268"/>
                  <a:gd name="T109" fmla="*/ 0 h 1416"/>
                  <a:gd name="T110" fmla="*/ 0 w 1268"/>
                  <a:gd name="T111" fmla="*/ 0 h 1416"/>
                  <a:gd name="T112" fmla="*/ 0 w 1268"/>
                  <a:gd name="T113" fmla="*/ 0 h 1416"/>
                  <a:gd name="T114" fmla="*/ 0 w 1268"/>
                  <a:gd name="T115" fmla="*/ 0 h 1416"/>
                  <a:gd name="T116" fmla="*/ 0 w 1268"/>
                  <a:gd name="T117" fmla="*/ 0 h 141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68" h="1416">
                    <a:moveTo>
                      <a:pt x="512" y="898"/>
                    </a:moveTo>
                    <a:lnTo>
                      <a:pt x="527" y="894"/>
                    </a:lnTo>
                    <a:lnTo>
                      <a:pt x="540" y="886"/>
                    </a:lnTo>
                    <a:lnTo>
                      <a:pt x="572" y="912"/>
                    </a:lnTo>
                    <a:lnTo>
                      <a:pt x="579" y="904"/>
                    </a:lnTo>
                    <a:lnTo>
                      <a:pt x="605" y="930"/>
                    </a:lnTo>
                    <a:lnTo>
                      <a:pt x="605" y="939"/>
                    </a:lnTo>
                    <a:lnTo>
                      <a:pt x="615" y="958"/>
                    </a:lnTo>
                    <a:lnTo>
                      <a:pt x="633" y="957"/>
                    </a:lnTo>
                    <a:lnTo>
                      <a:pt x="645" y="955"/>
                    </a:lnTo>
                    <a:lnTo>
                      <a:pt x="650" y="948"/>
                    </a:lnTo>
                    <a:lnTo>
                      <a:pt x="648" y="937"/>
                    </a:lnTo>
                    <a:lnTo>
                      <a:pt x="665" y="930"/>
                    </a:lnTo>
                    <a:lnTo>
                      <a:pt x="668" y="924"/>
                    </a:lnTo>
                    <a:lnTo>
                      <a:pt x="678" y="922"/>
                    </a:lnTo>
                    <a:lnTo>
                      <a:pt x="657" y="892"/>
                    </a:lnTo>
                    <a:lnTo>
                      <a:pt x="639" y="891"/>
                    </a:lnTo>
                    <a:lnTo>
                      <a:pt x="627" y="892"/>
                    </a:lnTo>
                    <a:lnTo>
                      <a:pt x="614" y="883"/>
                    </a:lnTo>
                    <a:lnTo>
                      <a:pt x="612" y="876"/>
                    </a:lnTo>
                    <a:lnTo>
                      <a:pt x="623" y="849"/>
                    </a:lnTo>
                    <a:lnTo>
                      <a:pt x="632" y="846"/>
                    </a:lnTo>
                    <a:lnTo>
                      <a:pt x="639" y="852"/>
                    </a:lnTo>
                    <a:lnTo>
                      <a:pt x="648" y="846"/>
                    </a:lnTo>
                    <a:lnTo>
                      <a:pt x="653" y="843"/>
                    </a:lnTo>
                    <a:lnTo>
                      <a:pt x="656" y="838"/>
                    </a:lnTo>
                    <a:lnTo>
                      <a:pt x="677" y="846"/>
                    </a:lnTo>
                    <a:lnTo>
                      <a:pt x="681" y="838"/>
                    </a:lnTo>
                    <a:lnTo>
                      <a:pt x="689" y="844"/>
                    </a:lnTo>
                    <a:lnTo>
                      <a:pt x="699" y="840"/>
                    </a:lnTo>
                    <a:lnTo>
                      <a:pt x="699" y="834"/>
                    </a:lnTo>
                    <a:lnTo>
                      <a:pt x="699" y="825"/>
                    </a:lnTo>
                    <a:lnTo>
                      <a:pt x="723" y="819"/>
                    </a:lnTo>
                    <a:lnTo>
                      <a:pt x="732" y="823"/>
                    </a:lnTo>
                    <a:lnTo>
                      <a:pt x="741" y="810"/>
                    </a:lnTo>
                    <a:lnTo>
                      <a:pt x="744" y="796"/>
                    </a:lnTo>
                    <a:lnTo>
                      <a:pt x="737" y="792"/>
                    </a:lnTo>
                    <a:lnTo>
                      <a:pt x="737" y="783"/>
                    </a:lnTo>
                    <a:lnTo>
                      <a:pt x="711" y="783"/>
                    </a:lnTo>
                    <a:lnTo>
                      <a:pt x="707" y="777"/>
                    </a:lnTo>
                    <a:lnTo>
                      <a:pt x="696" y="772"/>
                    </a:lnTo>
                    <a:lnTo>
                      <a:pt x="704" y="762"/>
                    </a:lnTo>
                    <a:lnTo>
                      <a:pt x="692" y="763"/>
                    </a:lnTo>
                    <a:lnTo>
                      <a:pt x="684" y="759"/>
                    </a:lnTo>
                    <a:lnTo>
                      <a:pt x="677" y="762"/>
                    </a:lnTo>
                    <a:lnTo>
                      <a:pt x="672" y="757"/>
                    </a:lnTo>
                    <a:lnTo>
                      <a:pt x="681" y="750"/>
                    </a:lnTo>
                    <a:lnTo>
                      <a:pt x="677" y="741"/>
                    </a:lnTo>
                    <a:lnTo>
                      <a:pt x="675" y="730"/>
                    </a:lnTo>
                    <a:lnTo>
                      <a:pt x="681" y="730"/>
                    </a:lnTo>
                    <a:lnTo>
                      <a:pt x="684" y="720"/>
                    </a:lnTo>
                    <a:lnTo>
                      <a:pt x="696" y="720"/>
                    </a:lnTo>
                    <a:lnTo>
                      <a:pt x="696" y="709"/>
                    </a:lnTo>
                    <a:lnTo>
                      <a:pt x="704" y="702"/>
                    </a:lnTo>
                    <a:lnTo>
                      <a:pt x="725" y="699"/>
                    </a:lnTo>
                    <a:lnTo>
                      <a:pt x="732" y="705"/>
                    </a:lnTo>
                    <a:lnTo>
                      <a:pt x="731" y="715"/>
                    </a:lnTo>
                    <a:lnTo>
                      <a:pt x="738" y="723"/>
                    </a:lnTo>
                    <a:lnTo>
                      <a:pt x="740" y="730"/>
                    </a:lnTo>
                    <a:lnTo>
                      <a:pt x="747" y="733"/>
                    </a:lnTo>
                    <a:lnTo>
                      <a:pt x="756" y="744"/>
                    </a:lnTo>
                    <a:lnTo>
                      <a:pt x="780" y="766"/>
                    </a:lnTo>
                    <a:lnTo>
                      <a:pt x="770" y="801"/>
                    </a:lnTo>
                    <a:lnTo>
                      <a:pt x="782" y="808"/>
                    </a:lnTo>
                    <a:lnTo>
                      <a:pt x="791" y="814"/>
                    </a:lnTo>
                    <a:lnTo>
                      <a:pt x="798" y="817"/>
                    </a:lnTo>
                    <a:lnTo>
                      <a:pt x="816" y="820"/>
                    </a:lnTo>
                    <a:lnTo>
                      <a:pt x="825" y="804"/>
                    </a:lnTo>
                    <a:lnTo>
                      <a:pt x="837" y="805"/>
                    </a:lnTo>
                    <a:lnTo>
                      <a:pt x="842" y="801"/>
                    </a:lnTo>
                    <a:lnTo>
                      <a:pt x="836" y="786"/>
                    </a:lnTo>
                    <a:lnTo>
                      <a:pt x="842" y="780"/>
                    </a:lnTo>
                    <a:lnTo>
                      <a:pt x="837" y="774"/>
                    </a:lnTo>
                    <a:lnTo>
                      <a:pt x="831" y="766"/>
                    </a:lnTo>
                    <a:lnTo>
                      <a:pt x="831" y="748"/>
                    </a:lnTo>
                    <a:lnTo>
                      <a:pt x="839" y="730"/>
                    </a:lnTo>
                    <a:lnTo>
                      <a:pt x="842" y="733"/>
                    </a:lnTo>
                    <a:lnTo>
                      <a:pt x="846" y="727"/>
                    </a:lnTo>
                    <a:lnTo>
                      <a:pt x="855" y="729"/>
                    </a:lnTo>
                    <a:lnTo>
                      <a:pt x="855" y="750"/>
                    </a:lnTo>
                    <a:lnTo>
                      <a:pt x="870" y="742"/>
                    </a:lnTo>
                    <a:lnTo>
                      <a:pt x="881" y="757"/>
                    </a:lnTo>
                    <a:lnTo>
                      <a:pt x="890" y="772"/>
                    </a:lnTo>
                    <a:lnTo>
                      <a:pt x="899" y="759"/>
                    </a:lnTo>
                    <a:lnTo>
                      <a:pt x="894" y="751"/>
                    </a:lnTo>
                    <a:lnTo>
                      <a:pt x="900" y="748"/>
                    </a:lnTo>
                    <a:lnTo>
                      <a:pt x="909" y="754"/>
                    </a:lnTo>
                    <a:lnTo>
                      <a:pt x="918" y="756"/>
                    </a:lnTo>
                    <a:lnTo>
                      <a:pt x="926" y="765"/>
                    </a:lnTo>
                    <a:lnTo>
                      <a:pt x="945" y="768"/>
                    </a:lnTo>
                    <a:lnTo>
                      <a:pt x="948" y="774"/>
                    </a:lnTo>
                    <a:lnTo>
                      <a:pt x="945" y="787"/>
                    </a:lnTo>
                    <a:lnTo>
                      <a:pt x="950" y="793"/>
                    </a:lnTo>
                    <a:lnTo>
                      <a:pt x="965" y="778"/>
                    </a:lnTo>
                    <a:lnTo>
                      <a:pt x="960" y="762"/>
                    </a:lnTo>
                    <a:lnTo>
                      <a:pt x="977" y="741"/>
                    </a:lnTo>
                    <a:lnTo>
                      <a:pt x="984" y="748"/>
                    </a:lnTo>
                    <a:lnTo>
                      <a:pt x="996" y="739"/>
                    </a:lnTo>
                    <a:lnTo>
                      <a:pt x="999" y="733"/>
                    </a:lnTo>
                    <a:lnTo>
                      <a:pt x="1004" y="717"/>
                    </a:lnTo>
                    <a:lnTo>
                      <a:pt x="1002" y="706"/>
                    </a:lnTo>
                    <a:lnTo>
                      <a:pt x="1011" y="702"/>
                    </a:lnTo>
                    <a:lnTo>
                      <a:pt x="1020" y="697"/>
                    </a:lnTo>
                    <a:lnTo>
                      <a:pt x="1013" y="681"/>
                    </a:lnTo>
                    <a:lnTo>
                      <a:pt x="1016" y="670"/>
                    </a:lnTo>
                    <a:lnTo>
                      <a:pt x="1026" y="670"/>
                    </a:lnTo>
                    <a:lnTo>
                      <a:pt x="1034" y="654"/>
                    </a:lnTo>
                    <a:lnTo>
                      <a:pt x="1037" y="649"/>
                    </a:lnTo>
                    <a:lnTo>
                      <a:pt x="1056" y="667"/>
                    </a:lnTo>
                    <a:lnTo>
                      <a:pt x="1073" y="667"/>
                    </a:lnTo>
                    <a:lnTo>
                      <a:pt x="1085" y="669"/>
                    </a:lnTo>
                    <a:lnTo>
                      <a:pt x="1076" y="621"/>
                    </a:lnTo>
                    <a:lnTo>
                      <a:pt x="1080" y="615"/>
                    </a:lnTo>
                    <a:lnTo>
                      <a:pt x="1089" y="610"/>
                    </a:lnTo>
                    <a:lnTo>
                      <a:pt x="1091" y="601"/>
                    </a:lnTo>
                    <a:lnTo>
                      <a:pt x="1092" y="583"/>
                    </a:lnTo>
                    <a:lnTo>
                      <a:pt x="1104" y="577"/>
                    </a:lnTo>
                    <a:lnTo>
                      <a:pt x="1104" y="559"/>
                    </a:lnTo>
                    <a:lnTo>
                      <a:pt x="1113" y="556"/>
                    </a:lnTo>
                    <a:lnTo>
                      <a:pt x="1115" y="547"/>
                    </a:lnTo>
                    <a:lnTo>
                      <a:pt x="1121" y="552"/>
                    </a:lnTo>
                    <a:lnTo>
                      <a:pt x="1128" y="570"/>
                    </a:lnTo>
                    <a:lnTo>
                      <a:pt x="1139" y="574"/>
                    </a:lnTo>
                    <a:lnTo>
                      <a:pt x="1146" y="580"/>
                    </a:lnTo>
                    <a:lnTo>
                      <a:pt x="1151" y="595"/>
                    </a:lnTo>
                    <a:lnTo>
                      <a:pt x="1152" y="606"/>
                    </a:lnTo>
                    <a:lnTo>
                      <a:pt x="1157" y="609"/>
                    </a:lnTo>
                    <a:lnTo>
                      <a:pt x="1161" y="601"/>
                    </a:lnTo>
                    <a:lnTo>
                      <a:pt x="1166" y="571"/>
                    </a:lnTo>
                    <a:lnTo>
                      <a:pt x="1197" y="571"/>
                    </a:lnTo>
                    <a:lnTo>
                      <a:pt x="1199" y="580"/>
                    </a:lnTo>
                    <a:lnTo>
                      <a:pt x="1202" y="580"/>
                    </a:lnTo>
                    <a:lnTo>
                      <a:pt x="1206" y="579"/>
                    </a:lnTo>
                    <a:lnTo>
                      <a:pt x="1217" y="586"/>
                    </a:lnTo>
                    <a:lnTo>
                      <a:pt x="1227" y="582"/>
                    </a:lnTo>
                    <a:lnTo>
                      <a:pt x="1241" y="577"/>
                    </a:lnTo>
                    <a:lnTo>
                      <a:pt x="1251" y="568"/>
                    </a:lnTo>
                    <a:lnTo>
                      <a:pt x="1257" y="558"/>
                    </a:lnTo>
                    <a:lnTo>
                      <a:pt x="1250" y="547"/>
                    </a:lnTo>
                    <a:lnTo>
                      <a:pt x="1242" y="546"/>
                    </a:lnTo>
                    <a:lnTo>
                      <a:pt x="1247" y="534"/>
                    </a:lnTo>
                    <a:lnTo>
                      <a:pt x="1245" y="522"/>
                    </a:lnTo>
                    <a:lnTo>
                      <a:pt x="1253" y="516"/>
                    </a:lnTo>
                    <a:lnTo>
                      <a:pt x="1262" y="513"/>
                    </a:lnTo>
                    <a:lnTo>
                      <a:pt x="1265" y="508"/>
                    </a:lnTo>
                    <a:lnTo>
                      <a:pt x="1266" y="501"/>
                    </a:lnTo>
                    <a:lnTo>
                      <a:pt x="1268" y="487"/>
                    </a:lnTo>
                    <a:lnTo>
                      <a:pt x="1268" y="480"/>
                    </a:lnTo>
                    <a:lnTo>
                      <a:pt x="1263" y="474"/>
                    </a:lnTo>
                    <a:lnTo>
                      <a:pt x="1262" y="475"/>
                    </a:lnTo>
                    <a:lnTo>
                      <a:pt x="1262" y="483"/>
                    </a:lnTo>
                    <a:lnTo>
                      <a:pt x="1262" y="486"/>
                    </a:lnTo>
                    <a:lnTo>
                      <a:pt x="1256" y="484"/>
                    </a:lnTo>
                    <a:lnTo>
                      <a:pt x="1250" y="480"/>
                    </a:lnTo>
                    <a:lnTo>
                      <a:pt x="1247" y="480"/>
                    </a:lnTo>
                    <a:lnTo>
                      <a:pt x="1242" y="478"/>
                    </a:lnTo>
                    <a:lnTo>
                      <a:pt x="1242" y="507"/>
                    </a:lnTo>
                    <a:lnTo>
                      <a:pt x="1233" y="510"/>
                    </a:lnTo>
                    <a:lnTo>
                      <a:pt x="1227" y="507"/>
                    </a:lnTo>
                    <a:lnTo>
                      <a:pt x="1223" y="511"/>
                    </a:lnTo>
                    <a:lnTo>
                      <a:pt x="1214" y="505"/>
                    </a:lnTo>
                    <a:lnTo>
                      <a:pt x="1205" y="495"/>
                    </a:lnTo>
                    <a:lnTo>
                      <a:pt x="1197" y="493"/>
                    </a:lnTo>
                    <a:lnTo>
                      <a:pt x="1193" y="496"/>
                    </a:lnTo>
                    <a:lnTo>
                      <a:pt x="1179" y="487"/>
                    </a:lnTo>
                    <a:lnTo>
                      <a:pt x="1167" y="486"/>
                    </a:lnTo>
                    <a:lnTo>
                      <a:pt x="1149" y="475"/>
                    </a:lnTo>
                    <a:lnTo>
                      <a:pt x="1142" y="469"/>
                    </a:lnTo>
                    <a:lnTo>
                      <a:pt x="1130" y="447"/>
                    </a:lnTo>
                    <a:lnTo>
                      <a:pt x="1134" y="439"/>
                    </a:lnTo>
                    <a:lnTo>
                      <a:pt x="1122" y="433"/>
                    </a:lnTo>
                    <a:lnTo>
                      <a:pt x="1113" y="429"/>
                    </a:lnTo>
                    <a:lnTo>
                      <a:pt x="1113" y="415"/>
                    </a:lnTo>
                    <a:lnTo>
                      <a:pt x="1112" y="408"/>
                    </a:lnTo>
                    <a:lnTo>
                      <a:pt x="1107" y="403"/>
                    </a:lnTo>
                    <a:lnTo>
                      <a:pt x="1104" y="396"/>
                    </a:lnTo>
                    <a:lnTo>
                      <a:pt x="1097" y="397"/>
                    </a:lnTo>
                    <a:lnTo>
                      <a:pt x="1094" y="393"/>
                    </a:lnTo>
                    <a:lnTo>
                      <a:pt x="1083" y="396"/>
                    </a:lnTo>
                    <a:lnTo>
                      <a:pt x="1074" y="393"/>
                    </a:lnTo>
                    <a:lnTo>
                      <a:pt x="1070" y="388"/>
                    </a:lnTo>
                    <a:lnTo>
                      <a:pt x="1062" y="390"/>
                    </a:lnTo>
                    <a:lnTo>
                      <a:pt x="1055" y="384"/>
                    </a:lnTo>
                    <a:lnTo>
                      <a:pt x="1052" y="379"/>
                    </a:lnTo>
                    <a:lnTo>
                      <a:pt x="1050" y="372"/>
                    </a:lnTo>
                    <a:lnTo>
                      <a:pt x="1046" y="369"/>
                    </a:lnTo>
                    <a:lnTo>
                      <a:pt x="1041" y="370"/>
                    </a:lnTo>
                    <a:lnTo>
                      <a:pt x="1037" y="367"/>
                    </a:lnTo>
                    <a:lnTo>
                      <a:pt x="1034" y="370"/>
                    </a:lnTo>
                    <a:lnTo>
                      <a:pt x="1031" y="369"/>
                    </a:lnTo>
                    <a:lnTo>
                      <a:pt x="1023" y="366"/>
                    </a:lnTo>
                    <a:lnTo>
                      <a:pt x="1016" y="358"/>
                    </a:lnTo>
                    <a:lnTo>
                      <a:pt x="1016" y="351"/>
                    </a:lnTo>
                    <a:lnTo>
                      <a:pt x="1008" y="351"/>
                    </a:lnTo>
                    <a:lnTo>
                      <a:pt x="1001" y="345"/>
                    </a:lnTo>
                    <a:lnTo>
                      <a:pt x="999" y="351"/>
                    </a:lnTo>
                    <a:lnTo>
                      <a:pt x="992" y="346"/>
                    </a:lnTo>
                    <a:lnTo>
                      <a:pt x="987" y="337"/>
                    </a:lnTo>
                    <a:lnTo>
                      <a:pt x="989" y="327"/>
                    </a:lnTo>
                    <a:lnTo>
                      <a:pt x="998" y="313"/>
                    </a:lnTo>
                    <a:lnTo>
                      <a:pt x="1013" y="306"/>
                    </a:lnTo>
                    <a:lnTo>
                      <a:pt x="1020" y="301"/>
                    </a:lnTo>
                    <a:lnTo>
                      <a:pt x="1017" y="294"/>
                    </a:lnTo>
                    <a:lnTo>
                      <a:pt x="1011" y="286"/>
                    </a:lnTo>
                    <a:lnTo>
                      <a:pt x="1011" y="270"/>
                    </a:lnTo>
                    <a:lnTo>
                      <a:pt x="984" y="265"/>
                    </a:lnTo>
                    <a:lnTo>
                      <a:pt x="972" y="265"/>
                    </a:lnTo>
                    <a:lnTo>
                      <a:pt x="969" y="256"/>
                    </a:lnTo>
                    <a:lnTo>
                      <a:pt x="969" y="249"/>
                    </a:lnTo>
                    <a:lnTo>
                      <a:pt x="975" y="253"/>
                    </a:lnTo>
                    <a:lnTo>
                      <a:pt x="983" y="253"/>
                    </a:lnTo>
                    <a:lnTo>
                      <a:pt x="983" y="246"/>
                    </a:lnTo>
                    <a:lnTo>
                      <a:pt x="989" y="244"/>
                    </a:lnTo>
                    <a:lnTo>
                      <a:pt x="993" y="241"/>
                    </a:lnTo>
                    <a:lnTo>
                      <a:pt x="999" y="244"/>
                    </a:lnTo>
                    <a:lnTo>
                      <a:pt x="999" y="237"/>
                    </a:lnTo>
                    <a:lnTo>
                      <a:pt x="998" y="228"/>
                    </a:lnTo>
                    <a:lnTo>
                      <a:pt x="992" y="223"/>
                    </a:lnTo>
                    <a:lnTo>
                      <a:pt x="987" y="220"/>
                    </a:lnTo>
                    <a:lnTo>
                      <a:pt x="984" y="214"/>
                    </a:lnTo>
                    <a:lnTo>
                      <a:pt x="975" y="216"/>
                    </a:lnTo>
                    <a:lnTo>
                      <a:pt x="969" y="207"/>
                    </a:lnTo>
                    <a:lnTo>
                      <a:pt x="965" y="205"/>
                    </a:lnTo>
                    <a:lnTo>
                      <a:pt x="962" y="199"/>
                    </a:lnTo>
                    <a:lnTo>
                      <a:pt x="956" y="196"/>
                    </a:lnTo>
                    <a:lnTo>
                      <a:pt x="962" y="178"/>
                    </a:lnTo>
                    <a:lnTo>
                      <a:pt x="960" y="169"/>
                    </a:lnTo>
                    <a:lnTo>
                      <a:pt x="956" y="166"/>
                    </a:lnTo>
                    <a:lnTo>
                      <a:pt x="951" y="165"/>
                    </a:lnTo>
                    <a:lnTo>
                      <a:pt x="951" y="156"/>
                    </a:lnTo>
                    <a:lnTo>
                      <a:pt x="957" y="150"/>
                    </a:lnTo>
                    <a:lnTo>
                      <a:pt x="954" y="144"/>
                    </a:lnTo>
                    <a:lnTo>
                      <a:pt x="950" y="136"/>
                    </a:lnTo>
                    <a:lnTo>
                      <a:pt x="942" y="141"/>
                    </a:lnTo>
                    <a:lnTo>
                      <a:pt x="930" y="132"/>
                    </a:lnTo>
                    <a:lnTo>
                      <a:pt x="921" y="129"/>
                    </a:lnTo>
                    <a:lnTo>
                      <a:pt x="914" y="123"/>
                    </a:lnTo>
                    <a:lnTo>
                      <a:pt x="911" y="112"/>
                    </a:lnTo>
                    <a:lnTo>
                      <a:pt x="914" y="108"/>
                    </a:lnTo>
                    <a:lnTo>
                      <a:pt x="911" y="102"/>
                    </a:lnTo>
                    <a:lnTo>
                      <a:pt x="915" y="99"/>
                    </a:lnTo>
                    <a:lnTo>
                      <a:pt x="915" y="91"/>
                    </a:lnTo>
                    <a:lnTo>
                      <a:pt x="908" y="90"/>
                    </a:lnTo>
                    <a:lnTo>
                      <a:pt x="896" y="79"/>
                    </a:lnTo>
                    <a:lnTo>
                      <a:pt x="890" y="64"/>
                    </a:lnTo>
                    <a:lnTo>
                      <a:pt x="891" y="57"/>
                    </a:lnTo>
                    <a:lnTo>
                      <a:pt x="894" y="51"/>
                    </a:lnTo>
                    <a:lnTo>
                      <a:pt x="891" y="46"/>
                    </a:lnTo>
                    <a:lnTo>
                      <a:pt x="884" y="37"/>
                    </a:lnTo>
                    <a:lnTo>
                      <a:pt x="882" y="25"/>
                    </a:lnTo>
                    <a:lnTo>
                      <a:pt x="884" y="15"/>
                    </a:lnTo>
                    <a:lnTo>
                      <a:pt x="887" y="4"/>
                    </a:lnTo>
                    <a:lnTo>
                      <a:pt x="857" y="0"/>
                    </a:lnTo>
                    <a:lnTo>
                      <a:pt x="852" y="16"/>
                    </a:lnTo>
                    <a:lnTo>
                      <a:pt x="848" y="21"/>
                    </a:lnTo>
                    <a:lnTo>
                      <a:pt x="830" y="39"/>
                    </a:lnTo>
                    <a:lnTo>
                      <a:pt x="824" y="34"/>
                    </a:lnTo>
                    <a:lnTo>
                      <a:pt x="819" y="18"/>
                    </a:lnTo>
                    <a:lnTo>
                      <a:pt x="809" y="22"/>
                    </a:lnTo>
                    <a:lnTo>
                      <a:pt x="795" y="54"/>
                    </a:lnTo>
                    <a:lnTo>
                      <a:pt x="764" y="54"/>
                    </a:lnTo>
                    <a:lnTo>
                      <a:pt x="758" y="37"/>
                    </a:lnTo>
                    <a:lnTo>
                      <a:pt x="746" y="42"/>
                    </a:lnTo>
                    <a:lnTo>
                      <a:pt x="726" y="37"/>
                    </a:lnTo>
                    <a:lnTo>
                      <a:pt x="717" y="39"/>
                    </a:lnTo>
                    <a:lnTo>
                      <a:pt x="714" y="55"/>
                    </a:lnTo>
                    <a:lnTo>
                      <a:pt x="725" y="67"/>
                    </a:lnTo>
                    <a:lnTo>
                      <a:pt x="722" y="75"/>
                    </a:lnTo>
                    <a:lnTo>
                      <a:pt x="702" y="78"/>
                    </a:lnTo>
                    <a:lnTo>
                      <a:pt x="689" y="72"/>
                    </a:lnTo>
                    <a:lnTo>
                      <a:pt x="683" y="76"/>
                    </a:lnTo>
                    <a:lnTo>
                      <a:pt x="671" y="84"/>
                    </a:lnTo>
                    <a:lnTo>
                      <a:pt x="686" y="102"/>
                    </a:lnTo>
                    <a:lnTo>
                      <a:pt x="699" y="94"/>
                    </a:lnTo>
                    <a:lnTo>
                      <a:pt x="719" y="97"/>
                    </a:lnTo>
                    <a:lnTo>
                      <a:pt x="722" y="118"/>
                    </a:lnTo>
                    <a:lnTo>
                      <a:pt x="708" y="124"/>
                    </a:lnTo>
                    <a:lnTo>
                      <a:pt x="696" y="124"/>
                    </a:lnTo>
                    <a:lnTo>
                      <a:pt x="684" y="133"/>
                    </a:lnTo>
                    <a:lnTo>
                      <a:pt x="675" y="138"/>
                    </a:lnTo>
                    <a:lnTo>
                      <a:pt x="651" y="138"/>
                    </a:lnTo>
                    <a:lnTo>
                      <a:pt x="648" y="145"/>
                    </a:lnTo>
                    <a:lnTo>
                      <a:pt x="660" y="148"/>
                    </a:lnTo>
                    <a:lnTo>
                      <a:pt x="614" y="172"/>
                    </a:lnTo>
                    <a:lnTo>
                      <a:pt x="603" y="171"/>
                    </a:lnTo>
                    <a:lnTo>
                      <a:pt x="599" y="165"/>
                    </a:lnTo>
                    <a:lnTo>
                      <a:pt x="608" y="160"/>
                    </a:lnTo>
                    <a:lnTo>
                      <a:pt x="614" y="145"/>
                    </a:lnTo>
                    <a:lnTo>
                      <a:pt x="582" y="141"/>
                    </a:lnTo>
                    <a:lnTo>
                      <a:pt x="578" y="130"/>
                    </a:lnTo>
                    <a:lnTo>
                      <a:pt x="567" y="127"/>
                    </a:lnTo>
                    <a:lnTo>
                      <a:pt x="558" y="112"/>
                    </a:lnTo>
                    <a:lnTo>
                      <a:pt x="552" y="111"/>
                    </a:lnTo>
                    <a:lnTo>
                      <a:pt x="548" y="121"/>
                    </a:lnTo>
                    <a:lnTo>
                      <a:pt x="530" y="141"/>
                    </a:lnTo>
                    <a:lnTo>
                      <a:pt x="524" y="139"/>
                    </a:lnTo>
                    <a:lnTo>
                      <a:pt x="515" y="124"/>
                    </a:lnTo>
                    <a:lnTo>
                      <a:pt x="506" y="118"/>
                    </a:lnTo>
                    <a:lnTo>
                      <a:pt x="503" y="127"/>
                    </a:lnTo>
                    <a:lnTo>
                      <a:pt x="486" y="139"/>
                    </a:lnTo>
                    <a:lnTo>
                      <a:pt x="479" y="139"/>
                    </a:lnTo>
                    <a:lnTo>
                      <a:pt x="467" y="130"/>
                    </a:lnTo>
                    <a:lnTo>
                      <a:pt x="461" y="138"/>
                    </a:lnTo>
                    <a:lnTo>
                      <a:pt x="458" y="136"/>
                    </a:lnTo>
                    <a:lnTo>
                      <a:pt x="441" y="139"/>
                    </a:lnTo>
                    <a:lnTo>
                      <a:pt x="426" y="145"/>
                    </a:lnTo>
                    <a:lnTo>
                      <a:pt x="426" y="151"/>
                    </a:lnTo>
                    <a:lnTo>
                      <a:pt x="417" y="153"/>
                    </a:lnTo>
                    <a:lnTo>
                      <a:pt x="408" y="147"/>
                    </a:lnTo>
                    <a:lnTo>
                      <a:pt x="404" y="150"/>
                    </a:lnTo>
                    <a:lnTo>
                      <a:pt x="416" y="178"/>
                    </a:lnTo>
                    <a:lnTo>
                      <a:pt x="419" y="184"/>
                    </a:lnTo>
                    <a:lnTo>
                      <a:pt x="420" y="184"/>
                    </a:lnTo>
                    <a:lnTo>
                      <a:pt x="429" y="196"/>
                    </a:lnTo>
                    <a:lnTo>
                      <a:pt x="434" y="202"/>
                    </a:lnTo>
                    <a:lnTo>
                      <a:pt x="435" y="211"/>
                    </a:lnTo>
                    <a:lnTo>
                      <a:pt x="444" y="213"/>
                    </a:lnTo>
                    <a:lnTo>
                      <a:pt x="452" y="222"/>
                    </a:lnTo>
                    <a:lnTo>
                      <a:pt x="461" y="226"/>
                    </a:lnTo>
                    <a:lnTo>
                      <a:pt x="459" y="240"/>
                    </a:lnTo>
                    <a:lnTo>
                      <a:pt x="470" y="237"/>
                    </a:lnTo>
                    <a:lnTo>
                      <a:pt x="482" y="243"/>
                    </a:lnTo>
                    <a:lnTo>
                      <a:pt x="494" y="253"/>
                    </a:lnTo>
                    <a:lnTo>
                      <a:pt x="488" y="256"/>
                    </a:lnTo>
                    <a:lnTo>
                      <a:pt x="489" y="268"/>
                    </a:lnTo>
                    <a:lnTo>
                      <a:pt x="480" y="271"/>
                    </a:lnTo>
                    <a:lnTo>
                      <a:pt x="479" y="277"/>
                    </a:lnTo>
                    <a:lnTo>
                      <a:pt x="485" y="286"/>
                    </a:lnTo>
                    <a:lnTo>
                      <a:pt x="495" y="289"/>
                    </a:lnTo>
                    <a:lnTo>
                      <a:pt x="501" y="297"/>
                    </a:lnTo>
                    <a:lnTo>
                      <a:pt x="512" y="294"/>
                    </a:lnTo>
                    <a:lnTo>
                      <a:pt x="519" y="298"/>
                    </a:lnTo>
                    <a:lnTo>
                      <a:pt x="521" y="304"/>
                    </a:lnTo>
                    <a:lnTo>
                      <a:pt x="510" y="306"/>
                    </a:lnTo>
                    <a:lnTo>
                      <a:pt x="510" y="316"/>
                    </a:lnTo>
                    <a:lnTo>
                      <a:pt x="524" y="319"/>
                    </a:lnTo>
                    <a:lnTo>
                      <a:pt x="534" y="325"/>
                    </a:lnTo>
                    <a:lnTo>
                      <a:pt x="543" y="319"/>
                    </a:lnTo>
                    <a:lnTo>
                      <a:pt x="557" y="327"/>
                    </a:lnTo>
                    <a:lnTo>
                      <a:pt x="551" y="343"/>
                    </a:lnTo>
                    <a:lnTo>
                      <a:pt x="558" y="349"/>
                    </a:lnTo>
                    <a:lnTo>
                      <a:pt x="567" y="361"/>
                    </a:lnTo>
                    <a:lnTo>
                      <a:pt x="578" y="360"/>
                    </a:lnTo>
                    <a:lnTo>
                      <a:pt x="584" y="351"/>
                    </a:lnTo>
                    <a:lnTo>
                      <a:pt x="591" y="360"/>
                    </a:lnTo>
                    <a:lnTo>
                      <a:pt x="600" y="373"/>
                    </a:lnTo>
                    <a:lnTo>
                      <a:pt x="599" y="403"/>
                    </a:lnTo>
                    <a:lnTo>
                      <a:pt x="584" y="400"/>
                    </a:lnTo>
                    <a:lnTo>
                      <a:pt x="567" y="400"/>
                    </a:lnTo>
                    <a:lnTo>
                      <a:pt x="563" y="417"/>
                    </a:lnTo>
                    <a:lnTo>
                      <a:pt x="534" y="420"/>
                    </a:lnTo>
                    <a:lnTo>
                      <a:pt x="527" y="421"/>
                    </a:lnTo>
                    <a:lnTo>
                      <a:pt x="534" y="427"/>
                    </a:lnTo>
                    <a:lnTo>
                      <a:pt x="531" y="435"/>
                    </a:lnTo>
                    <a:lnTo>
                      <a:pt x="524" y="442"/>
                    </a:lnTo>
                    <a:lnTo>
                      <a:pt x="519" y="444"/>
                    </a:lnTo>
                    <a:lnTo>
                      <a:pt x="510" y="432"/>
                    </a:lnTo>
                    <a:lnTo>
                      <a:pt x="501" y="427"/>
                    </a:lnTo>
                    <a:lnTo>
                      <a:pt x="492" y="436"/>
                    </a:lnTo>
                    <a:lnTo>
                      <a:pt x="480" y="436"/>
                    </a:lnTo>
                    <a:lnTo>
                      <a:pt x="498" y="453"/>
                    </a:lnTo>
                    <a:lnTo>
                      <a:pt x="497" y="456"/>
                    </a:lnTo>
                    <a:lnTo>
                      <a:pt x="485" y="453"/>
                    </a:lnTo>
                    <a:lnTo>
                      <a:pt x="483" y="459"/>
                    </a:lnTo>
                    <a:lnTo>
                      <a:pt x="480" y="465"/>
                    </a:lnTo>
                    <a:lnTo>
                      <a:pt x="488" y="468"/>
                    </a:lnTo>
                    <a:lnTo>
                      <a:pt x="488" y="472"/>
                    </a:lnTo>
                    <a:lnTo>
                      <a:pt x="495" y="480"/>
                    </a:lnTo>
                    <a:lnTo>
                      <a:pt x="486" y="481"/>
                    </a:lnTo>
                    <a:lnTo>
                      <a:pt x="485" y="492"/>
                    </a:lnTo>
                    <a:lnTo>
                      <a:pt x="479" y="487"/>
                    </a:lnTo>
                    <a:lnTo>
                      <a:pt x="483" y="498"/>
                    </a:lnTo>
                    <a:lnTo>
                      <a:pt x="471" y="501"/>
                    </a:lnTo>
                    <a:lnTo>
                      <a:pt x="455" y="510"/>
                    </a:lnTo>
                    <a:lnTo>
                      <a:pt x="459" y="516"/>
                    </a:lnTo>
                    <a:lnTo>
                      <a:pt x="467" y="525"/>
                    </a:lnTo>
                    <a:lnTo>
                      <a:pt x="476" y="529"/>
                    </a:lnTo>
                    <a:lnTo>
                      <a:pt x="470" y="534"/>
                    </a:lnTo>
                    <a:lnTo>
                      <a:pt x="476" y="543"/>
                    </a:lnTo>
                    <a:lnTo>
                      <a:pt x="468" y="540"/>
                    </a:lnTo>
                    <a:lnTo>
                      <a:pt x="467" y="549"/>
                    </a:lnTo>
                    <a:lnTo>
                      <a:pt x="465" y="553"/>
                    </a:lnTo>
                    <a:lnTo>
                      <a:pt x="458" y="556"/>
                    </a:lnTo>
                    <a:lnTo>
                      <a:pt x="459" y="568"/>
                    </a:lnTo>
                    <a:lnTo>
                      <a:pt x="464" y="576"/>
                    </a:lnTo>
                    <a:lnTo>
                      <a:pt x="459" y="585"/>
                    </a:lnTo>
                    <a:lnTo>
                      <a:pt x="441" y="582"/>
                    </a:lnTo>
                    <a:lnTo>
                      <a:pt x="437" y="588"/>
                    </a:lnTo>
                    <a:lnTo>
                      <a:pt x="440" y="597"/>
                    </a:lnTo>
                    <a:lnTo>
                      <a:pt x="443" y="609"/>
                    </a:lnTo>
                    <a:lnTo>
                      <a:pt x="440" y="619"/>
                    </a:lnTo>
                    <a:lnTo>
                      <a:pt x="444" y="622"/>
                    </a:lnTo>
                    <a:lnTo>
                      <a:pt x="444" y="628"/>
                    </a:lnTo>
                    <a:lnTo>
                      <a:pt x="435" y="630"/>
                    </a:lnTo>
                    <a:lnTo>
                      <a:pt x="437" y="639"/>
                    </a:lnTo>
                    <a:lnTo>
                      <a:pt x="426" y="645"/>
                    </a:lnTo>
                    <a:lnTo>
                      <a:pt x="413" y="634"/>
                    </a:lnTo>
                    <a:lnTo>
                      <a:pt x="416" y="627"/>
                    </a:lnTo>
                    <a:lnTo>
                      <a:pt x="414" y="618"/>
                    </a:lnTo>
                    <a:lnTo>
                      <a:pt x="398" y="616"/>
                    </a:lnTo>
                    <a:lnTo>
                      <a:pt x="383" y="604"/>
                    </a:lnTo>
                    <a:lnTo>
                      <a:pt x="380" y="592"/>
                    </a:lnTo>
                    <a:lnTo>
                      <a:pt x="366" y="591"/>
                    </a:lnTo>
                    <a:lnTo>
                      <a:pt x="353" y="589"/>
                    </a:lnTo>
                    <a:lnTo>
                      <a:pt x="345" y="585"/>
                    </a:lnTo>
                    <a:lnTo>
                      <a:pt x="329" y="582"/>
                    </a:lnTo>
                    <a:lnTo>
                      <a:pt x="324" y="582"/>
                    </a:lnTo>
                    <a:lnTo>
                      <a:pt x="320" y="586"/>
                    </a:lnTo>
                    <a:lnTo>
                      <a:pt x="302" y="579"/>
                    </a:lnTo>
                    <a:lnTo>
                      <a:pt x="293" y="586"/>
                    </a:lnTo>
                    <a:lnTo>
                      <a:pt x="290" y="600"/>
                    </a:lnTo>
                    <a:lnTo>
                      <a:pt x="267" y="582"/>
                    </a:lnTo>
                    <a:lnTo>
                      <a:pt x="254" y="580"/>
                    </a:lnTo>
                    <a:lnTo>
                      <a:pt x="246" y="576"/>
                    </a:lnTo>
                    <a:lnTo>
                      <a:pt x="243" y="577"/>
                    </a:lnTo>
                    <a:lnTo>
                      <a:pt x="251" y="592"/>
                    </a:lnTo>
                    <a:lnTo>
                      <a:pt x="242" y="603"/>
                    </a:lnTo>
                    <a:lnTo>
                      <a:pt x="246" y="609"/>
                    </a:lnTo>
                    <a:lnTo>
                      <a:pt x="237" y="622"/>
                    </a:lnTo>
                    <a:lnTo>
                      <a:pt x="231" y="630"/>
                    </a:lnTo>
                    <a:lnTo>
                      <a:pt x="218" y="625"/>
                    </a:lnTo>
                    <a:lnTo>
                      <a:pt x="204" y="642"/>
                    </a:lnTo>
                    <a:lnTo>
                      <a:pt x="201" y="648"/>
                    </a:lnTo>
                    <a:lnTo>
                      <a:pt x="197" y="654"/>
                    </a:lnTo>
                    <a:lnTo>
                      <a:pt x="182" y="679"/>
                    </a:lnTo>
                    <a:lnTo>
                      <a:pt x="171" y="694"/>
                    </a:lnTo>
                    <a:lnTo>
                      <a:pt x="164" y="699"/>
                    </a:lnTo>
                    <a:lnTo>
                      <a:pt x="144" y="696"/>
                    </a:lnTo>
                    <a:lnTo>
                      <a:pt x="134" y="697"/>
                    </a:lnTo>
                    <a:lnTo>
                      <a:pt x="138" y="703"/>
                    </a:lnTo>
                    <a:lnTo>
                      <a:pt x="153" y="714"/>
                    </a:lnTo>
                    <a:lnTo>
                      <a:pt x="153" y="721"/>
                    </a:lnTo>
                    <a:lnTo>
                      <a:pt x="140" y="724"/>
                    </a:lnTo>
                    <a:lnTo>
                      <a:pt x="137" y="738"/>
                    </a:lnTo>
                    <a:lnTo>
                      <a:pt x="123" y="741"/>
                    </a:lnTo>
                    <a:lnTo>
                      <a:pt x="107" y="765"/>
                    </a:lnTo>
                    <a:lnTo>
                      <a:pt x="101" y="766"/>
                    </a:lnTo>
                    <a:lnTo>
                      <a:pt x="90" y="780"/>
                    </a:lnTo>
                    <a:lnTo>
                      <a:pt x="104" y="790"/>
                    </a:lnTo>
                    <a:lnTo>
                      <a:pt x="104" y="802"/>
                    </a:lnTo>
                    <a:lnTo>
                      <a:pt x="84" y="814"/>
                    </a:lnTo>
                    <a:lnTo>
                      <a:pt x="81" y="810"/>
                    </a:lnTo>
                    <a:lnTo>
                      <a:pt x="74" y="816"/>
                    </a:lnTo>
                    <a:lnTo>
                      <a:pt x="63" y="811"/>
                    </a:lnTo>
                    <a:lnTo>
                      <a:pt x="53" y="828"/>
                    </a:lnTo>
                    <a:lnTo>
                      <a:pt x="63" y="837"/>
                    </a:lnTo>
                    <a:lnTo>
                      <a:pt x="12" y="885"/>
                    </a:lnTo>
                    <a:lnTo>
                      <a:pt x="0" y="901"/>
                    </a:lnTo>
                    <a:lnTo>
                      <a:pt x="18" y="916"/>
                    </a:lnTo>
                    <a:lnTo>
                      <a:pt x="5" y="930"/>
                    </a:lnTo>
                    <a:lnTo>
                      <a:pt x="11" y="930"/>
                    </a:lnTo>
                    <a:lnTo>
                      <a:pt x="21" y="930"/>
                    </a:lnTo>
                    <a:lnTo>
                      <a:pt x="42" y="922"/>
                    </a:lnTo>
                    <a:lnTo>
                      <a:pt x="39" y="931"/>
                    </a:lnTo>
                    <a:lnTo>
                      <a:pt x="47" y="937"/>
                    </a:lnTo>
                    <a:lnTo>
                      <a:pt x="50" y="948"/>
                    </a:lnTo>
                    <a:lnTo>
                      <a:pt x="71" y="949"/>
                    </a:lnTo>
                    <a:lnTo>
                      <a:pt x="71" y="961"/>
                    </a:lnTo>
                    <a:lnTo>
                      <a:pt x="86" y="966"/>
                    </a:lnTo>
                    <a:lnTo>
                      <a:pt x="89" y="970"/>
                    </a:lnTo>
                    <a:lnTo>
                      <a:pt x="93" y="973"/>
                    </a:lnTo>
                    <a:lnTo>
                      <a:pt x="92" y="979"/>
                    </a:lnTo>
                    <a:lnTo>
                      <a:pt x="84" y="982"/>
                    </a:lnTo>
                    <a:lnTo>
                      <a:pt x="93" y="988"/>
                    </a:lnTo>
                    <a:lnTo>
                      <a:pt x="96" y="996"/>
                    </a:lnTo>
                    <a:lnTo>
                      <a:pt x="93" y="1003"/>
                    </a:lnTo>
                    <a:lnTo>
                      <a:pt x="98" y="1011"/>
                    </a:lnTo>
                    <a:lnTo>
                      <a:pt x="92" y="1015"/>
                    </a:lnTo>
                    <a:lnTo>
                      <a:pt x="81" y="1006"/>
                    </a:lnTo>
                    <a:lnTo>
                      <a:pt x="74" y="1011"/>
                    </a:lnTo>
                    <a:lnTo>
                      <a:pt x="74" y="1035"/>
                    </a:lnTo>
                    <a:lnTo>
                      <a:pt x="63" y="1045"/>
                    </a:lnTo>
                    <a:lnTo>
                      <a:pt x="71" y="1056"/>
                    </a:lnTo>
                    <a:lnTo>
                      <a:pt x="80" y="1054"/>
                    </a:lnTo>
                    <a:lnTo>
                      <a:pt x="92" y="1039"/>
                    </a:lnTo>
                    <a:lnTo>
                      <a:pt x="98" y="1032"/>
                    </a:lnTo>
                    <a:lnTo>
                      <a:pt x="108" y="1036"/>
                    </a:lnTo>
                    <a:lnTo>
                      <a:pt x="111" y="1032"/>
                    </a:lnTo>
                    <a:lnTo>
                      <a:pt x="117" y="1027"/>
                    </a:lnTo>
                    <a:lnTo>
                      <a:pt x="119" y="1018"/>
                    </a:lnTo>
                    <a:lnTo>
                      <a:pt x="131" y="1024"/>
                    </a:lnTo>
                    <a:lnTo>
                      <a:pt x="134" y="1033"/>
                    </a:lnTo>
                    <a:lnTo>
                      <a:pt x="135" y="1044"/>
                    </a:lnTo>
                    <a:lnTo>
                      <a:pt x="141" y="1056"/>
                    </a:lnTo>
                    <a:lnTo>
                      <a:pt x="144" y="1063"/>
                    </a:lnTo>
                    <a:lnTo>
                      <a:pt x="143" y="1068"/>
                    </a:lnTo>
                    <a:lnTo>
                      <a:pt x="132" y="1069"/>
                    </a:lnTo>
                    <a:lnTo>
                      <a:pt x="131" y="1074"/>
                    </a:lnTo>
                    <a:lnTo>
                      <a:pt x="132" y="1081"/>
                    </a:lnTo>
                    <a:lnTo>
                      <a:pt x="144" y="1093"/>
                    </a:lnTo>
                    <a:lnTo>
                      <a:pt x="150" y="1095"/>
                    </a:lnTo>
                    <a:lnTo>
                      <a:pt x="156" y="1099"/>
                    </a:lnTo>
                    <a:lnTo>
                      <a:pt x="159" y="1111"/>
                    </a:lnTo>
                    <a:lnTo>
                      <a:pt x="153" y="1114"/>
                    </a:lnTo>
                    <a:lnTo>
                      <a:pt x="150" y="1114"/>
                    </a:lnTo>
                    <a:lnTo>
                      <a:pt x="141" y="1125"/>
                    </a:lnTo>
                    <a:lnTo>
                      <a:pt x="132" y="1129"/>
                    </a:lnTo>
                    <a:lnTo>
                      <a:pt x="125" y="1135"/>
                    </a:lnTo>
                    <a:lnTo>
                      <a:pt x="123" y="1138"/>
                    </a:lnTo>
                    <a:lnTo>
                      <a:pt x="120" y="1141"/>
                    </a:lnTo>
                    <a:lnTo>
                      <a:pt x="117" y="1161"/>
                    </a:lnTo>
                    <a:lnTo>
                      <a:pt x="114" y="1165"/>
                    </a:lnTo>
                    <a:lnTo>
                      <a:pt x="110" y="1180"/>
                    </a:lnTo>
                    <a:lnTo>
                      <a:pt x="102" y="1195"/>
                    </a:lnTo>
                    <a:lnTo>
                      <a:pt x="102" y="1201"/>
                    </a:lnTo>
                    <a:lnTo>
                      <a:pt x="101" y="1207"/>
                    </a:lnTo>
                    <a:lnTo>
                      <a:pt x="92" y="1218"/>
                    </a:lnTo>
                    <a:lnTo>
                      <a:pt x="83" y="1219"/>
                    </a:lnTo>
                    <a:lnTo>
                      <a:pt x="78" y="1215"/>
                    </a:lnTo>
                    <a:lnTo>
                      <a:pt x="69" y="1216"/>
                    </a:lnTo>
                    <a:lnTo>
                      <a:pt x="62" y="1210"/>
                    </a:lnTo>
                    <a:lnTo>
                      <a:pt x="57" y="1210"/>
                    </a:lnTo>
                    <a:lnTo>
                      <a:pt x="48" y="1210"/>
                    </a:lnTo>
                    <a:lnTo>
                      <a:pt x="35" y="1201"/>
                    </a:lnTo>
                    <a:lnTo>
                      <a:pt x="26" y="1197"/>
                    </a:lnTo>
                    <a:lnTo>
                      <a:pt x="18" y="1218"/>
                    </a:lnTo>
                    <a:lnTo>
                      <a:pt x="11" y="1228"/>
                    </a:lnTo>
                    <a:lnTo>
                      <a:pt x="12" y="1233"/>
                    </a:lnTo>
                    <a:lnTo>
                      <a:pt x="12" y="1240"/>
                    </a:lnTo>
                    <a:lnTo>
                      <a:pt x="11" y="1249"/>
                    </a:lnTo>
                    <a:lnTo>
                      <a:pt x="8" y="1258"/>
                    </a:lnTo>
                    <a:lnTo>
                      <a:pt x="6" y="1275"/>
                    </a:lnTo>
                    <a:lnTo>
                      <a:pt x="12" y="1287"/>
                    </a:lnTo>
                    <a:lnTo>
                      <a:pt x="12" y="1299"/>
                    </a:lnTo>
                    <a:lnTo>
                      <a:pt x="3" y="1315"/>
                    </a:lnTo>
                    <a:lnTo>
                      <a:pt x="11" y="1333"/>
                    </a:lnTo>
                    <a:lnTo>
                      <a:pt x="6" y="1348"/>
                    </a:lnTo>
                    <a:lnTo>
                      <a:pt x="3" y="1362"/>
                    </a:lnTo>
                    <a:lnTo>
                      <a:pt x="0" y="1365"/>
                    </a:lnTo>
                    <a:lnTo>
                      <a:pt x="26" y="1392"/>
                    </a:lnTo>
                    <a:lnTo>
                      <a:pt x="26" y="1404"/>
                    </a:lnTo>
                    <a:lnTo>
                      <a:pt x="42" y="1411"/>
                    </a:lnTo>
                    <a:lnTo>
                      <a:pt x="59" y="1404"/>
                    </a:lnTo>
                    <a:lnTo>
                      <a:pt x="66" y="1399"/>
                    </a:lnTo>
                    <a:lnTo>
                      <a:pt x="108" y="1411"/>
                    </a:lnTo>
                    <a:lnTo>
                      <a:pt x="113" y="1401"/>
                    </a:lnTo>
                    <a:lnTo>
                      <a:pt x="119" y="1402"/>
                    </a:lnTo>
                    <a:lnTo>
                      <a:pt x="147" y="1410"/>
                    </a:lnTo>
                    <a:lnTo>
                      <a:pt x="179" y="1416"/>
                    </a:lnTo>
                    <a:lnTo>
                      <a:pt x="182" y="1413"/>
                    </a:lnTo>
                    <a:lnTo>
                      <a:pt x="179" y="1366"/>
                    </a:lnTo>
                    <a:lnTo>
                      <a:pt x="165" y="1345"/>
                    </a:lnTo>
                    <a:lnTo>
                      <a:pt x="155" y="1344"/>
                    </a:lnTo>
                    <a:lnTo>
                      <a:pt x="159" y="1336"/>
                    </a:lnTo>
                    <a:lnTo>
                      <a:pt x="173" y="1320"/>
                    </a:lnTo>
                    <a:lnTo>
                      <a:pt x="158" y="1311"/>
                    </a:lnTo>
                    <a:lnTo>
                      <a:pt x="159" y="1305"/>
                    </a:lnTo>
                    <a:lnTo>
                      <a:pt x="167" y="1290"/>
                    </a:lnTo>
                    <a:lnTo>
                      <a:pt x="170" y="1276"/>
                    </a:lnTo>
                    <a:lnTo>
                      <a:pt x="174" y="1263"/>
                    </a:lnTo>
                    <a:lnTo>
                      <a:pt x="165" y="1249"/>
                    </a:lnTo>
                    <a:lnTo>
                      <a:pt x="185" y="1228"/>
                    </a:lnTo>
                    <a:lnTo>
                      <a:pt x="204" y="1222"/>
                    </a:lnTo>
                    <a:lnTo>
                      <a:pt x="227" y="1230"/>
                    </a:lnTo>
                    <a:lnTo>
                      <a:pt x="264" y="1248"/>
                    </a:lnTo>
                    <a:lnTo>
                      <a:pt x="282" y="1248"/>
                    </a:lnTo>
                    <a:lnTo>
                      <a:pt x="284" y="1240"/>
                    </a:lnTo>
                    <a:lnTo>
                      <a:pt x="323" y="1261"/>
                    </a:lnTo>
                    <a:lnTo>
                      <a:pt x="330" y="1252"/>
                    </a:lnTo>
                    <a:lnTo>
                      <a:pt x="326" y="1245"/>
                    </a:lnTo>
                    <a:lnTo>
                      <a:pt x="318" y="1218"/>
                    </a:lnTo>
                    <a:lnTo>
                      <a:pt x="309" y="1209"/>
                    </a:lnTo>
                    <a:lnTo>
                      <a:pt x="309" y="1200"/>
                    </a:lnTo>
                    <a:lnTo>
                      <a:pt x="315" y="1188"/>
                    </a:lnTo>
                    <a:lnTo>
                      <a:pt x="308" y="1174"/>
                    </a:lnTo>
                    <a:lnTo>
                      <a:pt x="302" y="1156"/>
                    </a:lnTo>
                    <a:lnTo>
                      <a:pt x="312" y="1150"/>
                    </a:lnTo>
                    <a:lnTo>
                      <a:pt x="329" y="1149"/>
                    </a:lnTo>
                    <a:lnTo>
                      <a:pt x="345" y="1141"/>
                    </a:lnTo>
                    <a:lnTo>
                      <a:pt x="344" y="1131"/>
                    </a:lnTo>
                    <a:lnTo>
                      <a:pt x="341" y="1111"/>
                    </a:lnTo>
                    <a:lnTo>
                      <a:pt x="351" y="1111"/>
                    </a:lnTo>
                    <a:lnTo>
                      <a:pt x="374" y="1107"/>
                    </a:lnTo>
                    <a:lnTo>
                      <a:pt x="380" y="1102"/>
                    </a:lnTo>
                    <a:lnTo>
                      <a:pt x="392" y="1101"/>
                    </a:lnTo>
                    <a:lnTo>
                      <a:pt x="410" y="1098"/>
                    </a:lnTo>
                    <a:lnTo>
                      <a:pt x="425" y="1089"/>
                    </a:lnTo>
                    <a:lnTo>
                      <a:pt x="435" y="1074"/>
                    </a:lnTo>
                    <a:lnTo>
                      <a:pt x="443" y="1060"/>
                    </a:lnTo>
                    <a:lnTo>
                      <a:pt x="450" y="1054"/>
                    </a:lnTo>
                    <a:lnTo>
                      <a:pt x="450" y="1050"/>
                    </a:lnTo>
                    <a:lnTo>
                      <a:pt x="441" y="1035"/>
                    </a:lnTo>
                    <a:lnTo>
                      <a:pt x="429" y="1033"/>
                    </a:lnTo>
                    <a:lnTo>
                      <a:pt x="429" y="1012"/>
                    </a:lnTo>
                    <a:lnTo>
                      <a:pt x="437" y="1015"/>
                    </a:lnTo>
                    <a:lnTo>
                      <a:pt x="435" y="1006"/>
                    </a:lnTo>
                    <a:lnTo>
                      <a:pt x="428" y="999"/>
                    </a:lnTo>
                    <a:lnTo>
                      <a:pt x="429" y="990"/>
                    </a:lnTo>
                    <a:lnTo>
                      <a:pt x="425" y="976"/>
                    </a:lnTo>
                    <a:lnTo>
                      <a:pt x="441" y="973"/>
                    </a:lnTo>
                    <a:lnTo>
                      <a:pt x="444" y="966"/>
                    </a:lnTo>
                    <a:lnTo>
                      <a:pt x="435" y="955"/>
                    </a:lnTo>
                    <a:lnTo>
                      <a:pt x="435" y="948"/>
                    </a:lnTo>
                    <a:lnTo>
                      <a:pt x="444" y="939"/>
                    </a:lnTo>
                    <a:lnTo>
                      <a:pt x="443" y="930"/>
                    </a:lnTo>
                    <a:lnTo>
                      <a:pt x="449" y="933"/>
                    </a:lnTo>
                    <a:lnTo>
                      <a:pt x="473" y="945"/>
                    </a:lnTo>
                    <a:lnTo>
                      <a:pt x="474" y="939"/>
                    </a:lnTo>
                    <a:lnTo>
                      <a:pt x="477" y="925"/>
                    </a:lnTo>
                  </a:path>
                </a:pathLst>
              </a:custGeom>
              <a:solidFill>
                <a:sysClr val="window" lastClr="FFFFFF"/>
              </a:solid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0" name="Freeform 304">
                <a:extLst>
                  <a:ext uri="{FF2B5EF4-FFF2-40B4-BE49-F238E27FC236}">
                    <a16:creationId xmlns:a16="http://schemas.microsoft.com/office/drawing/2014/main" id="{42E62BA3-38E5-90BB-13AB-FC01B75B7BC6}"/>
                  </a:ext>
                </a:extLst>
              </p:cNvPr>
              <p:cNvSpPr>
                <a:spLocks/>
              </p:cNvSpPr>
              <p:nvPr/>
            </p:nvSpPr>
            <p:spPr bwMode="auto">
              <a:xfrm>
                <a:off x="3259" y="3395"/>
                <a:ext cx="12" cy="10"/>
              </a:xfrm>
              <a:custGeom>
                <a:avLst/>
                <a:gdLst>
                  <a:gd name="T0" fmla="*/ 0 w 35"/>
                  <a:gd name="T1" fmla="*/ 0 h 31"/>
                  <a:gd name="T2" fmla="*/ 0 w 35"/>
                  <a:gd name="T3" fmla="*/ 0 h 31"/>
                  <a:gd name="T4" fmla="*/ 0 w 35"/>
                  <a:gd name="T5" fmla="*/ 0 h 31"/>
                  <a:gd name="T6" fmla="*/ 0 w 35"/>
                  <a:gd name="T7" fmla="*/ 0 h 31"/>
                  <a:gd name="T8" fmla="*/ 0 w 35"/>
                  <a:gd name="T9" fmla="*/ 0 h 31"/>
                  <a:gd name="T10" fmla="*/ 0 w 35"/>
                  <a:gd name="T11" fmla="*/ 0 h 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1">
                    <a:moveTo>
                      <a:pt x="0" y="31"/>
                    </a:moveTo>
                    <a:lnTo>
                      <a:pt x="2" y="9"/>
                    </a:lnTo>
                    <a:lnTo>
                      <a:pt x="8" y="0"/>
                    </a:lnTo>
                    <a:lnTo>
                      <a:pt x="12" y="9"/>
                    </a:lnTo>
                    <a:lnTo>
                      <a:pt x="29" y="12"/>
                    </a:lnTo>
                    <a:lnTo>
                      <a:pt x="35" y="4"/>
                    </a:lnTo>
                  </a:path>
                </a:pathLst>
              </a:custGeom>
              <a:grpFill/>
              <a:ln w="1587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1" name="Freeform 312">
                <a:extLst>
                  <a:ext uri="{FF2B5EF4-FFF2-40B4-BE49-F238E27FC236}">
                    <a16:creationId xmlns:a16="http://schemas.microsoft.com/office/drawing/2014/main" id="{4B9BC48C-AABB-3BA8-C2F4-02D26F9A4045}"/>
                  </a:ext>
                </a:extLst>
              </p:cNvPr>
              <p:cNvSpPr>
                <a:spLocks/>
              </p:cNvSpPr>
              <p:nvPr/>
            </p:nvSpPr>
            <p:spPr bwMode="auto">
              <a:xfrm>
                <a:off x="3633" y="2692"/>
                <a:ext cx="628" cy="597"/>
              </a:xfrm>
              <a:custGeom>
                <a:avLst/>
                <a:gdLst>
                  <a:gd name="T0" fmla="*/ 0 w 1884"/>
                  <a:gd name="T1" fmla="*/ 0 h 1790"/>
                  <a:gd name="T2" fmla="*/ 0 w 1884"/>
                  <a:gd name="T3" fmla="*/ 0 h 1790"/>
                  <a:gd name="T4" fmla="*/ 0 w 1884"/>
                  <a:gd name="T5" fmla="*/ 0 h 1790"/>
                  <a:gd name="T6" fmla="*/ 0 w 1884"/>
                  <a:gd name="T7" fmla="*/ 0 h 1790"/>
                  <a:gd name="T8" fmla="*/ 0 w 1884"/>
                  <a:gd name="T9" fmla="*/ 0 h 1790"/>
                  <a:gd name="T10" fmla="*/ 0 w 1884"/>
                  <a:gd name="T11" fmla="*/ 0 h 1790"/>
                  <a:gd name="T12" fmla="*/ 0 w 1884"/>
                  <a:gd name="T13" fmla="*/ 0 h 1790"/>
                  <a:gd name="T14" fmla="*/ 0 w 1884"/>
                  <a:gd name="T15" fmla="*/ 0 h 1790"/>
                  <a:gd name="T16" fmla="*/ 0 w 1884"/>
                  <a:gd name="T17" fmla="*/ 0 h 1790"/>
                  <a:gd name="T18" fmla="*/ 0 w 1884"/>
                  <a:gd name="T19" fmla="*/ 0 h 1790"/>
                  <a:gd name="T20" fmla="*/ 0 w 1884"/>
                  <a:gd name="T21" fmla="*/ 0 h 1790"/>
                  <a:gd name="T22" fmla="*/ 0 w 1884"/>
                  <a:gd name="T23" fmla="*/ 0 h 1790"/>
                  <a:gd name="T24" fmla="*/ 0 w 1884"/>
                  <a:gd name="T25" fmla="*/ 0 h 1790"/>
                  <a:gd name="T26" fmla="*/ 0 w 1884"/>
                  <a:gd name="T27" fmla="*/ 0 h 1790"/>
                  <a:gd name="T28" fmla="*/ 0 w 1884"/>
                  <a:gd name="T29" fmla="*/ 0 h 1790"/>
                  <a:gd name="T30" fmla="*/ 0 w 1884"/>
                  <a:gd name="T31" fmla="*/ 0 h 1790"/>
                  <a:gd name="T32" fmla="*/ 0 w 1884"/>
                  <a:gd name="T33" fmla="*/ 0 h 1790"/>
                  <a:gd name="T34" fmla="*/ 0 w 1884"/>
                  <a:gd name="T35" fmla="*/ 0 h 1790"/>
                  <a:gd name="T36" fmla="*/ 0 w 1884"/>
                  <a:gd name="T37" fmla="*/ 0 h 1790"/>
                  <a:gd name="T38" fmla="*/ 0 w 1884"/>
                  <a:gd name="T39" fmla="*/ 0 h 1790"/>
                  <a:gd name="T40" fmla="*/ 0 w 1884"/>
                  <a:gd name="T41" fmla="*/ 0 h 1790"/>
                  <a:gd name="T42" fmla="*/ 0 w 1884"/>
                  <a:gd name="T43" fmla="*/ 0 h 1790"/>
                  <a:gd name="T44" fmla="*/ 0 w 1884"/>
                  <a:gd name="T45" fmla="*/ 0 h 1790"/>
                  <a:gd name="T46" fmla="*/ 0 w 1884"/>
                  <a:gd name="T47" fmla="*/ 0 h 1790"/>
                  <a:gd name="T48" fmla="*/ 0 w 1884"/>
                  <a:gd name="T49" fmla="*/ 0 h 1790"/>
                  <a:gd name="T50" fmla="*/ 0 w 1884"/>
                  <a:gd name="T51" fmla="*/ 0 h 1790"/>
                  <a:gd name="T52" fmla="*/ 0 w 1884"/>
                  <a:gd name="T53" fmla="*/ 0 h 1790"/>
                  <a:gd name="T54" fmla="*/ 0 w 1884"/>
                  <a:gd name="T55" fmla="*/ 0 h 1790"/>
                  <a:gd name="T56" fmla="*/ 0 w 1884"/>
                  <a:gd name="T57" fmla="*/ 0 h 1790"/>
                  <a:gd name="T58" fmla="*/ 0 w 1884"/>
                  <a:gd name="T59" fmla="*/ 0 h 1790"/>
                  <a:gd name="T60" fmla="*/ 0 w 1884"/>
                  <a:gd name="T61" fmla="*/ 0 h 1790"/>
                  <a:gd name="T62" fmla="*/ 0 w 1884"/>
                  <a:gd name="T63" fmla="*/ 0 h 1790"/>
                  <a:gd name="T64" fmla="*/ 0 w 1884"/>
                  <a:gd name="T65" fmla="*/ 0 h 1790"/>
                  <a:gd name="T66" fmla="*/ 0 w 1884"/>
                  <a:gd name="T67" fmla="*/ 0 h 1790"/>
                  <a:gd name="T68" fmla="*/ 0 w 1884"/>
                  <a:gd name="T69" fmla="*/ 0 h 1790"/>
                  <a:gd name="T70" fmla="*/ 0 w 1884"/>
                  <a:gd name="T71" fmla="*/ 0 h 1790"/>
                  <a:gd name="T72" fmla="*/ 0 w 1884"/>
                  <a:gd name="T73" fmla="*/ 0 h 1790"/>
                  <a:gd name="T74" fmla="*/ 0 w 1884"/>
                  <a:gd name="T75" fmla="*/ 0 h 1790"/>
                  <a:gd name="T76" fmla="*/ 0 w 1884"/>
                  <a:gd name="T77" fmla="*/ 0 h 1790"/>
                  <a:gd name="T78" fmla="*/ 0 w 1884"/>
                  <a:gd name="T79" fmla="*/ 0 h 1790"/>
                  <a:gd name="T80" fmla="*/ 0 w 1884"/>
                  <a:gd name="T81" fmla="*/ 0 h 1790"/>
                  <a:gd name="T82" fmla="*/ 0 w 1884"/>
                  <a:gd name="T83" fmla="*/ 0 h 1790"/>
                  <a:gd name="T84" fmla="*/ 0 w 1884"/>
                  <a:gd name="T85" fmla="*/ 0 h 1790"/>
                  <a:gd name="T86" fmla="*/ 0 w 1884"/>
                  <a:gd name="T87" fmla="*/ 0 h 1790"/>
                  <a:gd name="T88" fmla="*/ 0 w 1884"/>
                  <a:gd name="T89" fmla="*/ 0 h 1790"/>
                  <a:gd name="T90" fmla="*/ 0 w 1884"/>
                  <a:gd name="T91" fmla="*/ 0 h 1790"/>
                  <a:gd name="T92" fmla="*/ 0 w 1884"/>
                  <a:gd name="T93" fmla="*/ 0 h 1790"/>
                  <a:gd name="T94" fmla="*/ 0 w 1884"/>
                  <a:gd name="T95" fmla="*/ 0 h 1790"/>
                  <a:gd name="T96" fmla="*/ 0 w 1884"/>
                  <a:gd name="T97" fmla="*/ 0 h 1790"/>
                  <a:gd name="T98" fmla="*/ 0 w 1884"/>
                  <a:gd name="T99" fmla="*/ 0 h 1790"/>
                  <a:gd name="T100" fmla="*/ 0 w 1884"/>
                  <a:gd name="T101" fmla="*/ 0 h 1790"/>
                  <a:gd name="T102" fmla="*/ 0 w 1884"/>
                  <a:gd name="T103" fmla="*/ 0 h 1790"/>
                  <a:gd name="T104" fmla="*/ 0 w 1884"/>
                  <a:gd name="T105" fmla="*/ 0 h 1790"/>
                  <a:gd name="T106" fmla="*/ 0 w 1884"/>
                  <a:gd name="T107" fmla="*/ 0 h 1790"/>
                  <a:gd name="T108" fmla="*/ 0 w 1884"/>
                  <a:gd name="T109" fmla="*/ 0 h 1790"/>
                  <a:gd name="T110" fmla="*/ 0 w 1884"/>
                  <a:gd name="T111" fmla="*/ 0 h 1790"/>
                  <a:gd name="T112" fmla="*/ 0 w 1884"/>
                  <a:gd name="T113" fmla="*/ 0 h 1790"/>
                  <a:gd name="T114" fmla="*/ 0 w 1884"/>
                  <a:gd name="T115" fmla="*/ 0 h 1790"/>
                  <a:gd name="T116" fmla="*/ 0 w 1884"/>
                  <a:gd name="T117" fmla="*/ 0 h 17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884" h="1790">
                    <a:moveTo>
                      <a:pt x="0" y="1773"/>
                    </a:moveTo>
                    <a:lnTo>
                      <a:pt x="9" y="1772"/>
                    </a:lnTo>
                    <a:lnTo>
                      <a:pt x="21" y="1770"/>
                    </a:lnTo>
                    <a:lnTo>
                      <a:pt x="24" y="1772"/>
                    </a:lnTo>
                    <a:lnTo>
                      <a:pt x="25" y="1781"/>
                    </a:lnTo>
                    <a:lnTo>
                      <a:pt x="34" y="1781"/>
                    </a:lnTo>
                    <a:lnTo>
                      <a:pt x="37" y="1784"/>
                    </a:lnTo>
                    <a:lnTo>
                      <a:pt x="51" y="1788"/>
                    </a:lnTo>
                    <a:lnTo>
                      <a:pt x="63" y="1787"/>
                    </a:lnTo>
                    <a:lnTo>
                      <a:pt x="75" y="1788"/>
                    </a:lnTo>
                    <a:lnTo>
                      <a:pt x="79" y="1790"/>
                    </a:lnTo>
                    <a:lnTo>
                      <a:pt x="91" y="1785"/>
                    </a:lnTo>
                    <a:lnTo>
                      <a:pt x="114" y="1773"/>
                    </a:lnTo>
                    <a:lnTo>
                      <a:pt x="141" y="1752"/>
                    </a:lnTo>
                    <a:lnTo>
                      <a:pt x="147" y="1743"/>
                    </a:lnTo>
                    <a:lnTo>
                      <a:pt x="147" y="1736"/>
                    </a:lnTo>
                    <a:lnTo>
                      <a:pt x="150" y="1733"/>
                    </a:lnTo>
                    <a:lnTo>
                      <a:pt x="154" y="1734"/>
                    </a:lnTo>
                    <a:lnTo>
                      <a:pt x="159" y="1742"/>
                    </a:lnTo>
                    <a:lnTo>
                      <a:pt x="165" y="1743"/>
                    </a:lnTo>
                    <a:lnTo>
                      <a:pt x="169" y="1737"/>
                    </a:lnTo>
                    <a:lnTo>
                      <a:pt x="169" y="1733"/>
                    </a:lnTo>
                    <a:lnTo>
                      <a:pt x="165" y="1727"/>
                    </a:lnTo>
                    <a:lnTo>
                      <a:pt x="165" y="1707"/>
                    </a:lnTo>
                    <a:lnTo>
                      <a:pt x="160" y="1686"/>
                    </a:lnTo>
                    <a:lnTo>
                      <a:pt x="169" y="1679"/>
                    </a:lnTo>
                    <a:lnTo>
                      <a:pt x="169" y="1667"/>
                    </a:lnTo>
                    <a:lnTo>
                      <a:pt x="160" y="1665"/>
                    </a:lnTo>
                    <a:lnTo>
                      <a:pt x="144" y="1646"/>
                    </a:lnTo>
                    <a:lnTo>
                      <a:pt x="130" y="1626"/>
                    </a:lnTo>
                    <a:lnTo>
                      <a:pt x="132" y="1613"/>
                    </a:lnTo>
                    <a:lnTo>
                      <a:pt x="136" y="1596"/>
                    </a:lnTo>
                    <a:lnTo>
                      <a:pt x="132" y="1589"/>
                    </a:lnTo>
                    <a:lnTo>
                      <a:pt x="126" y="1577"/>
                    </a:lnTo>
                    <a:lnTo>
                      <a:pt x="138" y="1550"/>
                    </a:lnTo>
                    <a:lnTo>
                      <a:pt x="145" y="1515"/>
                    </a:lnTo>
                    <a:lnTo>
                      <a:pt x="151" y="1515"/>
                    </a:lnTo>
                    <a:lnTo>
                      <a:pt x="154" y="1520"/>
                    </a:lnTo>
                    <a:lnTo>
                      <a:pt x="159" y="1523"/>
                    </a:lnTo>
                    <a:lnTo>
                      <a:pt x="175" y="1518"/>
                    </a:lnTo>
                    <a:lnTo>
                      <a:pt x="208" y="1530"/>
                    </a:lnTo>
                    <a:lnTo>
                      <a:pt x="222" y="1544"/>
                    </a:lnTo>
                    <a:lnTo>
                      <a:pt x="232" y="1560"/>
                    </a:lnTo>
                    <a:lnTo>
                      <a:pt x="262" y="1548"/>
                    </a:lnTo>
                    <a:lnTo>
                      <a:pt x="268" y="1542"/>
                    </a:lnTo>
                    <a:lnTo>
                      <a:pt x="279" y="1533"/>
                    </a:lnTo>
                    <a:lnTo>
                      <a:pt x="286" y="1533"/>
                    </a:lnTo>
                    <a:lnTo>
                      <a:pt x="295" y="1530"/>
                    </a:lnTo>
                    <a:lnTo>
                      <a:pt x="309" y="1529"/>
                    </a:lnTo>
                    <a:lnTo>
                      <a:pt x="319" y="1527"/>
                    </a:lnTo>
                    <a:lnTo>
                      <a:pt x="328" y="1517"/>
                    </a:lnTo>
                    <a:lnTo>
                      <a:pt x="333" y="1511"/>
                    </a:lnTo>
                    <a:lnTo>
                      <a:pt x="340" y="1514"/>
                    </a:lnTo>
                    <a:lnTo>
                      <a:pt x="351" y="1515"/>
                    </a:lnTo>
                    <a:lnTo>
                      <a:pt x="354" y="1512"/>
                    </a:lnTo>
                    <a:lnTo>
                      <a:pt x="360" y="1503"/>
                    </a:lnTo>
                    <a:lnTo>
                      <a:pt x="360" y="1482"/>
                    </a:lnTo>
                    <a:lnTo>
                      <a:pt x="364" y="1473"/>
                    </a:lnTo>
                    <a:lnTo>
                      <a:pt x="372" y="1473"/>
                    </a:lnTo>
                    <a:lnTo>
                      <a:pt x="379" y="1472"/>
                    </a:lnTo>
                    <a:lnTo>
                      <a:pt x="390" y="1464"/>
                    </a:lnTo>
                    <a:lnTo>
                      <a:pt x="400" y="1457"/>
                    </a:lnTo>
                    <a:lnTo>
                      <a:pt x="417" y="1455"/>
                    </a:lnTo>
                    <a:lnTo>
                      <a:pt x="429" y="1460"/>
                    </a:lnTo>
                    <a:lnTo>
                      <a:pt x="442" y="1470"/>
                    </a:lnTo>
                    <a:lnTo>
                      <a:pt x="448" y="1472"/>
                    </a:lnTo>
                    <a:lnTo>
                      <a:pt x="457" y="1466"/>
                    </a:lnTo>
                    <a:lnTo>
                      <a:pt x="469" y="1470"/>
                    </a:lnTo>
                    <a:lnTo>
                      <a:pt x="471" y="1461"/>
                    </a:lnTo>
                    <a:lnTo>
                      <a:pt x="478" y="1454"/>
                    </a:lnTo>
                    <a:lnTo>
                      <a:pt x="468" y="1448"/>
                    </a:lnTo>
                    <a:lnTo>
                      <a:pt x="465" y="1442"/>
                    </a:lnTo>
                    <a:lnTo>
                      <a:pt x="468" y="1433"/>
                    </a:lnTo>
                    <a:lnTo>
                      <a:pt x="465" y="1428"/>
                    </a:lnTo>
                    <a:lnTo>
                      <a:pt x="469" y="1419"/>
                    </a:lnTo>
                    <a:lnTo>
                      <a:pt x="465" y="1410"/>
                    </a:lnTo>
                    <a:lnTo>
                      <a:pt x="469" y="1401"/>
                    </a:lnTo>
                    <a:lnTo>
                      <a:pt x="475" y="1400"/>
                    </a:lnTo>
                    <a:lnTo>
                      <a:pt x="481" y="1385"/>
                    </a:lnTo>
                    <a:lnTo>
                      <a:pt x="469" y="1371"/>
                    </a:lnTo>
                    <a:lnTo>
                      <a:pt x="466" y="1358"/>
                    </a:lnTo>
                    <a:lnTo>
                      <a:pt x="463" y="1349"/>
                    </a:lnTo>
                    <a:lnTo>
                      <a:pt x="460" y="1349"/>
                    </a:lnTo>
                    <a:lnTo>
                      <a:pt x="463" y="1340"/>
                    </a:lnTo>
                    <a:lnTo>
                      <a:pt x="474" y="1334"/>
                    </a:lnTo>
                    <a:lnTo>
                      <a:pt x="468" y="1326"/>
                    </a:lnTo>
                    <a:lnTo>
                      <a:pt x="469" y="1314"/>
                    </a:lnTo>
                    <a:lnTo>
                      <a:pt x="474" y="1308"/>
                    </a:lnTo>
                    <a:lnTo>
                      <a:pt x="489" y="1307"/>
                    </a:lnTo>
                    <a:lnTo>
                      <a:pt x="504" y="1311"/>
                    </a:lnTo>
                    <a:lnTo>
                      <a:pt x="514" y="1320"/>
                    </a:lnTo>
                    <a:lnTo>
                      <a:pt x="522" y="1326"/>
                    </a:lnTo>
                    <a:lnTo>
                      <a:pt x="526" y="1329"/>
                    </a:lnTo>
                    <a:lnTo>
                      <a:pt x="540" y="1329"/>
                    </a:lnTo>
                    <a:lnTo>
                      <a:pt x="547" y="1329"/>
                    </a:lnTo>
                    <a:lnTo>
                      <a:pt x="559" y="1332"/>
                    </a:lnTo>
                    <a:lnTo>
                      <a:pt x="573" y="1334"/>
                    </a:lnTo>
                    <a:lnTo>
                      <a:pt x="582" y="1332"/>
                    </a:lnTo>
                    <a:lnTo>
                      <a:pt x="595" y="1332"/>
                    </a:lnTo>
                    <a:lnTo>
                      <a:pt x="604" y="1323"/>
                    </a:lnTo>
                    <a:lnTo>
                      <a:pt x="613" y="1319"/>
                    </a:lnTo>
                    <a:lnTo>
                      <a:pt x="619" y="1316"/>
                    </a:lnTo>
                    <a:lnTo>
                      <a:pt x="622" y="1307"/>
                    </a:lnTo>
                    <a:lnTo>
                      <a:pt x="624" y="1299"/>
                    </a:lnTo>
                    <a:lnTo>
                      <a:pt x="615" y="1289"/>
                    </a:lnTo>
                    <a:lnTo>
                      <a:pt x="610" y="1281"/>
                    </a:lnTo>
                    <a:lnTo>
                      <a:pt x="615" y="1269"/>
                    </a:lnTo>
                    <a:lnTo>
                      <a:pt x="618" y="1262"/>
                    </a:lnTo>
                    <a:lnTo>
                      <a:pt x="630" y="1260"/>
                    </a:lnTo>
                    <a:lnTo>
                      <a:pt x="631" y="1251"/>
                    </a:lnTo>
                    <a:lnTo>
                      <a:pt x="633" y="1247"/>
                    </a:lnTo>
                    <a:lnTo>
                      <a:pt x="639" y="1238"/>
                    </a:lnTo>
                    <a:lnTo>
                      <a:pt x="643" y="1238"/>
                    </a:lnTo>
                    <a:lnTo>
                      <a:pt x="646" y="1242"/>
                    </a:lnTo>
                    <a:lnTo>
                      <a:pt x="652" y="1242"/>
                    </a:lnTo>
                    <a:lnTo>
                      <a:pt x="658" y="1241"/>
                    </a:lnTo>
                    <a:lnTo>
                      <a:pt x="673" y="1242"/>
                    </a:lnTo>
                    <a:lnTo>
                      <a:pt x="679" y="1245"/>
                    </a:lnTo>
                    <a:lnTo>
                      <a:pt x="687" y="1244"/>
                    </a:lnTo>
                    <a:lnTo>
                      <a:pt x="694" y="1241"/>
                    </a:lnTo>
                    <a:lnTo>
                      <a:pt x="694" y="1238"/>
                    </a:lnTo>
                    <a:lnTo>
                      <a:pt x="693" y="1232"/>
                    </a:lnTo>
                    <a:lnTo>
                      <a:pt x="696" y="1223"/>
                    </a:lnTo>
                    <a:lnTo>
                      <a:pt x="705" y="1221"/>
                    </a:lnTo>
                    <a:lnTo>
                      <a:pt x="706" y="1214"/>
                    </a:lnTo>
                    <a:lnTo>
                      <a:pt x="702" y="1199"/>
                    </a:lnTo>
                    <a:lnTo>
                      <a:pt x="699" y="1188"/>
                    </a:lnTo>
                    <a:lnTo>
                      <a:pt x="705" y="1176"/>
                    </a:lnTo>
                    <a:lnTo>
                      <a:pt x="720" y="1167"/>
                    </a:lnTo>
                    <a:lnTo>
                      <a:pt x="718" y="1157"/>
                    </a:lnTo>
                    <a:lnTo>
                      <a:pt x="742" y="1154"/>
                    </a:lnTo>
                    <a:lnTo>
                      <a:pt x="747" y="1142"/>
                    </a:lnTo>
                    <a:lnTo>
                      <a:pt x="754" y="1128"/>
                    </a:lnTo>
                    <a:lnTo>
                      <a:pt x="772" y="1118"/>
                    </a:lnTo>
                    <a:lnTo>
                      <a:pt x="778" y="1106"/>
                    </a:lnTo>
                    <a:lnTo>
                      <a:pt x="777" y="1092"/>
                    </a:lnTo>
                    <a:lnTo>
                      <a:pt x="771" y="1089"/>
                    </a:lnTo>
                    <a:lnTo>
                      <a:pt x="762" y="1080"/>
                    </a:lnTo>
                    <a:lnTo>
                      <a:pt x="750" y="1074"/>
                    </a:lnTo>
                    <a:lnTo>
                      <a:pt x="741" y="1073"/>
                    </a:lnTo>
                    <a:lnTo>
                      <a:pt x="736" y="1068"/>
                    </a:lnTo>
                    <a:lnTo>
                      <a:pt x="733" y="1064"/>
                    </a:lnTo>
                    <a:lnTo>
                      <a:pt x="730" y="1056"/>
                    </a:lnTo>
                    <a:lnTo>
                      <a:pt x="724" y="1055"/>
                    </a:lnTo>
                    <a:lnTo>
                      <a:pt x="720" y="1056"/>
                    </a:lnTo>
                    <a:lnTo>
                      <a:pt x="715" y="1061"/>
                    </a:lnTo>
                    <a:lnTo>
                      <a:pt x="712" y="1055"/>
                    </a:lnTo>
                    <a:lnTo>
                      <a:pt x="706" y="1059"/>
                    </a:lnTo>
                    <a:lnTo>
                      <a:pt x="697" y="1064"/>
                    </a:lnTo>
                    <a:lnTo>
                      <a:pt x="694" y="1059"/>
                    </a:lnTo>
                    <a:lnTo>
                      <a:pt x="685" y="1047"/>
                    </a:lnTo>
                    <a:lnTo>
                      <a:pt x="684" y="1037"/>
                    </a:lnTo>
                    <a:lnTo>
                      <a:pt x="679" y="1029"/>
                    </a:lnTo>
                    <a:lnTo>
                      <a:pt x="672" y="1031"/>
                    </a:lnTo>
                    <a:lnTo>
                      <a:pt x="667" y="1043"/>
                    </a:lnTo>
                    <a:lnTo>
                      <a:pt x="655" y="1040"/>
                    </a:lnTo>
                    <a:lnTo>
                      <a:pt x="639" y="1026"/>
                    </a:lnTo>
                    <a:lnTo>
                      <a:pt x="640" y="1019"/>
                    </a:lnTo>
                    <a:lnTo>
                      <a:pt x="633" y="1017"/>
                    </a:lnTo>
                    <a:lnTo>
                      <a:pt x="630" y="1011"/>
                    </a:lnTo>
                    <a:lnTo>
                      <a:pt x="637" y="1010"/>
                    </a:lnTo>
                    <a:lnTo>
                      <a:pt x="646" y="999"/>
                    </a:lnTo>
                    <a:lnTo>
                      <a:pt x="664" y="999"/>
                    </a:lnTo>
                    <a:lnTo>
                      <a:pt x="678" y="992"/>
                    </a:lnTo>
                    <a:lnTo>
                      <a:pt x="673" y="969"/>
                    </a:lnTo>
                    <a:lnTo>
                      <a:pt x="676" y="960"/>
                    </a:lnTo>
                    <a:lnTo>
                      <a:pt x="684" y="953"/>
                    </a:lnTo>
                    <a:lnTo>
                      <a:pt x="687" y="936"/>
                    </a:lnTo>
                    <a:lnTo>
                      <a:pt x="691" y="936"/>
                    </a:lnTo>
                    <a:lnTo>
                      <a:pt x="702" y="927"/>
                    </a:lnTo>
                    <a:lnTo>
                      <a:pt x="714" y="926"/>
                    </a:lnTo>
                    <a:lnTo>
                      <a:pt x="717" y="920"/>
                    </a:lnTo>
                    <a:lnTo>
                      <a:pt x="711" y="905"/>
                    </a:lnTo>
                    <a:lnTo>
                      <a:pt x="705" y="896"/>
                    </a:lnTo>
                    <a:lnTo>
                      <a:pt x="708" y="888"/>
                    </a:lnTo>
                    <a:lnTo>
                      <a:pt x="694" y="890"/>
                    </a:lnTo>
                    <a:lnTo>
                      <a:pt x="687" y="884"/>
                    </a:lnTo>
                    <a:lnTo>
                      <a:pt x="670" y="891"/>
                    </a:lnTo>
                    <a:lnTo>
                      <a:pt x="666" y="885"/>
                    </a:lnTo>
                    <a:lnTo>
                      <a:pt x="654" y="882"/>
                    </a:lnTo>
                    <a:lnTo>
                      <a:pt x="649" y="888"/>
                    </a:lnTo>
                    <a:lnTo>
                      <a:pt x="631" y="887"/>
                    </a:lnTo>
                    <a:lnTo>
                      <a:pt x="624" y="894"/>
                    </a:lnTo>
                    <a:lnTo>
                      <a:pt x="610" y="899"/>
                    </a:lnTo>
                    <a:lnTo>
                      <a:pt x="583" y="899"/>
                    </a:lnTo>
                    <a:lnTo>
                      <a:pt x="583" y="897"/>
                    </a:lnTo>
                    <a:lnTo>
                      <a:pt x="595" y="879"/>
                    </a:lnTo>
                    <a:lnTo>
                      <a:pt x="595" y="867"/>
                    </a:lnTo>
                    <a:lnTo>
                      <a:pt x="600" y="854"/>
                    </a:lnTo>
                    <a:lnTo>
                      <a:pt x="585" y="846"/>
                    </a:lnTo>
                    <a:lnTo>
                      <a:pt x="576" y="840"/>
                    </a:lnTo>
                    <a:lnTo>
                      <a:pt x="570" y="834"/>
                    </a:lnTo>
                    <a:lnTo>
                      <a:pt x="561" y="839"/>
                    </a:lnTo>
                    <a:lnTo>
                      <a:pt x="549" y="836"/>
                    </a:lnTo>
                    <a:lnTo>
                      <a:pt x="544" y="828"/>
                    </a:lnTo>
                    <a:lnTo>
                      <a:pt x="547" y="819"/>
                    </a:lnTo>
                    <a:lnTo>
                      <a:pt x="543" y="812"/>
                    </a:lnTo>
                    <a:lnTo>
                      <a:pt x="543" y="803"/>
                    </a:lnTo>
                    <a:lnTo>
                      <a:pt x="540" y="800"/>
                    </a:lnTo>
                    <a:lnTo>
                      <a:pt x="538" y="798"/>
                    </a:lnTo>
                    <a:lnTo>
                      <a:pt x="532" y="813"/>
                    </a:lnTo>
                    <a:lnTo>
                      <a:pt x="523" y="818"/>
                    </a:lnTo>
                    <a:lnTo>
                      <a:pt x="517" y="813"/>
                    </a:lnTo>
                    <a:lnTo>
                      <a:pt x="520" y="795"/>
                    </a:lnTo>
                    <a:lnTo>
                      <a:pt x="522" y="789"/>
                    </a:lnTo>
                    <a:lnTo>
                      <a:pt x="534" y="774"/>
                    </a:lnTo>
                    <a:lnTo>
                      <a:pt x="544" y="761"/>
                    </a:lnTo>
                    <a:lnTo>
                      <a:pt x="541" y="756"/>
                    </a:lnTo>
                    <a:lnTo>
                      <a:pt x="535" y="753"/>
                    </a:lnTo>
                    <a:lnTo>
                      <a:pt x="543" y="738"/>
                    </a:lnTo>
                    <a:lnTo>
                      <a:pt x="540" y="735"/>
                    </a:lnTo>
                    <a:lnTo>
                      <a:pt x="526" y="740"/>
                    </a:lnTo>
                    <a:lnTo>
                      <a:pt x="523" y="723"/>
                    </a:lnTo>
                    <a:lnTo>
                      <a:pt x="523" y="705"/>
                    </a:lnTo>
                    <a:lnTo>
                      <a:pt x="517" y="699"/>
                    </a:lnTo>
                    <a:lnTo>
                      <a:pt x="514" y="693"/>
                    </a:lnTo>
                    <a:lnTo>
                      <a:pt x="517" y="692"/>
                    </a:lnTo>
                    <a:lnTo>
                      <a:pt x="519" y="684"/>
                    </a:lnTo>
                    <a:lnTo>
                      <a:pt x="517" y="678"/>
                    </a:lnTo>
                    <a:lnTo>
                      <a:pt x="514" y="674"/>
                    </a:lnTo>
                    <a:lnTo>
                      <a:pt x="517" y="671"/>
                    </a:lnTo>
                    <a:lnTo>
                      <a:pt x="528" y="666"/>
                    </a:lnTo>
                    <a:lnTo>
                      <a:pt x="531" y="665"/>
                    </a:lnTo>
                    <a:lnTo>
                      <a:pt x="531" y="656"/>
                    </a:lnTo>
                    <a:lnTo>
                      <a:pt x="531" y="648"/>
                    </a:lnTo>
                    <a:lnTo>
                      <a:pt x="528" y="644"/>
                    </a:lnTo>
                    <a:lnTo>
                      <a:pt x="523" y="641"/>
                    </a:lnTo>
                    <a:lnTo>
                      <a:pt x="525" y="638"/>
                    </a:lnTo>
                    <a:lnTo>
                      <a:pt x="528" y="632"/>
                    </a:lnTo>
                    <a:lnTo>
                      <a:pt x="532" y="629"/>
                    </a:lnTo>
                    <a:lnTo>
                      <a:pt x="534" y="620"/>
                    </a:lnTo>
                    <a:lnTo>
                      <a:pt x="534" y="612"/>
                    </a:lnTo>
                    <a:lnTo>
                      <a:pt x="529" y="609"/>
                    </a:lnTo>
                    <a:lnTo>
                      <a:pt x="529" y="605"/>
                    </a:lnTo>
                    <a:lnTo>
                      <a:pt x="529" y="600"/>
                    </a:lnTo>
                    <a:lnTo>
                      <a:pt x="526" y="591"/>
                    </a:lnTo>
                    <a:lnTo>
                      <a:pt x="520" y="593"/>
                    </a:lnTo>
                    <a:lnTo>
                      <a:pt x="519" y="587"/>
                    </a:lnTo>
                    <a:lnTo>
                      <a:pt x="513" y="572"/>
                    </a:lnTo>
                    <a:lnTo>
                      <a:pt x="501" y="564"/>
                    </a:lnTo>
                    <a:lnTo>
                      <a:pt x="477" y="543"/>
                    </a:lnTo>
                    <a:lnTo>
                      <a:pt x="478" y="533"/>
                    </a:lnTo>
                    <a:lnTo>
                      <a:pt x="481" y="521"/>
                    </a:lnTo>
                    <a:lnTo>
                      <a:pt x="481" y="500"/>
                    </a:lnTo>
                    <a:lnTo>
                      <a:pt x="486" y="483"/>
                    </a:lnTo>
                    <a:lnTo>
                      <a:pt x="489" y="474"/>
                    </a:lnTo>
                    <a:lnTo>
                      <a:pt x="483" y="464"/>
                    </a:lnTo>
                    <a:lnTo>
                      <a:pt x="480" y="458"/>
                    </a:lnTo>
                    <a:lnTo>
                      <a:pt x="468" y="449"/>
                    </a:lnTo>
                    <a:lnTo>
                      <a:pt x="453" y="432"/>
                    </a:lnTo>
                    <a:lnTo>
                      <a:pt x="445" y="426"/>
                    </a:lnTo>
                    <a:lnTo>
                      <a:pt x="433" y="407"/>
                    </a:lnTo>
                    <a:lnTo>
                      <a:pt x="415" y="384"/>
                    </a:lnTo>
                    <a:lnTo>
                      <a:pt x="412" y="362"/>
                    </a:lnTo>
                    <a:lnTo>
                      <a:pt x="412" y="353"/>
                    </a:lnTo>
                    <a:lnTo>
                      <a:pt x="424" y="318"/>
                    </a:lnTo>
                    <a:lnTo>
                      <a:pt x="436" y="296"/>
                    </a:lnTo>
                    <a:lnTo>
                      <a:pt x="445" y="294"/>
                    </a:lnTo>
                    <a:lnTo>
                      <a:pt x="453" y="290"/>
                    </a:lnTo>
                    <a:lnTo>
                      <a:pt x="450" y="281"/>
                    </a:lnTo>
                    <a:lnTo>
                      <a:pt x="445" y="275"/>
                    </a:lnTo>
                    <a:lnTo>
                      <a:pt x="448" y="263"/>
                    </a:lnTo>
                    <a:lnTo>
                      <a:pt x="448" y="248"/>
                    </a:lnTo>
                    <a:lnTo>
                      <a:pt x="456" y="237"/>
                    </a:lnTo>
                    <a:lnTo>
                      <a:pt x="456" y="230"/>
                    </a:lnTo>
                    <a:lnTo>
                      <a:pt x="456" y="207"/>
                    </a:lnTo>
                    <a:lnTo>
                      <a:pt x="460" y="189"/>
                    </a:lnTo>
                    <a:lnTo>
                      <a:pt x="465" y="179"/>
                    </a:lnTo>
                    <a:lnTo>
                      <a:pt x="478" y="170"/>
                    </a:lnTo>
                    <a:lnTo>
                      <a:pt x="481" y="161"/>
                    </a:lnTo>
                    <a:lnTo>
                      <a:pt x="484" y="158"/>
                    </a:lnTo>
                    <a:lnTo>
                      <a:pt x="499" y="161"/>
                    </a:lnTo>
                    <a:lnTo>
                      <a:pt x="502" y="156"/>
                    </a:lnTo>
                    <a:lnTo>
                      <a:pt x="502" y="141"/>
                    </a:lnTo>
                    <a:lnTo>
                      <a:pt x="510" y="125"/>
                    </a:lnTo>
                    <a:lnTo>
                      <a:pt x="510" y="102"/>
                    </a:lnTo>
                    <a:lnTo>
                      <a:pt x="523" y="92"/>
                    </a:lnTo>
                    <a:lnTo>
                      <a:pt x="528" y="78"/>
                    </a:lnTo>
                    <a:lnTo>
                      <a:pt x="532" y="77"/>
                    </a:lnTo>
                    <a:lnTo>
                      <a:pt x="540" y="84"/>
                    </a:lnTo>
                    <a:lnTo>
                      <a:pt x="549" y="93"/>
                    </a:lnTo>
                    <a:lnTo>
                      <a:pt x="561" y="117"/>
                    </a:lnTo>
                    <a:lnTo>
                      <a:pt x="567" y="125"/>
                    </a:lnTo>
                    <a:lnTo>
                      <a:pt x="576" y="111"/>
                    </a:lnTo>
                    <a:lnTo>
                      <a:pt x="589" y="108"/>
                    </a:lnTo>
                    <a:lnTo>
                      <a:pt x="603" y="102"/>
                    </a:lnTo>
                    <a:lnTo>
                      <a:pt x="609" y="98"/>
                    </a:lnTo>
                    <a:lnTo>
                      <a:pt x="610" y="81"/>
                    </a:lnTo>
                    <a:lnTo>
                      <a:pt x="609" y="68"/>
                    </a:lnTo>
                    <a:lnTo>
                      <a:pt x="613" y="56"/>
                    </a:lnTo>
                    <a:lnTo>
                      <a:pt x="612" y="42"/>
                    </a:lnTo>
                    <a:lnTo>
                      <a:pt x="621" y="32"/>
                    </a:lnTo>
                    <a:lnTo>
                      <a:pt x="630" y="30"/>
                    </a:lnTo>
                    <a:lnTo>
                      <a:pt x="631" y="41"/>
                    </a:lnTo>
                    <a:lnTo>
                      <a:pt x="636" y="50"/>
                    </a:lnTo>
                    <a:lnTo>
                      <a:pt x="642" y="53"/>
                    </a:lnTo>
                    <a:lnTo>
                      <a:pt x="652" y="51"/>
                    </a:lnTo>
                    <a:lnTo>
                      <a:pt x="657" y="42"/>
                    </a:lnTo>
                    <a:lnTo>
                      <a:pt x="669" y="36"/>
                    </a:lnTo>
                    <a:lnTo>
                      <a:pt x="679" y="23"/>
                    </a:lnTo>
                    <a:lnTo>
                      <a:pt x="691" y="15"/>
                    </a:lnTo>
                    <a:lnTo>
                      <a:pt x="700" y="14"/>
                    </a:lnTo>
                    <a:lnTo>
                      <a:pt x="711" y="0"/>
                    </a:lnTo>
                    <a:lnTo>
                      <a:pt x="717" y="0"/>
                    </a:lnTo>
                    <a:lnTo>
                      <a:pt x="721" y="5"/>
                    </a:lnTo>
                    <a:lnTo>
                      <a:pt x="723" y="15"/>
                    </a:lnTo>
                    <a:lnTo>
                      <a:pt x="729" y="15"/>
                    </a:lnTo>
                    <a:lnTo>
                      <a:pt x="733" y="12"/>
                    </a:lnTo>
                    <a:lnTo>
                      <a:pt x="751" y="20"/>
                    </a:lnTo>
                    <a:lnTo>
                      <a:pt x="751" y="26"/>
                    </a:lnTo>
                    <a:lnTo>
                      <a:pt x="753" y="50"/>
                    </a:lnTo>
                    <a:lnTo>
                      <a:pt x="753" y="71"/>
                    </a:lnTo>
                    <a:lnTo>
                      <a:pt x="766" y="102"/>
                    </a:lnTo>
                    <a:lnTo>
                      <a:pt x="769" y="116"/>
                    </a:lnTo>
                    <a:lnTo>
                      <a:pt x="769" y="129"/>
                    </a:lnTo>
                    <a:lnTo>
                      <a:pt x="780" y="150"/>
                    </a:lnTo>
                    <a:lnTo>
                      <a:pt x="781" y="159"/>
                    </a:lnTo>
                    <a:lnTo>
                      <a:pt x="793" y="170"/>
                    </a:lnTo>
                    <a:lnTo>
                      <a:pt x="796" y="176"/>
                    </a:lnTo>
                    <a:lnTo>
                      <a:pt x="802" y="180"/>
                    </a:lnTo>
                    <a:lnTo>
                      <a:pt x="807" y="179"/>
                    </a:lnTo>
                    <a:lnTo>
                      <a:pt x="814" y="168"/>
                    </a:lnTo>
                    <a:lnTo>
                      <a:pt x="820" y="161"/>
                    </a:lnTo>
                    <a:lnTo>
                      <a:pt x="832" y="158"/>
                    </a:lnTo>
                    <a:lnTo>
                      <a:pt x="855" y="161"/>
                    </a:lnTo>
                    <a:lnTo>
                      <a:pt x="861" y="162"/>
                    </a:lnTo>
                    <a:lnTo>
                      <a:pt x="865" y="155"/>
                    </a:lnTo>
                    <a:lnTo>
                      <a:pt x="871" y="152"/>
                    </a:lnTo>
                    <a:lnTo>
                      <a:pt x="876" y="153"/>
                    </a:lnTo>
                    <a:lnTo>
                      <a:pt x="879" y="159"/>
                    </a:lnTo>
                    <a:lnTo>
                      <a:pt x="883" y="162"/>
                    </a:lnTo>
                    <a:lnTo>
                      <a:pt x="892" y="153"/>
                    </a:lnTo>
                    <a:lnTo>
                      <a:pt x="888" y="137"/>
                    </a:lnTo>
                    <a:lnTo>
                      <a:pt x="891" y="125"/>
                    </a:lnTo>
                    <a:lnTo>
                      <a:pt x="897" y="102"/>
                    </a:lnTo>
                    <a:lnTo>
                      <a:pt x="904" y="102"/>
                    </a:lnTo>
                    <a:lnTo>
                      <a:pt x="921" y="99"/>
                    </a:lnTo>
                    <a:lnTo>
                      <a:pt x="937" y="102"/>
                    </a:lnTo>
                    <a:lnTo>
                      <a:pt x="952" y="110"/>
                    </a:lnTo>
                    <a:lnTo>
                      <a:pt x="957" y="131"/>
                    </a:lnTo>
                    <a:lnTo>
                      <a:pt x="958" y="138"/>
                    </a:lnTo>
                    <a:lnTo>
                      <a:pt x="951" y="152"/>
                    </a:lnTo>
                    <a:lnTo>
                      <a:pt x="955" y="158"/>
                    </a:lnTo>
                    <a:lnTo>
                      <a:pt x="963" y="159"/>
                    </a:lnTo>
                    <a:lnTo>
                      <a:pt x="978" y="153"/>
                    </a:lnTo>
                    <a:lnTo>
                      <a:pt x="984" y="153"/>
                    </a:lnTo>
                    <a:lnTo>
                      <a:pt x="1002" y="161"/>
                    </a:lnTo>
                    <a:lnTo>
                      <a:pt x="1015" y="167"/>
                    </a:lnTo>
                    <a:lnTo>
                      <a:pt x="1021" y="176"/>
                    </a:lnTo>
                    <a:lnTo>
                      <a:pt x="1023" y="188"/>
                    </a:lnTo>
                    <a:lnTo>
                      <a:pt x="1027" y="192"/>
                    </a:lnTo>
                    <a:lnTo>
                      <a:pt x="1039" y="198"/>
                    </a:lnTo>
                    <a:lnTo>
                      <a:pt x="1048" y="207"/>
                    </a:lnTo>
                    <a:lnTo>
                      <a:pt x="1054" y="216"/>
                    </a:lnTo>
                    <a:lnTo>
                      <a:pt x="1054" y="233"/>
                    </a:lnTo>
                    <a:lnTo>
                      <a:pt x="1059" y="234"/>
                    </a:lnTo>
                    <a:lnTo>
                      <a:pt x="1062" y="231"/>
                    </a:lnTo>
                    <a:lnTo>
                      <a:pt x="1069" y="222"/>
                    </a:lnTo>
                    <a:lnTo>
                      <a:pt x="1077" y="219"/>
                    </a:lnTo>
                    <a:lnTo>
                      <a:pt x="1086" y="216"/>
                    </a:lnTo>
                    <a:lnTo>
                      <a:pt x="1087" y="227"/>
                    </a:lnTo>
                    <a:lnTo>
                      <a:pt x="1086" y="237"/>
                    </a:lnTo>
                    <a:lnTo>
                      <a:pt x="1086" y="242"/>
                    </a:lnTo>
                    <a:lnTo>
                      <a:pt x="1089" y="248"/>
                    </a:lnTo>
                    <a:lnTo>
                      <a:pt x="1113" y="254"/>
                    </a:lnTo>
                    <a:lnTo>
                      <a:pt x="1116" y="258"/>
                    </a:lnTo>
                    <a:lnTo>
                      <a:pt x="1114" y="267"/>
                    </a:lnTo>
                    <a:lnTo>
                      <a:pt x="1104" y="290"/>
                    </a:lnTo>
                    <a:lnTo>
                      <a:pt x="1104" y="296"/>
                    </a:lnTo>
                    <a:lnTo>
                      <a:pt x="1120" y="302"/>
                    </a:lnTo>
                    <a:lnTo>
                      <a:pt x="1125" y="306"/>
                    </a:lnTo>
                    <a:lnTo>
                      <a:pt x="1126" y="312"/>
                    </a:lnTo>
                    <a:lnTo>
                      <a:pt x="1119" y="320"/>
                    </a:lnTo>
                    <a:lnTo>
                      <a:pt x="1122" y="327"/>
                    </a:lnTo>
                    <a:lnTo>
                      <a:pt x="1116" y="336"/>
                    </a:lnTo>
                    <a:lnTo>
                      <a:pt x="1132" y="356"/>
                    </a:lnTo>
                    <a:lnTo>
                      <a:pt x="1132" y="369"/>
                    </a:lnTo>
                    <a:lnTo>
                      <a:pt x="1132" y="380"/>
                    </a:lnTo>
                    <a:lnTo>
                      <a:pt x="1128" y="393"/>
                    </a:lnTo>
                    <a:lnTo>
                      <a:pt x="1128" y="410"/>
                    </a:lnTo>
                    <a:lnTo>
                      <a:pt x="1137" y="417"/>
                    </a:lnTo>
                    <a:lnTo>
                      <a:pt x="1137" y="429"/>
                    </a:lnTo>
                    <a:lnTo>
                      <a:pt x="1144" y="434"/>
                    </a:lnTo>
                    <a:lnTo>
                      <a:pt x="1144" y="447"/>
                    </a:lnTo>
                    <a:lnTo>
                      <a:pt x="1144" y="459"/>
                    </a:lnTo>
                    <a:lnTo>
                      <a:pt x="1152" y="465"/>
                    </a:lnTo>
                    <a:lnTo>
                      <a:pt x="1167" y="467"/>
                    </a:lnTo>
                    <a:lnTo>
                      <a:pt x="1176" y="476"/>
                    </a:lnTo>
                    <a:lnTo>
                      <a:pt x="1186" y="495"/>
                    </a:lnTo>
                    <a:lnTo>
                      <a:pt x="1194" y="524"/>
                    </a:lnTo>
                    <a:lnTo>
                      <a:pt x="1204" y="534"/>
                    </a:lnTo>
                    <a:lnTo>
                      <a:pt x="1210" y="575"/>
                    </a:lnTo>
                    <a:lnTo>
                      <a:pt x="1210" y="588"/>
                    </a:lnTo>
                    <a:lnTo>
                      <a:pt x="1224" y="602"/>
                    </a:lnTo>
                    <a:lnTo>
                      <a:pt x="1231" y="606"/>
                    </a:lnTo>
                    <a:lnTo>
                      <a:pt x="1243" y="615"/>
                    </a:lnTo>
                    <a:lnTo>
                      <a:pt x="1243" y="636"/>
                    </a:lnTo>
                    <a:lnTo>
                      <a:pt x="1267" y="653"/>
                    </a:lnTo>
                    <a:lnTo>
                      <a:pt x="1266" y="669"/>
                    </a:lnTo>
                    <a:lnTo>
                      <a:pt x="1252" y="666"/>
                    </a:lnTo>
                    <a:lnTo>
                      <a:pt x="1252" y="678"/>
                    </a:lnTo>
                    <a:lnTo>
                      <a:pt x="1257" y="699"/>
                    </a:lnTo>
                    <a:lnTo>
                      <a:pt x="1260" y="716"/>
                    </a:lnTo>
                    <a:lnTo>
                      <a:pt x="1260" y="734"/>
                    </a:lnTo>
                    <a:lnTo>
                      <a:pt x="1249" y="741"/>
                    </a:lnTo>
                    <a:lnTo>
                      <a:pt x="1251" y="746"/>
                    </a:lnTo>
                    <a:lnTo>
                      <a:pt x="1257" y="747"/>
                    </a:lnTo>
                    <a:lnTo>
                      <a:pt x="1260" y="747"/>
                    </a:lnTo>
                    <a:lnTo>
                      <a:pt x="1263" y="747"/>
                    </a:lnTo>
                    <a:lnTo>
                      <a:pt x="1282" y="741"/>
                    </a:lnTo>
                    <a:lnTo>
                      <a:pt x="1296" y="734"/>
                    </a:lnTo>
                    <a:lnTo>
                      <a:pt x="1303" y="735"/>
                    </a:lnTo>
                    <a:lnTo>
                      <a:pt x="1308" y="738"/>
                    </a:lnTo>
                    <a:lnTo>
                      <a:pt x="1314" y="734"/>
                    </a:lnTo>
                    <a:lnTo>
                      <a:pt x="1318" y="735"/>
                    </a:lnTo>
                    <a:lnTo>
                      <a:pt x="1335" y="758"/>
                    </a:lnTo>
                    <a:lnTo>
                      <a:pt x="1344" y="756"/>
                    </a:lnTo>
                    <a:lnTo>
                      <a:pt x="1351" y="755"/>
                    </a:lnTo>
                    <a:lnTo>
                      <a:pt x="1356" y="761"/>
                    </a:lnTo>
                    <a:lnTo>
                      <a:pt x="1360" y="771"/>
                    </a:lnTo>
                    <a:lnTo>
                      <a:pt x="1368" y="776"/>
                    </a:lnTo>
                    <a:lnTo>
                      <a:pt x="1384" y="785"/>
                    </a:lnTo>
                    <a:lnTo>
                      <a:pt x="1387" y="789"/>
                    </a:lnTo>
                    <a:lnTo>
                      <a:pt x="1401" y="804"/>
                    </a:lnTo>
                    <a:lnTo>
                      <a:pt x="1417" y="812"/>
                    </a:lnTo>
                    <a:lnTo>
                      <a:pt x="1423" y="813"/>
                    </a:lnTo>
                    <a:lnTo>
                      <a:pt x="1431" y="812"/>
                    </a:lnTo>
                    <a:lnTo>
                      <a:pt x="1435" y="804"/>
                    </a:lnTo>
                    <a:lnTo>
                      <a:pt x="1440" y="791"/>
                    </a:lnTo>
                    <a:lnTo>
                      <a:pt x="1438" y="777"/>
                    </a:lnTo>
                    <a:lnTo>
                      <a:pt x="1441" y="762"/>
                    </a:lnTo>
                    <a:lnTo>
                      <a:pt x="1449" y="759"/>
                    </a:lnTo>
                    <a:lnTo>
                      <a:pt x="1456" y="756"/>
                    </a:lnTo>
                    <a:lnTo>
                      <a:pt x="1465" y="749"/>
                    </a:lnTo>
                    <a:lnTo>
                      <a:pt x="1471" y="737"/>
                    </a:lnTo>
                    <a:lnTo>
                      <a:pt x="1477" y="732"/>
                    </a:lnTo>
                    <a:lnTo>
                      <a:pt x="1483" y="729"/>
                    </a:lnTo>
                    <a:lnTo>
                      <a:pt x="1512" y="728"/>
                    </a:lnTo>
                    <a:lnTo>
                      <a:pt x="1519" y="729"/>
                    </a:lnTo>
                    <a:lnTo>
                      <a:pt x="1528" y="750"/>
                    </a:lnTo>
                    <a:lnTo>
                      <a:pt x="1527" y="759"/>
                    </a:lnTo>
                    <a:lnTo>
                      <a:pt x="1522" y="773"/>
                    </a:lnTo>
                    <a:lnTo>
                      <a:pt x="1522" y="777"/>
                    </a:lnTo>
                    <a:lnTo>
                      <a:pt x="1528" y="786"/>
                    </a:lnTo>
                    <a:lnTo>
                      <a:pt x="1540" y="788"/>
                    </a:lnTo>
                    <a:lnTo>
                      <a:pt x="1551" y="788"/>
                    </a:lnTo>
                    <a:lnTo>
                      <a:pt x="1554" y="789"/>
                    </a:lnTo>
                    <a:lnTo>
                      <a:pt x="1557" y="794"/>
                    </a:lnTo>
                    <a:lnTo>
                      <a:pt x="1561" y="792"/>
                    </a:lnTo>
                    <a:lnTo>
                      <a:pt x="1566" y="788"/>
                    </a:lnTo>
                    <a:lnTo>
                      <a:pt x="1567" y="785"/>
                    </a:lnTo>
                    <a:lnTo>
                      <a:pt x="1573" y="782"/>
                    </a:lnTo>
                    <a:lnTo>
                      <a:pt x="1573" y="773"/>
                    </a:lnTo>
                    <a:lnTo>
                      <a:pt x="1572" y="761"/>
                    </a:lnTo>
                    <a:lnTo>
                      <a:pt x="1567" y="744"/>
                    </a:lnTo>
                    <a:lnTo>
                      <a:pt x="1569" y="732"/>
                    </a:lnTo>
                    <a:lnTo>
                      <a:pt x="1573" y="731"/>
                    </a:lnTo>
                    <a:lnTo>
                      <a:pt x="1584" y="735"/>
                    </a:lnTo>
                    <a:lnTo>
                      <a:pt x="1593" y="737"/>
                    </a:lnTo>
                    <a:lnTo>
                      <a:pt x="1599" y="734"/>
                    </a:lnTo>
                    <a:lnTo>
                      <a:pt x="1605" y="735"/>
                    </a:lnTo>
                    <a:lnTo>
                      <a:pt x="1611" y="744"/>
                    </a:lnTo>
                    <a:lnTo>
                      <a:pt x="1632" y="749"/>
                    </a:lnTo>
                    <a:lnTo>
                      <a:pt x="1645" y="767"/>
                    </a:lnTo>
                    <a:lnTo>
                      <a:pt x="1653" y="774"/>
                    </a:lnTo>
                    <a:lnTo>
                      <a:pt x="1662" y="776"/>
                    </a:lnTo>
                    <a:lnTo>
                      <a:pt x="1675" y="782"/>
                    </a:lnTo>
                    <a:lnTo>
                      <a:pt x="1687" y="792"/>
                    </a:lnTo>
                    <a:lnTo>
                      <a:pt x="1690" y="797"/>
                    </a:lnTo>
                    <a:lnTo>
                      <a:pt x="1693" y="801"/>
                    </a:lnTo>
                    <a:lnTo>
                      <a:pt x="1698" y="806"/>
                    </a:lnTo>
                    <a:lnTo>
                      <a:pt x="1701" y="806"/>
                    </a:lnTo>
                    <a:lnTo>
                      <a:pt x="1716" y="806"/>
                    </a:lnTo>
                    <a:lnTo>
                      <a:pt x="1722" y="810"/>
                    </a:lnTo>
                    <a:lnTo>
                      <a:pt x="1740" y="837"/>
                    </a:lnTo>
                    <a:lnTo>
                      <a:pt x="1747" y="851"/>
                    </a:lnTo>
                    <a:lnTo>
                      <a:pt x="1744" y="873"/>
                    </a:lnTo>
                    <a:lnTo>
                      <a:pt x="1744" y="876"/>
                    </a:lnTo>
                    <a:lnTo>
                      <a:pt x="1749" y="878"/>
                    </a:lnTo>
                    <a:lnTo>
                      <a:pt x="1755" y="878"/>
                    </a:lnTo>
                    <a:lnTo>
                      <a:pt x="1773" y="872"/>
                    </a:lnTo>
                    <a:lnTo>
                      <a:pt x="1777" y="875"/>
                    </a:lnTo>
                    <a:lnTo>
                      <a:pt x="1777" y="881"/>
                    </a:lnTo>
                    <a:lnTo>
                      <a:pt x="1773" y="890"/>
                    </a:lnTo>
                    <a:lnTo>
                      <a:pt x="1776" y="896"/>
                    </a:lnTo>
                    <a:lnTo>
                      <a:pt x="1782" y="902"/>
                    </a:lnTo>
                    <a:lnTo>
                      <a:pt x="1783" y="911"/>
                    </a:lnTo>
                    <a:lnTo>
                      <a:pt x="1785" y="927"/>
                    </a:lnTo>
                    <a:lnTo>
                      <a:pt x="1782" y="935"/>
                    </a:lnTo>
                    <a:lnTo>
                      <a:pt x="1783" y="941"/>
                    </a:lnTo>
                    <a:lnTo>
                      <a:pt x="1783" y="947"/>
                    </a:lnTo>
                    <a:lnTo>
                      <a:pt x="1783" y="957"/>
                    </a:lnTo>
                    <a:lnTo>
                      <a:pt x="1776" y="986"/>
                    </a:lnTo>
                    <a:lnTo>
                      <a:pt x="1776" y="998"/>
                    </a:lnTo>
                    <a:lnTo>
                      <a:pt x="1783" y="1010"/>
                    </a:lnTo>
                    <a:lnTo>
                      <a:pt x="1785" y="1019"/>
                    </a:lnTo>
                    <a:lnTo>
                      <a:pt x="1792" y="1022"/>
                    </a:lnTo>
                    <a:lnTo>
                      <a:pt x="1800" y="1019"/>
                    </a:lnTo>
                    <a:lnTo>
                      <a:pt x="1804" y="1017"/>
                    </a:lnTo>
                    <a:lnTo>
                      <a:pt x="1809" y="1020"/>
                    </a:lnTo>
                    <a:lnTo>
                      <a:pt x="1816" y="1029"/>
                    </a:lnTo>
                    <a:lnTo>
                      <a:pt x="1819" y="1034"/>
                    </a:lnTo>
                    <a:lnTo>
                      <a:pt x="1830" y="1038"/>
                    </a:lnTo>
                    <a:lnTo>
                      <a:pt x="1833" y="1046"/>
                    </a:lnTo>
                    <a:lnTo>
                      <a:pt x="1833" y="1052"/>
                    </a:lnTo>
                    <a:lnTo>
                      <a:pt x="1840" y="1062"/>
                    </a:lnTo>
                    <a:lnTo>
                      <a:pt x="1852" y="1074"/>
                    </a:lnTo>
                    <a:lnTo>
                      <a:pt x="1852" y="1082"/>
                    </a:lnTo>
                    <a:lnTo>
                      <a:pt x="1857" y="1089"/>
                    </a:lnTo>
                    <a:lnTo>
                      <a:pt x="1870" y="1097"/>
                    </a:lnTo>
                    <a:lnTo>
                      <a:pt x="1878" y="1104"/>
                    </a:lnTo>
                    <a:lnTo>
                      <a:pt x="1881" y="1107"/>
                    </a:lnTo>
                    <a:lnTo>
                      <a:pt x="1884" y="1115"/>
                    </a:lnTo>
                    <a:lnTo>
                      <a:pt x="1884" y="1125"/>
                    </a:lnTo>
                    <a:lnTo>
                      <a:pt x="1881" y="1131"/>
                    </a:lnTo>
                    <a:lnTo>
                      <a:pt x="1866" y="1131"/>
                    </a:lnTo>
                    <a:lnTo>
                      <a:pt x="1863" y="1137"/>
                    </a:lnTo>
                    <a:lnTo>
                      <a:pt x="1866" y="1146"/>
                    </a:lnTo>
                    <a:lnTo>
                      <a:pt x="1864" y="1157"/>
                    </a:lnTo>
                    <a:lnTo>
                      <a:pt x="1857" y="1164"/>
                    </a:lnTo>
                    <a:lnTo>
                      <a:pt x="1836" y="1176"/>
                    </a:lnTo>
                    <a:lnTo>
                      <a:pt x="1824" y="1184"/>
                    </a:lnTo>
                    <a:lnTo>
                      <a:pt x="1812" y="1196"/>
                    </a:lnTo>
                    <a:lnTo>
                      <a:pt x="1797" y="1212"/>
                    </a:lnTo>
                    <a:lnTo>
                      <a:pt x="1782" y="1229"/>
                    </a:lnTo>
                    <a:lnTo>
                      <a:pt x="1774" y="1241"/>
                    </a:lnTo>
                    <a:lnTo>
                      <a:pt x="1771" y="1244"/>
                    </a:lnTo>
                    <a:lnTo>
                      <a:pt x="1752" y="1259"/>
                    </a:lnTo>
                    <a:lnTo>
                      <a:pt x="1731" y="1268"/>
                    </a:lnTo>
                    <a:lnTo>
                      <a:pt x="1729" y="1278"/>
                    </a:lnTo>
                    <a:lnTo>
                      <a:pt x="1732" y="1283"/>
                    </a:lnTo>
                    <a:lnTo>
                      <a:pt x="1735" y="1286"/>
                    </a:lnTo>
                    <a:lnTo>
                      <a:pt x="1743" y="1289"/>
                    </a:lnTo>
                    <a:lnTo>
                      <a:pt x="1744" y="1292"/>
                    </a:lnTo>
                    <a:lnTo>
                      <a:pt x="1741" y="1298"/>
                    </a:lnTo>
                    <a:lnTo>
                      <a:pt x="1734" y="1305"/>
                    </a:lnTo>
                    <a:lnTo>
                      <a:pt x="1735" y="1314"/>
                    </a:lnTo>
                    <a:lnTo>
                      <a:pt x="1738" y="1337"/>
                    </a:lnTo>
                    <a:lnTo>
                      <a:pt x="1735" y="1358"/>
                    </a:lnTo>
                    <a:lnTo>
                      <a:pt x="1723" y="1380"/>
                    </a:lnTo>
                    <a:lnTo>
                      <a:pt x="1716" y="1401"/>
                    </a:lnTo>
                    <a:lnTo>
                      <a:pt x="1716" y="1415"/>
                    </a:lnTo>
                    <a:lnTo>
                      <a:pt x="1705" y="1436"/>
                    </a:lnTo>
                    <a:lnTo>
                      <a:pt x="1707" y="1451"/>
                    </a:lnTo>
                    <a:lnTo>
                      <a:pt x="1716" y="1470"/>
                    </a:lnTo>
                    <a:lnTo>
                      <a:pt x="1710" y="1478"/>
                    </a:lnTo>
                    <a:lnTo>
                      <a:pt x="1702" y="1479"/>
                    </a:lnTo>
                    <a:lnTo>
                      <a:pt x="1680" y="1466"/>
                    </a:lnTo>
                    <a:lnTo>
                      <a:pt x="1663" y="1458"/>
                    </a:lnTo>
                    <a:lnTo>
                      <a:pt x="1644" y="1452"/>
                    </a:lnTo>
                    <a:lnTo>
                      <a:pt x="1617" y="1457"/>
                    </a:lnTo>
                    <a:lnTo>
                      <a:pt x="1600" y="1470"/>
                    </a:lnTo>
                    <a:lnTo>
                      <a:pt x="1594" y="1494"/>
                    </a:lnTo>
                    <a:lnTo>
                      <a:pt x="1585" y="1509"/>
                    </a:lnTo>
                    <a:lnTo>
                      <a:pt x="1570" y="1521"/>
                    </a:lnTo>
                    <a:lnTo>
                      <a:pt x="1560" y="1557"/>
                    </a:lnTo>
                    <a:lnTo>
                      <a:pt x="1558" y="1568"/>
                    </a:lnTo>
                    <a:lnTo>
                      <a:pt x="1566" y="1574"/>
                    </a:lnTo>
                    <a:lnTo>
                      <a:pt x="1575" y="1575"/>
                    </a:lnTo>
                    <a:lnTo>
                      <a:pt x="1587" y="1572"/>
                    </a:lnTo>
                    <a:lnTo>
                      <a:pt x="1579" y="1590"/>
                    </a:lnTo>
                    <a:lnTo>
                      <a:pt x="1567" y="1598"/>
                    </a:lnTo>
                    <a:lnTo>
                      <a:pt x="1546" y="1604"/>
                    </a:lnTo>
                    <a:lnTo>
                      <a:pt x="1539" y="1608"/>
                    </a:lnTo>
                    <a:lnTo>
                      <a:pt x="1537" y="1613"/>
                    </a:lnTo>
                    <a:lnTo>
                      <a:pt x="1543" y="1620"/>
                    </a:lnTo>
                    <a:lnTo>
                      <a:pt x="1540" y="1626"/>
                    </a:lnTo>
                    <a:lnTo>
                      <a:pt x="1531" y="1623"/>
                    </a:lnTo>
                    <a:lnTo>
                      <a:pt x="1525" y="1625"/>
                    </a:lnTo>
                    <a:lnTo>
                      <a:pt x="1513" y="1640"/>
                    </a:lnTo>
                    <a:lnTo>
                      <a:pt x="1504" y="1641"/>
                    </a:lnTo>
                    <a:lnTo>
                      <a:pt x="1497" y="1644"/>
                    </a:lnTo>
                    <a:lnTo>
                      <a:pt x="1492" y="1653"/>
                    </a:lnTo>
                    <a:lnTo>
                      <a:pt x="1485" y="1658"/>
                    </a:lnTo>
                    <a:lnTo>
                      <a:pt x="1480" y="1653"/>
                    </a:lnTo>
                    <a:lnTo>
                      <a:pt x="1477" y="1647"/>
                    </a:lnTo>
                    <a:lnTo>
                      <a:pt x="1479" y="1640"/>
                    </a:lnTo>
                    <a:lnTo>
                      <a:pt x="1479" y="1634"/>
                    </a:lnTo>
                    <a:lnTo>
                      <a:pt x="1474" y="1632"/>
                    </a:lnTo>
                    <a:lnTo>
                      <a:pt x="1467" y="1643"/>
                    </a:lnTo>
                    <a:lnTo>
                      <a:pt x="1470" y="1653"/>
                    </a:lnTo>
                    <a:lnTo>
                      <a:pt x="1479" y="1668"/>
                    </a:lnTo>
                    <a:lnTo>
                      <a:pt x="1471" y="1674"/>
                    </a:lnTo>
                    <a:lnTo>
                      <a:pt x="1455" y="1685"/>
                    </a:lnTo>
                    <a:lnTo>
                      <a:pt x="1417" y="1697"/>
                    </a:lnTo>
                    <a:lnTo>
                      <a:pt x="1411" y="1707"/>
                    </a:lnTo>
                    <a:lnTo>
                      <a:pt x="1402" y="1748"/>
                    </a:lnTo>
                    <a:lnTo>
                      <a:pt x="1378" y="1745"/>
                    </a:lnTo>
                    <a:lnTo>
                      <a:pt x="1342" y="1733"/>
                    </a:lnTo>
                    <a:lnTo>
                      <a:pt x="1321" y="1713"/>
                    </a:lnTo>
                    <a:lnTo>
                      <a:pt x="1318" y="1701"/>
                    </a:lnTo>
                    <a:lnTo>
                      <a:pt x="1321" y="1686"/>
                    </a:lnTo>
                    <a:lnTo>
                      <a:pt x="1330" y="1694"/>
                    </a:lnTo>
                    <a:lnTo>
                      <a:pt x="1332" y="1688"/>
                    </a:lnTo>
                    <a:lnTo>
                      <a:pt x="1329" y="1674"/>
                    </a:lnTo>
                    <a:lnTo>
                      <a:pt x="1318" y="1653"/>
                    </a:lnTo>
                    <a:lnTo>
                      <a:pt x="1299" y="1635"/>
                    </a:lnTo>
                    <a:lnTo>
                      <a:pt x="1275" y="1631"/>
                    </a:lnTo>
                    <a:lnTo>
                      <a:pt x="1245" y="1635"/>
                    </a:lnTo>
                  </a:path>
                </a:pathLst>
              </a:custGeom>
              <a:solidFill>
                <a:srgbClr val="99CC00"/>
              </a:solidFill>
              <a:ln w="1587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2" name="Freeform 322">
                <a:extLst>
                  <a:ext uri="{FF2B5EF4-FFF2-40B4-BE49-F238E27FC236}">
                    <a16:creationId xmlns:a16="http://schemas.microsoft.com/office/drawing/2014/main" id="{FF1CF5F5-8491-AA49-4E56-A9421559A9E3}"/>
                  </a:ext>
                </a:extLst>
              </p:cNvPr>
              <p:cNvSpPr>
                <a:spLocks/>
              </p:cNvSpPr>
              <p:nvPr/>
            </p:nvSpPr>
            <p:spPr bwMode="auto">
              <a:xfrm>
                <a:off x="3201" y="3330"/>
                <a:ext cx="620" cy="378"/>
              </a:xfrm>
              <a:custGeom>
                <a:avLst/>
                <a:gdLst>
                  <a:gd name="T0" fmla="*/ 0 w 1860"/>
                  <a:gd name="T1" fmla="*/ 0 h 1135"/>
                  <a:gd name="T2" fmla="*/ 0 w 1860"/>
                  <a:gd name="T3" fmla="*/ 0 h 1135"/>
                  <a:gd name="T4" fmla="*/ 0 w 1860"/>
                  <a:gd name="T5" fmla="*/ 0 h 1135"/>
                  <a:gd name="T6" fmla="*/ 0 w 1860"/>
                  <a:gd name="T7" fmla="*/ 0 h 1135"/>
                  <a:gd name="T8" fmla="*/ 0 w 1860"/>
                  <a:gd name="T9" fmla="*/ 0 h 1135"/>
                  <a:gd name="T10" fmla="*/ 0 w 1860"/>
                  <a:gd name="T11" fmla="*/ 0 h 1135"/>
                  <a:gd name="T12" fmla="*/ 0 w 1860"/>
                  <a:gd name="T13" fmla="*/ 0 h 1135"/>
                  <a:gd name="T14" fmla="*/ 0 w 1860"/>
                  <a:gd name="T15" fmla="*/ 0 h 1135"/>
                  <a:gd name="T16" fmla="*/ 0 w 1860"/>
                  <a:gd name="T17" fmla="*/ 0 h 1135"/>
                  <a:gd name="T18" fmla="*/ 0 w 1860"/>
                  <a:gd name="T19" fmla="*/ 0 h 1135"/>
                  <a:gd name="T20" fmla="*/ 0 w 1860"/>
                  <a:gd name="T21" fmla="*/ 0 h 1135"/>
                  <a:gd name="T22" fmla="*/ 0 w 1860"/>
                  <a:gd name="T23" fmla="*/ 0 h 1135"/>
                  <a:gd name="T24" fmla="*/ 0 w 1860"/>
                  <a:gd name="T25" fmla="*/ 0 h 1135"/>
                  <a:gd name="T26" fmla="*/ 0 w 1860"/>
                  <a:gd name="T27" fmla="*/ 0 h 1135"/>
                  <a:gd name="T28" fmla="*/ 0 w 1860"/>
                  <a:gd name="T29" fmla="*/ 0 h 1135"/>
                  <a:gd name="T30" fmla="*/ 0 w 1860"/>
                  <a:gd name="T31" fmla="*/ 0 h 1135"/>
                  <a:gd name="T32" fmla="*/ 0 w 1860"/>
                  <a:gd name="T33" fmla="*/ 0 h 1135"/>
                  <a:gd name="T34" fmla="*/ 0 w 1860"/>
                  <a:gd name="T35" fmla="*/ 0 h 1135"/>
                  <a:gd name="T36" fmla="*/ 0 w 1860"/>
                  <a:gd name="T37" fmla="*/ 0 h 1135"/>
                  <a:gd name="T38" fmla="*/ 0 w 1860"/>
                  <a:gd name="T39" fmla="*/ 0 h 1135"/>
                  <a:gd name="T40" fmla="*/ 0 w 1860"/>
                  <a:gd name="T41" fmla="*/ 0 h 1135"/>
                  <a:gd name="T42" fmla="*/ 0 w 1860"/>
                  <a:gd name="T43" fmla="*/ 0 h 1135"/>
                  <a:gd name="T44" fmla="*/ 0 w 1860"/>
                  <a:gd name="T45" fmla="*/ 0 h 1135"/>
                  <a:gd name="T46" fmla="*/ 0 w 1860"/>
                  <a:gd name="T47" fmla="*/ 0 h 1135"/>
                  <a:gd name="T48" fmla="*/ 0 w 1860"/>
                  <a:gd name="T49" fmla="*/ 0 h 1135"/>
                  <a:gd name="T50" fmla="*/ 0 w 1860"/>
                  <a:gd name="T51" fmla="*/ 0 h 1135"/>
                  <a:gd name="T52" fmla="*/ 0 w 1860"/>
                  <a:gd name="T53" fmla="*/ 0 h 1135"/>
                  <a:gd name="T54" fmla="*/ 0 w 1860"/>
                  <a:gd name="T55" fmla="*/ 0 h 1135"/>
                  <a:gd name="T56" fmla="*/ 0 w 1860"/>
                  <a:gd name="T57" fmla="*/ 0 h 1135"/>
                  <a:gd name="T58" fmla="*/ 0 w 1860"/>
                  <a:gd name="T59" fmla="*/ 0 h 1135"/>
                  <a:gd name="T60" fmla="*/ 0 w 1860"/>
                  <a:gd name="T61" fmla="*/ 0 h 1135"/>
                  <a:gd name="T62" fmla="*/ 0 w 1860"/>
                  <a:gd name="T63" fmla="*/ 0 h 1135"/>
                  <a:gd name="T64" fmla="*/ 0 w 1860"/>
                  <a:gd name="T65" fmla="*/ 0 h 1135"/>
                  <a:gd name="T66" fmla="*/ 0 w 1860"/>
                  <a:gd name="T67" fmla="*/ 0 h 1135"/>
                  <a:gd name="T68" fmla="*/ 0 w 1860"/>
                  <a:gd name="T69" fmla="*/ 0 h 1135"/>
                  <a:gd name="T70" fmla="*/ 0 w 1860"/>
                  <a:gd name="T71" fmla="*/ 0 h 1135"/>
                  <a:gd name="T72" fmla="*/ 0 w 1860"/>
                  <a:gd name="T73" fmla="*/ 0 h 1135"/>
                  <a:gd name="T74" fmla="*/ 0 w 1860"/>
                  <a:gd name="T75" fmla="*/ 0 h 1135"/>
                  <a:gd name="T76" fmla="*/ 0 w 1860"/>
                  <a:gd name="T77" fmla="*/ 0 h 1135"/>
                  <a:gd name="T78" fmla="*/ 0 w 1860"/>
                  <a:gd name="T79" fmla="*/ 0 h 1135"/>
                  <a:gd name="T80" fmla="*/ 0 w 1860"/>
                  <a:gd name="T81" fmla="*/ 0 h 1135"/>
                  <a:gd name="T82" fmla="*/ 0 w 1860"/>
                  <a:gd name="T83" fmla="*/ 0 h 1135"/>
                  <a:gd name="T84" fmla="*/ 0 w 1860"/>
                  <a:gd name="T85" fmla="*/ 0 h 1135"/>
                  <a:gd name="T86" fmla="*/ 0 w 1860"/>
                  <a:gd name="T87" fmla="*/ 0 h 1135"/>
                  <a:gd name="T88" fmla="*/ 0 w 1860"/>
                  <a:gd name="T89" fmla="*/ 0 h 1135"/>
                  <a:gd name="T90" fmla="*/ 0 w 1860"/>
                  <a:gd name="T91" fmla="*/ 0 h 1135"/>
                  <a:gd name="T92" fmla="*/ 0 w 1860"/>
                  <a:gd name="T93" fmla="*/ 0 h 1135"/>
                  <a:gd name="T94" fmla="*/ 0 w 1860"/>
                  <a:gd name="T95" fmla="*/ 0 h 1135"/>
                  <a:gd name="T96" fmla="*/ 0 w 1860"/>
                  <a:gd name="T97" fmla="*/ 0 h 1135"/>
                  <a:gd name="T98" fmla="*/ 0 w 1860"/>
                  <a:gd name="T99" fmla="*/ 0 h 1135"/>
                  <a:gd name="T100" fmla="*/ 0 w 1860"/>
                  <a:gd name="T101" fmla="*/ 0 h 1135"/>
                  <a:gd name="T102" fmla="*/ 0 w 1860"/>
                  <a:gd name="T103" fmla="*/ 0 h 1135"/>
                  <a:gd name="T104" fmla="*/ 0 w 1860"/>
                  <a:gd name="T105" fmla="*/ 0 h 1135"/>
                  <a:gd name="T106" fmla="*/ 0 w 1860"/>
                  <a:gd name="T107" fmla="*/ 0 h 1135"/>
                  <a:gd name="T108" fmla="*/ 0 w 1860"/>
                  <a:gd name="T109" fmla="*/ 0 h 1135"/>
                  <a:gd name="T110" fmla="*/ 0 w 1860"/>
                  <a:gd name="T111" fmla="*/ 0 h 1135"/>
                  <a:gd name="T112" fmla="*/ 0 w 1860"/>
                  <a:gd name="T113" fmla="*/ 0 h 1135"/>
                  <a:gd name="T114" fmla="*/ 0 w 1860"/>
                  <a:gd name="T115" fmla="*/ 0 h 1135"/>
                  <a:gd name="T116" fmla="*/ 0 w 1860"/>
                  <a:gd name="T117" fmla="*/ 0 h 1135"/>
                  <a:gd name="T118" fmla="*/ 0 w 1860"/>
                  <a:gd name="T119" fmla="*/ 0 h 1135"/>
                  <a:gd name="T120" fmla="*/ 0 w 1860"/>
                  <a:gd name="T121" fmla="*/ 0 h 1135"/>
                  <a:gd name="T122" fmla="*/ 0 w 1860"/>
                  <a:gd name="T123" fmla="*/ 0 h 1135"/>
                  <a:gd name="T124" fmla="*/ 0 w 1860"/>
                  <a:gd name="T125" fmla="*/ 0 h 11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60" h="1135">
                    <a:moveTo>
                      <a:pt x="1668" y="973"/>
                    </a:moveTo>
                    <a:lnTo>
                      <a:pt x="1657" y="988"/>
                    </a:lnTo>
                    <a:lnTo>
                      <a:pt x="1644" y="996"/>
                    </a:lnTo>
                    <a:lnTo>
                      <a:pt x="1630" y="996"/>
                    </a:lnTo>
                    <a:lnTo>
                      <a:pt x="1614" y="996"/>
                    </a:lnTo>
                    <a:lnTo>
                      <a:pt x="1596" y="999"/>
                    </a:lnTo>
                    <a:lnTo>
                      <a:pt x="1555" y="1039"/>
                    </a:lnTo>
                    <a:lnTo>
                      <a:pt x="1548" y="1044"/>
                    </a:lnTo>
                    <a:lnTo>
                      <a:pt x="1525" y="1036"/>
                    </a:lnTo>
                    <a:lnTo>
                      <a:pt x="1506" y="1036"/>
                    </a:lnTo>
                    <a:lnTo>
                      <a:pt x="1458" y="1059"/>
                    </a:lnTo>
                    <a:lnTo>
                      <a:pt x="1447" y="1083"/>
                    </a:lnTo>
                    <a:lnTo>
                      <a:pt x="1458" y="1104"/>
                    </a:lnTo>
                    <a:lnTo>
                      <a:pt x="1462" y="1119"/>
                    </a:lnTo>
                    <a:lnTo>
                      <a:pt x="1458" y="1128"/>
                    </a:lnTo>
                    <a:lnTo>
                      <a:pt x="1438" y="1129"/>
                    </a:lnTo>
                    <a:lnTo>
                      <a:pt x="1389" y="1111"/>
                    </a:lnTo>
                    <a:lnTo>
                      <a:pt x="1381" y="1104"/>
                    </a:lnTo>
                    <a:lnTo>
                      <a:pt x="1375" y="1108"/>
                    </a:lnTo>
                    <a:lnTo>
                      <a:pt x="1360" y="1131"/>
                    </a:lnTo>
                    <a:lnTo>
                      <a:pt x="1332" y="1135"/>
                    </a:lnTo>
                    <a:lnTo>
                      <a:pt x="1291" y="1111"/>
                    </a:lnTo>
                    <a:lnTo>
                      <a:pt x="1269" y="1080"/>
                    </a:lnTo>
                    <a:lnTo>
                      <a:pt x="1252" y="1069"/>
                    </a:lnTo>
                    <a:lnTo>
                      <a:pt x="1198" y="1048"/>
                    </a:lnTo>
                    <a:lnTo>
                      <a:pt x="1180" y="1036"/>
                    </a:lnTo>
                    <a:lnTo>
                      <a:pt x="1174" y="1035"/>
                    </a:lnTo>
                    <a:lnTo>
                      <a:pt x="1153" y="1030"/>
                    </a:lnTo>
                    <a:lnTo>
                      <a:pt x="1134" y="1024"/>
                    </a:lnTo>
                    <a:lnTo>
                      <a:pt x="1116" y="1035"/>
                    </a:lnTo>
                    <a:lnTo>
                      <a:pt x="1083" y="1042"/>
                    </a:lnTo>
                    <a:lnTo>
                      <a:pt x="1054" y="1036"/>
                    </a:lnTo>
                    <a:lnTo>
                      <a:pt x="1044" y="1035"/>
                    </a:lnTo>
                    <a:lnTo>
                      <a:pt x="1033" y="1048"/>
                    </a:lnTo>
                    <a:lnTo>
                      <a:pt x="1018" y="1071"/>
                    </a:lnTo>
                    <a:lnTo>
                      <a:pt x="1000" y="1095"/>
                    </a:lnTo>
                    <a:lnTo>
                      <a:pt x="987" y="1107"/>
                    </a:lnTo>
                    <a:lnTo>
                      <a:pt x="955" y="1113"/>
                    </a:lnTo>
                    <a:lnTo>
                      <a:pt x="927" y="1114"/>
                    </a:lnTo>
                    <a:lnTo>
                      <a:pt x="907" y="1093"/>
                    </a:lnTo>
                    <a:lnTo>
                      <a:pt x="900" y="1068"/>
                    </a:lnTo>
                    <a:lnTo>
                      <a:pt x="894" y="1041"/>
                    </a:lnTo>
                    <a:lnTo>
                      <a:pt x="882" y="1014"/>
                    </a:lnTo>
                    <a:lnTo>
                      <a:pt x="874" y="1006"/>
                    </a:lnTo>
                    <a:lnTo>
                      <a:pt x="852" y="1011"/>
                    </a:lnTo>
                    <a:lnTo>
                      <a:pt x="804" y="981"/>
                    </a:lnTo>
                    <a:lnTo>
                      <a:pt x="786" y="966"/>
                    </a:lnTo>
                    <a:lnTo>
                      <a:pt x="744" y="958"/>
                    </a:lnTo>
                    <a:lnTo>
                      <a:pt x="717" y="946"/>
                    </a:lnTo>
                    <a:lnTo>
                      <a:pt x="715" y="925"/>
                    </a:lnTo>
                    <a:lnTo>
                      <a:pt x="730" y="879"/>
                    </a:lnTo>
                    <a:lnTo>
                      <a:pt x="745" y="876"/>
                    </a:lnTo>
                    <a:lnTo>
                      <a:pt x="760" y="870"/>
                    </a:lnTo>
                    <a:lnTo>
                      <a:pt x="789" y="856"/>
                    </a:lnTo>
                    <a:lnTo>
                      <a:pt x="769" y="859"/>
                    </a:lnTo>
                    <a:lnTo>
                      <a:pt x="757" y="850"/>
                    </a:lnTo>
                    <a:lnTo>
                      <a:pt x="744" y="850"/>
                    </a:lnTo>
                    <a:lnTo>
                      <a:pt x="717" y="838"/>
                    </a:lnTo>
                    <a:lnTo>
                      <a:pt x="714" y="829"/>
                    </a:lnTo>
                    <a:lnTo>
                      <a:pt x="721" y="819"/>
                    </a:lnTo>
                    <a:lnTo>
                      <a:pt x="724" y="811"/>
                    </a:lnTo>
                    <a:lnTo>
                      <a:pt x="702" y="808"/>
                    </a:lnTo>
                    <a:lnTo>
                      <a:pt x="688" y="799"/>
                    </a:lnTo>
                    <a:lnTo>
                      <a:pt x="663" y="807"/>
                    </a:lnTo>
                    <a:lnTo>
                      <a:pt x="651" y="795"/>
                    </a:lnTo>
                    <a:lnTo>
                      <a:pt x="610" y="799"/>
                    </a:lnTo>
                    <a:lnTo>
                      <a:pt x="597" y="787"/>
                    </a:lnTo>
                    <a:lnTo>
                      <a:pt x="594" y="774"/>
                    </a:lnTo>
                    <a:lnTo>
                      <a:pt x="580" y="768"/>
                    </a:lnTo>
                    <a:lnTo>
                      <a:pt x="559" y="774"/>
                    </a:lnTo>
                    <a:lnTo>
                      <a:pt x="543" y="780"/>
                    </a:lnTo>
                    <a:lnTo>
                      <a:pt x="531" y="766"/>
                    </a:lnTo>
                    <a:lnTo>
                      <a:pt x="519" y="774"/>
                    </a:lnTo>
                    <a:lnTo>
                      <a:pt x="508" y="793"/>
                    </a:lnTo>
                    <a:lnTo>
                      <a:pt x="514" y="810"/>
                    </a:lnTo>
                    <a:lnTo>
                      <a:pt x="507" y="823"/>
                    </a:lnTo>
                    <a:lnTo>
                      <a:pt x="489" y="826"/>
                    </a:lnTo>
                    <a:lnTo>
                      <a:pt x="465" y="786"/>
                    </a:lnTo>
                    <a:lnTo>
                      <a:pt x="468" y="766"/>
                    </a:lnTo>
                    <a:lnTo>
                      <a:pt x="444" y="745"/>
                    </a:lnTo>
                    <a:lnTo>
                      <a:pt x="441" y="721"/>
                    </a:lnTo>
                    <a:lnTo>
                      <a:pt x="415" y="709"/>
                    </a:lnTo>
                    <a:lnTo>
                      <a:pt x="415" y="687"/>
                    </a:lnTo>
                    <a:lnTo>
                      <a:pt x="400" y="685"/>
                    </a:lnTo>
                    <a:lnTo>
                      <a:pt x="366" y="690"/>
                    </a:lnTo>
                    <a:lnTo>
                      <a:pt x="346" y="690"/>
                    </a:lnTo>
                    <a:lnTo>
                      <a:pt x="339" y="694"/>
                    </a:lnTo>
                    <a:lnTo>
                      <a:pt x="318" y="682"/>
                    </a:lnTo>
                    <a:lnTo>
                      <a:pt x="271" y="702"/>
                    </a:lnTo>
                    <a:lnTo>
                      <a:pt x="246" y="682"/>
                    </a:lnTo>
                    <a:lnTo>
                      <a:pt x="243" y="649"/>
                    </a:lnTo>
                    <a:lnTo>
                      <a:pt x="198" y="610"/>
                    </a:lnTo>
                    <a:lnTo>
                      <a:pt x="171" y="616"/>
                    </a:lnTo>
                    <a:lnTo>
                      <a:pt x="139" y="606"/>
                    </a:lnTo>
                    <a:lnTo>
                      <a:pt x="126" y="610"/>
                    </a:lnTo>
                    <a:lnTo>
                      <a:pt x="117" y="600"/>
                    </a:lnTo>
                    <a:lnTo>
                      <a:pt x="102" y="588"/>
                    </a:lnTo>
                    <a:lnTo>
                      <a:pt x="78" y="609"/>
                    </a:lnTo>
                    <a:lnTo>
                      <a:pt x="51" y="582"/>
                    </a:lnTo>
                    <a:lnTo>
                      <a:pt x="21" y="562"/>
                    </a:lnTo>
                    <a:lnTo>
                      <a:pt x="28" y="553"/>
                    </a:lnTo>
                    <a:lnTo>
                      <a:pt x="24" y="546"/>
                    </a:lnTo>
                    <a:lnTo>
                      <a:pt x="16" y="519"/>
                    </a:lnTo>
                    <a:lnTo>
                      <a:pt x="7" y="510"/>
                    </a:lnTo>
                    <a:lnTo>
                      <a:pt x="7" y="501"/>
                    </a:lnTo>
                    <a:lnTo>
                      <a:pt x="13" y="489"/>
                    </a:lnTo>
                    <a:lnTo>
                      <a:pt x="6" y="475"/>
                    </a:lnTo>
                    <a:lnTo>
                      <a:pt x="0" y="457"/>
                    </a:lnTo>
                    <a:lnTo>
                      <a:pt x="10" y="451"/>
                    </a:lnTo>
                    <a:lnTo>
                      <a:pt x="27" y="450"/>
                    </a:lnTo>
                    <a:lnTo>
                      <a:pt x="43" y="442"/>
                    </a:lnTo>
                    <a:lnTo>
                      <a:pt x="42" y="432"/>
                    </a:lnTo>
                    <a:lnTo>
                      <a:pt x="39" y="412"/>
                    </a:lnTo>
                    <a:lnTo>
                      <a:pt x="49" y="412"/>
                    </a:lnTo>
                    <a:lnTo>
                      <a:pt x="72" y="408"/>
                    </a:lnTo>
                    <a:lnTo>
                      <a:pt x="78" y="403"/>
                    </a:lnTo>
                    <a:lnTo>
                      <a:pt x="90" y="402"/>
                    </a:lnTo>
                    <a:lnTo>
                      <a:pt x="108" y="399"/>
                    </a:lnTo>
                    <a:lnTo>
                      <a:pt x="123" y="390"/>
                    </a:lnTo>
                    <a:lnTo>
                      <a:pt x="133" y="375"/>
                    </a:lnTo>
                    <a:lnTo>
                      <a:pt x="141" y="361"/>
                    </a:lnTo>
                    <a:lnTo>
                      <a:pt x="148" y="355"/>
                    </a:lnTo>
                    <a:lnTo>
                      <a:pt x="148" y="351"/>
                    </a:lnTo>
                    <a:lnTo>
                      <a:pt x="139" y="336"/>
                    </a:lnTo>
                    <a:lnTo>
                      <a:pt x="127" y="334"/>
                    </a:lnTo>
                    <a:lnTo>
                      <a:pt x="127" y="313"/>
                    </a:lnTo>
                    <a:lnTo>
                      <a:pt x="135" y="316"/>
                    </a:lnTo>
                    <a:lnTo>
                      <a:pt x="133" y="307"/>
                    </a:lnTo>
                    <a:lnTo>
                      <a:pt x="126" y="300"/>
                    </a:lnTo>
                    <a:lnTo>
                      <a:pt x="127" y="291"/>
                    </a:lnTo>
                    <a:lnTo>
                      <a:pt x="123" y="277"/>
                    </a:lnTo>
                    <a:lnTo>
                      <a:pt x="139" y="274"/>
                    </a:lnTo>
                    <a:lnTo>
                      <a:pt x="142" y="267"/>
                    </a:lnTo>
                    <a:lnTo>
                      <a:pt x="133" y="256"/>
                    </a:lnTo>
                    <a:lnTo>
                      <a:pt x="133" y="249"/>
                    </a:lnTo>
                    <a:lnTo>
                      <a:pt x="142" y="240"/>
                    </a:lnTo>
                    <a:lnTo>
                      <a:pt x="141" y="231"/>
                    </a:lnTo>
                    <a:lnTo>
                      <a:pt x="147" y="234"/>
                    </a:lnTo>
                    <a:lnTo>
                      <a:pt x="171" y="246"/>
                    </a:lnTo>
                    <a:lnTo>
                      <a:pt x="172" y="240"/>
                    </a:lnTo>
                    <a:lnTo>
                      <a:pt x="175" y="226"/>
                    </a:lnTo>
                    <a:lnTo>
                      <a:pt x="177" y="204"/>
                    </a:lnTo>
                    <a:lnTo>
                      <a:pt x="183" y="195"/>
                    </a:lnTo>
                    <a:lnTo>
                      <a:pt x="187" y="204"/>
                    </a:lnTo>
                    <a:lnTo>
                      <a:pt x="204" y="207"/>
                    </a:lnTo>
                    <a:lnTo>
                      <a:pt x="210" y="199"/>
                    </a:lnTo>
                    <a:lnTo>
                      <a:pt x="225" y="195"/>
                    </a:lnTo>
                    <a:lnTo>
                      <a:pt x="238" y="187"/>
                    </a:lnTo>
                    <a:lnTo>
                      <a:pt x="270" y="213"/>
                    </a:lnTo>
                    <a:lnTo>
                      <a:pt x="277" y="205"/>
                    </a:lnTo>
                    <a:lnTo>
                      <a:pt x="303" y="231"/>
                    </a:lnTo>
                    <a:lnTo>
                      <a:pt x="303" y="240"/>
                    </a:lnTo>
                    <a:lnTo>
                      <a:pt x="313" y="259"/>
                    </a:lnTo>
                    <a:lnTo>
                      <a:pt x="331" y="258"/>
                    </a:lnTo>
                    <a:lnTo>
                      <a:pt x="343" y="256"/>
                    </a:lnTo>
                    <a:lnTo>
                      <a:pt x="348" y="249"/>
                    </a:lnTo>
                    <a:lnTo>
                      <a:pt x="346" y="238"/>
                    </a:lnTo>
                    <a:lnTo>
                      <a:pt x="363" y="231"/>
                    </a:lnTo>
                    <a:lnTo>
                      <a:pt x="366" y="225"/>
                    </a:lnTo>
                    <a:lnTo>
                      <a:pt x="376" y="223"/>
                    </a:lnTo>
                    <a:lnTo>
                      <a:pt x="355" y="193"/>
                    </a:lnTo>
                    <a:lnTo>
                      <a:pt x="337" y="192"/>
                    </a:lnTo>
                    <a:lnTo>
                      <a:pt x="325" y="193"/>
                    </a:lnTo>
                    <a:lnTo>
                      <a:pt x="312" y="184"/>
                    </a:lnTo>
                    <a:lnTo>
                      <a:pt x="310" y="177"/>
                    </a:lnTo>
                    <a:lnTo>
                      <a:pt x="321" y="150"/>
                    </a:lnTo>
                    <a:lnTo>
                      <a:pt x="330" y="147"/>
                    </a:lnTo>
                    <a:lnTo>
                      <a:pt x="337" y="153"/>
                    </a:lnTo>
                    <a:lnTo>
                      <a:pt x="346" y="147"/>
                    </a:lnTo>
                    <a:lnTo>
                      <a:pt x="351" y="144"/>
                    </a:lnTo>
                    <a:lnTo>
                      <a:pt x="354" y="139"/>
                    </a:lnTo>
                    <a:lnTo>
                      <a:pt x="375" y="147"/>
                    </a:lnTo>
                    <a:lnTo>
                      <a:pt x="379" y="139"/>
                    </a:lnTo>
                    <a:lnTo>
                      <a:pt x="387" y="145"/>
                    </a:lnTo>
                    <a:lnTo>
                      <a:pt x="397" y="141"/>
                    </a:lnTo>
                    <a:lnTo>
                      <a:pt x="397" y="135"/>
                    </a:lnTo>
                    <a:lnTo>
                      <a:pt x="397" y="126"/>
                    </a:lnTo>
                    <a:lnTo>
                      <a:pt x="421" y="120"/>
                    </a:lnTo>
                    <a:lnTo>
                      <a:pt x="430" y="124"/>
                    </a:lnTo>
                    <a:lnTo>
                      <a:pt x="439" y="111"/>
                    </a:lnTo>
                    <a:lnTo>
                      <a:pt x="442" y="97"/>
                    </a:lnTo>
                    <a:lnTo>
                      <a:pt x="435" y="93"/>
                    </a:lnTo>
                    <a:lnTo>
                      <a:pt x="435" y="84"/>
                    </a:lnTo>
                    <a:lnTo>
                      <a:pt x="409" y="84"/>
                    </a:lnTo>
                    <a:lnTo>
                      <a:pt x="405" y="78"/>
                    </a:lnTo>
                    <a:lnTo>
                      <a:pt x="394" y="73"/>
                    </a:lnTo>
                    <a:lnTo>
                      <a:pt x="402" y="63"/>
                    </a:lnTo>
                    <a:lnTo>
                      <a:pt x="390" y="64"/>
                    </a:lnTo>
                    <a:lnTo>
                      <a:pt x="382" y="60"/>
                    </a:lnTo>
                    <a:lnTo>
                      <a:pt x="375" y="63"/>
                    </a:lnTo>
                    <a:lnTo>
                      <a:pt x="370" y="58"/>
                    </a:lnTo>
                    <a:lnTo>
                      <a:pt x="379" y="51"/>
                    </a:lnTo>
                    <a:lnTo>
                      <a:pt x="375" y="42"/>
                    </a:lnTo>
                    <a:lnTo>
                      <a:pt x="373" y="31"/>
                    </a:lnTo>
                    <a:lnTo>
                      <a:pt x="379" y="31"/>
                    </a:lnTo>
                    <a:lnTo>
                      <a:pt x="382" y="21"/>
                    </a:lnTo>
                    <a:lnTo>
                      <a:pt x="394" y="21"/>
                    </a:lnTo>
                    <a:lnTo>
                      <a:pt x="394" y="10"/>
                    </a:lnTo>
                    <a:lnTo>
                      <a:pt x="402" y="3"/>
                    </a:lnTo>
                    <a:lnTo>
                      <a:pt x="423" y="0"/>
                    </a:lnTo>
                    <a:lnTo>
                      <a:pt x="430" y="6"/>
                    </a:lnTo>
                    <a:lnTo>
                      <a:pt x="429" y="16"/>
                    </a:lnTo>
                    <a:lnTo>
                      <a:pt x="436" y="24"/>
                    </a:lnTo>
                    <a:lnTo>
                      <a:pt x="438" y="31"/>
                    </a:lnTo>
                    <a:lnTo>
                      <a:pt x="445" y="34"/>
                    </a:lnTo>
                    <a:lnTo>
                      <a:pt x="454" y="45"/>
                    </a:lnTo>
                    <a:lnTo>
                      <a:pt x="478" y="67"/>
                    </a:lnTo>
                    <a:lnTo>
                      <a:pt x="468" y="102"/>
                    </a:lnTo>
                    <a:lnTo>
                      <a:pt x="480" y="109"/>
                    </a:lnTo>
                    <a:lnTo>
                      <a:pt x="489" y="115"/>
                    </a:lnTo>
                    <a:lnTo>
                      <a:pt x="496" y="118"/>
                    </a:lnTo>
                    <a:lnTo>
                      <a:pt x="514" y="121"/>
                    </a:lnTo>
                    <a:lnTo>
                      <a:pt x="523" y="105"/>
                    </a:lnTo>
                    <a:lnTo>
                      <a:pt x="535" y="106"/>
                    </a:lnTo>
                    <a:lnTo>
                      <a:pt x="540" y="102"/>
                    </a:lnTo>
                    <a:lnTo>
                      <a:pt x="534" y="87"/>
                    </a:lnTo>
                    <a:lnTo>
                      <a:pt x="540" y="81"/>
                    </a:lnTo>
                    <a:lnTo>
                      <a:pt x="535" y="75"/>
                    </a:lnTo>
                    <a:lnTo>
                      <a:pt x="529" y="67"/>
                    </a:lnTo>
                    <a:lnTo>
                      <a:pt x="529" y="49"/>
                    </a:lnTo>
                    <a:lnTo>
                      <a:pt x="537" y="31"/>
                    </a:lnTo>
                    <a:lnTo>
                      <a:pt x="540" y="34"/>
                    </a:lnTo>
                    <a:lnTo>
                      <a:pt x="544" y="28"/>
                    </a:lnTo>
                    <a:lnTo>
                      <a:pt x="553" y="30"/>
                    </a:lnTo>
                    <a:lnTo>
                      <a:pt x="553" y="51"/>
                    </a:lnTo>
                    <a:lnTo>
                      <a:pt x="568" y="43"/>
                    </a:lnTo>
                    <a:lnTo>
                      <a:pt x="579" y="58"/>
                    </a:lnTo>
                    <a:lnTo>
                      <a:pt x="588" y="73"/>
                    </a:lnTo>
                    <a:lnTo>
                      <a:pt x="597" y="60"/>
                    </a:lnTo>
                    <a:lnTo>
                      <a:pt x="592" y="52"/>
                    </a:lnTo>
                    <a:lnTo>
                      <a:pt x="598" y="49"/>
                    </a:lnTo>
                    <a:lnTo>
                      <a:pt x="607" y="55"/>
                    </a:lnTo>
                    <a:lnTo>
                      <a:pt x="616" y="57"/>
                    </a:lnTo>
                    <a:lnTo>
                      <a:pt x="624" y="66"/>
                    </a:lnTo>
                    <a:lnTo>
                      <a:pt x="643" y="69"/>
                    </a:lnTo>
                    <a:lnTo>
                      <a:pt x="646" y="75"/>
                    </a:lnTo>
                    <a:lnTo>
                      <a:pt x="643" y="88"/>
                    </a:lnTo>
                    <a:lnTo>
                      <a:pt x="648" y="94"/>
                    </a:lnTo>
                    <a:lnTo>
                      <a:pt x="663" y="79"/>
                    </a:lnTo>
                    <a:lnTo>
                      <a:pt x="658" y="63"/>
                    </a:lnTo>
                    <a:lnTo>
                      <a:pt x="675" y="42"/>
                    </a:lnTo>
                    <a:lnTo>
                      <a:pt x="682" y="49"/>
                    </a:lnTo>
                    <a:lnTo>
                      <a:pt x="690" y="63"/>
                    </a:lnTo>
                    <a:lnTo>
                      <a:pt x="693" y="84"/>
                    </a:lnTo>
                    <a:lnTo>
                      <a:pt x="706" y="108"/>
                    </a:lnTo>
                    <a:lnTo>
                      <a:pt x="708" y="120"/>
                    </a:lnTo>
                    <a:lnTo>
                      <a:pt x="699" y="150"/>
                    </a:lnTo>
                    <a:lnTo>
                      <a:pt x="715" y="150"/>
                    </a:lnTo>
                    <a:lnTo>
                      <a:pt x="727" y="156"/>
                    </a:lnTo>
                    <a:lnTo>
                      <a:pt x="750" y="180"/>
                    </a:lnTo>
                    <a:lnTo>
                      <a:pt x="757" y="186"/>
                    </a:lnTo>
                    <a:lnTo>
                      <a:pt x="771" y="184"/>
                    </a:lnTo>
                    <a:lnTo>
                      <a:pt x="780" y="189"/>
                    </a:lnTo>
                    <a:lnTo>
                      <a:pt x="786" y="192"/>
                    </a:lnTo>
                    <a:lnTo>
                      <a:pt x="795" y="199"/>
                    </a:lnTo>
                    <a:lnTo>
                      <a:pt x="804" y="199"/>
                    </a:lnTo>
                    <a:lnTo>
                      <a:pt x="810" y="193"/>
                    </a:lnTo>
                    <a:lnTo>
                      <a:pt x="804" y="181"/>
                    </a:lnTo>
                    <a:lnTo>
                      <a:pt x="811" y="180"/>
                    </a:lnTo>
                    <a:lnTo>
                      <a:pt x="817" y="184"/>
                    </a:lnTo>
                    <a:lnTo>
                      <a:pt x="822" y="199"/>
                    </a:lnTo>
                    <a:lnTo>
                      <a:pt x="828" y="202"/>
                    </a:lnTo>
                    <a:lnTo>
                      <a:pt x="835" y="196"/>
                    </a:lnTo>
                    <a:lnTo>
                      <a:pt x="840" y="202"/>
                    </a:lnTo>
                    <a:lnTo>
                      <a:pt x="840" y="216"/>
                    </a:lnTo>
                    <a:lnTo>
                      <a:pt x="847" y="228"/>
                    </a:lnTo>
                    <a:lnTo>
                      <a:pt x="852" y="229"/>
                    </a:lnTo>
                    <a:lnTo>
                      <a:pt x="856" y="217"/>
                    </a:lnTo>
                    <a:lnTo>
                      <a:pt x="865" y="214"/>
                    </a:lnTo>
                    <a:lnTo>
                      <a:pt x="873" y="220"/>
                    </a:lnTo>
                    <a:lnTo>
                      <a:pt x="879" y="223"/>
                    </a:lnTo>
                    <a:lnTo>
                      <a:pt x="888" y="225"/>
                    </a:lnTo>
                    <a:lnTo>
                      <a:pt x="889" y="231"/>
                    </a:lnTo>
                    <a:lnTo>
                      <a:pt x="894" y="247"/>
                    </a:lnTo>
                    <a:lnTo>
                      <a:pt x="892" y="267"/>
                    </a:lnTo>
                    <a:lnTo>
                      <a:pt x="891" y="271"/>
                    </a:lnTo>
                    <a:lnTo>
                      <a:pt x="900" y="283"/>
                    </a:lnTo>
                    <a:lnTo>
                      <a:pt x="898" y="288"/>
                    </a:lnTo>
                    <a:lnTo>
                      <a:pt x="889" y="291"/>
                    </a:lnTo>
                    <a:lnTo>
                      <a:pt x="888" y="297"/>
                    </a:lnTo>
                    <a:lnTo>
                      <a:pt x="897" y="307"/>
                    </a:lnTo>
                    <a:lnTo>
                      <a:pt x="912" y="312"/>
                    </a:lnTo>
                    <a:lnTo>
                      <a:pt x="916" y="319"/>
                    </a:lnTo>
                    <a:lnTo>
                      <a:pt x="918" y="327"/>
                    </a:lnTo>
                    <a:lnTo>
                      <a:pt x="913" y="336"/>
                    </a:lnTo>
                    <a:lnTo>
                      <a:pt x="909" y="343"/>
                    </a:lnTo>
                    <a:lnTo>
                      <a:pt x="909" y="355"/>
                    </a:lnTo>
                    <a:lnTo>
                      <a:pt x="918" y="364"/>
                    </a:lnTo>
                    <a:lnTo>
                      <a:pt x="919" y="388"/>
                    </a:lnTo>
                    <a:lnTo>
                      <a:pt x="924" y="402"/>
                    </a:lnTo>
                    <a:lnTo>
                      <a:pt x="931" y="409"/>
                    </a:lnTo>
                    <a:lnTo>
                      <a:pt x="924" y="415"/>
                    </a:lnTo>
                    <a:lnTo>
                      <a:pt x="897" y="400"/>
                    </a:lnTo>
                    <a:lnTo>
                      <a:pt x="885" y="409"/>
                    </a:lnTo>
                    <a:lnTo>
                      <a:pt x="879" y="414"/>
                    </a:lnTo>
                    <a:lnTo>
                      <a:pt x="879" y="435"/>
                    </a:lnTo>
                    <a:lnTo>
                      <a:pt x="891" y="442"/>
                    </a:lnTo>
                    <a:lnTo>
                      <a:pt x="915" y="450"/>
                    </a:lnTo>
                    <a:lnTo>
                      <a:pt x="922" y="468"/>
                    </a:lnTo>
                    <a:lnTo>
                      <a:pt x="918" y="501"/>
                    </a:lnTo>
                    <a:lnTo>
                      <a:pt x="915" y="516"/>
                    </a:lnTo>
                    <a:lnTo>
                      <a:pt x="901" y="519"/>
                    </a:lnTo>
                    <a:lnTo>
                      <a:pt x="895" y="523"/>
                    </a:lnTo>
                    <a:lnTo>
                      <a:pt x="886" y="529"/>
                    </a:lnTo>
                    <a:lnTo>
                      <a:pt x="850" y="532"/>
                    </a:lnTo>
                    <a:lnTo>
                      <a:pt x="840" y="537"/>
                    </a:lnTo>
                    <a:lnTo>
                      <a:pt x="831" y="547"/>
                    </a:lnTo>
                    <a:lnTo>
                      <a:pt x="825" y="556"/>
                    </a:lnTo>
                    <a:lnTo>
                      <a:pt x="822" y="574"/>
                    </a:lnTo>
                    <a:lnTo>
                      <a:pt x="820" y="580"/>
                    </a:lnTo>
                    <a:lnTo>
                      <a:pt x="826" y="586"/>
                    </a:lnTo>
                    <a:lnTo>
                      <a:pt x="843" y="591"/>
                    </a:lnTo>
                    <a:lnTo>
                      <a:pt x="852" y="597"/>
                    </a:lnTo>
                    <a:lnTo>
                      <a:pt x="861" y="606"/>
                    </a:lnTo>
                    <a:lnTo>
                      <a:pt x="868" y="624"/>
                    </a:lnTo>
                    <a:lnTo>
                      <a:pt x="868" y="628"/>
                    </a:lnTo>
                    <a:lnTo>
                      <a:pt x="862" y="639"/>
                    </a:lnTo>
                    <a:lnTo>
                      <a:pt x="867" y="649"/>
                    </a:lnTo>
                    <a:lnTo>
                      <a:pt x="871" y="654"/>
                    </a:lnTo>
                    <a:lnTo>
                      <a:pt x="883" y="655"/>
                    </a:lnTo>
                    <a:lnTo>
                      <a:pt x="889" y="666"/>
                    </a:lnTo>
                    <a:lnTo>
                      <a:pt x="898" y="672"/>
                    </a:lnTo>
                    <a:lnTo>
                      <a:pt x="909" y="673"/>
                    </a:lnTo>
                    <a:lnTo>
                      <a:pt x="931" y="672"/>
                    </a:lnTo>
                    <a:lnTo>
                      <a:pt x="936" y="669"/>
                    </a:lnTo>
                    <a:lnTo>
                      <a:pt x="946" y="666"/>
                    </a:lnTo>
                    <a:lnTo>
                      <a:pt x="957" y="663"/>
                    </a:lnTo>
                    <a:lnTo>
                      <a:pt x="961" y="661"/>
                    </a:lnTo>
                    <a:lnTo>
                      <a:pt x="969" y="648"/>
                    </a:lnTo>
                    <a:lnTo>
                      <a:pt x="990" y="646"/>
                    </a:lnTo>
                    <a:lnTo>
                      <a:pt x="993" y="657"/>
                    </a:lnTo>
                    <a:lnTo>
                      <a:pt x="999" y="673"/>
                    </a:lnTo>
                    <a:lnTo>
                      <a:pt x="1008" y="681"/>
                    </a:lnTo>
                    <a:lnTo>
                      <a:pt x="1017" y="687"/>
                    </a:lnTo>
                    <a:lnTo>
                      <a:pt x="1044" y="708"/>
                    </a:lnTo>
                    <a:lnTo>
                      <a:pt x="1066" y="723"/>
                    </a:lnTo>
                    <a:lnTo>
                      <a:pt x="1062" y="753"/>
                    </a:lnTo>
                    <a:lnTo>
                      <a:pt x="1068" y="762"/>
                    </a:lnTo>
                    <a:lnTo>
                      <a:pt x="1068" y="771"/>
                    </a:lnTo>
                    <a:lnTo>
                      <a:pt x="1071" y="780"/>
                    </a:lnTo>
                    <a:lnTo>
                      <a:pt x="1081" y="778"/>
                    </a:lnTo>
                    <a:lnTo>
                      <a:pt x="1083" y="766"/>
                    </a:lnTo>
                    <a:lnTo>
                      <a:pt x="1087" y="760"/>
                    </a:lnTo>
                    <a:lnTo>
                      <a:pt x="1102" y="747"/>
                    </a:lnTo>
                    <a:lnTo>
                      <a:pt x="1117" y="742"/>
                    </a:lnTo>
                    <a:lnTo>
                      <a:pt x="1123" y="739"/>
                    </a:lnTo>
                    <a:lnTo>
                      <a:pt x="1128" y="724"/>
                    </a:lnTo>
                    <a:lnTo>
                      <a:pt x="1135" y="708"/>
                    </a:lnTo>
                    <a:lnTo>
                      <a:pt x="1141" y="703"/>
                    </a:lnTo>
                    <a:lnTo>
                      <a:pt x="1144" y="705"/>
                    </a:lnTo>
                    <a:lnTo>
                      <a:pt x="1152" y="711"/>
                    </a:lnTo>
                    <a:lnTo>
                      <a:pt x="1174" y="705"/>
                    </a:lnTo>
                    <a:lnTo>
                      <a:pt x="1195" y="696"/>
                    </a:lnTo>
                    <a:lnTo>
                      <a:pt x="1210" y="681"/>
                    </a:lnTo>
                    <a:lnTo>
                      <a:pt x="1210" y="663"/>
                    </a:lnTo>
                    <a:lnTo>
                      <a:pt x="1212" y="648"/>
                    </a:lnTo>
                    <a:lnTo>
                      <a:pt x="1204" y="613"/>
                    </a:lnTo>
                    <a:lnTo>
                      <a:pt x="1204" y="601"/>
                    </a:lnTo>
                    <a:lnTo>
                      <a:pt x="1198" y="597"/>
                    </a:lnTo>
                    <a:lnTo>
                      <a:pt x="1189" y="567"/>
                    </a:lnTo>
                    <a:lnTo>
                      <a:pt x="1189" y="558"/>
                    </a:lnTo>
                    <a:lnTo>
                      <a:pt x="1192" y="556"/>
                    </a:lnTo>
                    <a:lnTo>
                      <a:pt x="1210" y="550"/>
                    </a:lnTo>
                    <a:lnTo>
                      <a:pt x="1225" y="547"/>
                    </a:lnTo>
                    <a:lnTo>
                      <a:pt x="1236" y="546"/>
                    </a:lnTo>
                    <a:lnTo>
                      <a:pt x="1248" y="547"/>
                    </a:lnTo>
                    <a:lnTo>
                      <a:pt x="1293" y="552"/>
                    </a:lnTo>
                    <a:lnTo>
                      <a:pt x="1300" y="552"/>
                    </a:lnTo>
                    <a:lnTo>
                      <a:pt x="1326" y="541"/>
                    </a:lnTo>
                    <a:lnTo>
                      <a:pt x="1335" y="540"/>
                    </a:lnTo>
                    <a:lnTo>
                      <a:pt x="1345" y="546"/>
                    </a:lnTo>
                    <a:lnTo>
                      <a:pt x="1368" y="546"/>
                    </a:lnTo>
                    <a:lnTo>
                      <a:pt x="1384" y="546"/>
                    </a:lnTo>
                    <a:lnTo>
                      <a:pt x="1416" y="555"/>
                    </a:lnTo>
                    <a:lnTo>
                      <a:pt x="1431" y="553"/>
                    </a:lnTo>
                    <a:lnTo>
                      <a:pt x="1443" y="552"/>
                    </a:lnTo>
                    <a:lnTo>
                      <a:pt x="1461" y="555"/>
                    </a:lnTo>
                    <a:lnTo>
                      <a:pt x="1503" y="555"/>
                    </a:lnTo>
                    <a:lnTo>
                      <a:pt x="1519" y="553"/>
                    </a:lnTo>
                    <a:lnTo>
                      <a:pt x="1531" y="535"/>
                    </a:lnTo>
                    <a:lnTo>
                      <a:pt x="1540" y="517"/>
                    </a:lnTo>
                    <a:lnTo>
                      <a:pt x="1552" y="499"/>
                    </a:lnTo>
                    <a:lnTo>
                      <a:pt x="1561" y="487"/>
                    </a:lnTo>
                    <a:lnTo>
                      <a:pt x="1573" y="481"/>
                    </a:lnTo>
                    <a:lnTo>
                      <a:pt x="1614" y="459"/>
                    </a:lnTo>
                    <a:lnTo>
                      <a:pt x="1623" y="460"/>
                    </a:lnTo>
                    <a:lnTo>
                      <a:pt x="1636" y="480"/>
                    </a:lnTo>
                    <a:lnTo>
                      <a:pt x="1648" y="483"/>
                    </a:lnTo>
                    <a:lnTo>
                      <a:pt x="1654" y="489"/>
                    </a:lnTo>
                    <a:lnTo>
                      <a:pt x="1662" y="496"/>
                    </a:lnTo>
                    <a:lnTo>
                      <a:pt x="1692" y="510"/>
                    </a:lnTo>
                    <a:lnTo>
                      <a:pt x="1710" y="513"/>
                    </a:lnTo>
                    <a:lnTo>
                      <a:pt x="1734" y="528"/>
                    </a:lnTo>
                    <a:lnTo>
                      <a:pt x="1755" y="541"/>
                    </a:lnTo>
                    <a:lnTo>
                      <a:pt x="1753" y="598"/>
                    </a:lnTo>
                    <a:lnTo>
                      <a:pt x="1746" y="597"/>
                    </a:lnTo>
                    <a:lnTo>
                      <a:pt x="1750" y="607"/>
                    </a:lnTo>
                    <a:lnTo>
                      <a:pt x="1750" y="621"/>
                    </a:lnTo>
                    <a:lnTo>
                      <a:pt x="1750" y="666"/>
                    </a:lnTo>
                    <a:lnTo>
                      <a:pt x="1749" y="691"/>
                    </a:lnTo>
                    <a:lnTo>
                      <a:pt x="1752" y="699"/>
                    </a:lnTo>
                    <a:lnTo>
                      <a:pt x="1750" y="778"/>
                    </a:lnTo>
                    <a:lnTo>
                      <a:pt x="1752" y="801"/>
                    </a:lnTo>
                    <a:lnTo>
                      <a:pt x="1758" y="828"/>
                    </a:lnTo>
                    <a:lnTo>
                      <a:pt x="1756" y="838"/>
                    </a:lnTo>
                    <a:lnTo>
                      <a:pt x="1758" y="858"/>
                    </a:lnTo>
                    <a:lnTo>
                      <a:pt x="1762" y="898"/>
                    </a:lnTo>
                    <a:lnTo>
                      <a:pt x="1773" y="910"/>
                    </a:lnTo>
                    <a:lnTo>
                      <a:pt x="1798" y="918"/>
                    </a:lnTo>
                    <a:lnTo>
                      <a:pt x="1810" y="921"/>
                    </a:lnTo>
                    <a:lnTo>
                      <a:pt x="1831" y="925"/>
                    </a:lnTo>
                    <a:lnTo>
                      <a:pt x="1825" y="933"/>
                    </a:lnTo>
                    <a:lnTo>
                      <a:pt x="1824" y="942"/>
                    </a:lnTo>
                    <a:lnTo>
                      <a:pt x="1830" y="946"/>
                    </a:lnTo>
                    <a:lnTo>
                      <a:pt x="1828" y="957"/>
                    </a:lnTo>
                    <a:lnTo>
                      <a:pt x="1827" y="969"/>
                    </a:lnTo>
                    <a:lnTo>
                      <a:pt x="1840" y="973"/>
                    </a:lnTo>
                    <a:lnTo>
                      <a:pt x="1848" y="981"/>
                    </a:lnTo>
                    <a:lnTo>
                      <a:pt x="1851" y="994"/>
                    </a:lnTo>
                    <a:lnTo>
                      <a:pt x="1852" y="1008"/>
                    </a:lnTo>
                    <a:lnTo>
                      <a:pt x="1860" y="1020"/>
                    </a:lnTo>
                    <a:lnTo>
                      <a:pt x="1815" y="1018"/>
                    </a:lnTo>
                    <a:lnTo>
                      <a:pt x="1795" y="1026"/>
                    </a:lnTo>
                    <a:lnTo>
                      <a:pt x="1777" y="1021"/>
                    </a:lnTo>
                    <a:lnTo>
                      <a:pt x="1762" y="997"/>
                    </a:lnTo>
                    <a:lnTo>
                      <a:pt x="1750" y="984"/>
                    </a:lnTo>
                    <a:lnTo>
                      <a:pt x="1720" y="976"/>
                    </a:lnTo>
                    <a:lnTo>
                      <a:pt x="1707" y="979"/>
                    </a:lnTo>
                    <a:lnTo>
                      <a:pt x="1677" y="970"/>
                    </a:lnTo>
                    <a:lnTo>
                      <a:pt x="1668" y="973"/>
                    </a:lnTo>
                    <a:lnTo>
                      <a:pt x="892" y="987"/>
                    </a:lnTo>
                    <a:lnTo>
                      <a:pt x="895" y="1005"/>
                    </a:lnTo>
                    <a:lnTo>
                      <a:pt x="909" y="1009"/>
                    </a:lnTo>
                    <a:lnTo>
                      <a:pt x="924" y="1008"/>
                    </a:lnTo>
                    <a:lnTo>
                      <a:pt x="939" y="1005"/>
                    </a:lnTo>
                    <a:lnTo>
                      <a:pt x="934" y="991"/>
                    </a:lnTo>
                    <a:lnTo>
                      <a:pt x="919" y="987"/>
                    </a:lnTo>
                    <a:lnTo>
                      <a:pt x="916" y="973"/>
                    </a:lnTo>
                    <a:lnTo>
                      <a:pt x="922" y="958"/>
                    </a:lnTo>
                    <a:lnTo>
                      <a:pt x="913" y="958"/>
                    </a:lnTo>
                    <a:lnTo>
                      <a:pt x="892" y="987"/>
                    </a:lnTo>
                    <a:lnTo>
                      <a:pt x="1668" y="973"/>
                    </a:lnTo>
                    <a:close/>
                  </a:path>
                </a:pathLst>
              </a:custGeom>
              <a:grpFill/>
              <a:ln w="9525">
                <a:solidFill>
                  <a:srgbClr val="000000"/>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3" name="Freeform 323">
                <a:extLst>
                  <a:ext uri="{FF2B5EF4-FFF2-40B4-BE49-F238E27FC236}">
                    <a16:creationId xmlns:a16="http://schemas.microsoft.com/office/drawing/2014/main" id="{3EAF31F7-EEE0-2567-AD56-51D34550C518}"/>
                  </a:ext>
                </a:extLst>
              </p:cNvPr>
              <p:cNvSpPr>
                <a:spLocks/>
              </p:cNvSpPr>
              <p:nvPr/>
            </p:nvSpPr>
            <p:spPr bwMode="auto">
              <a:xfrm>
                <a:off x="3201" y="3330"/>
                <a:ext cx="620" cy="378"/>
              </a:xfrm>
              <a:custGeom>
                <a:avLst/>
                <a:gdLst>
                  <a:gd name="T0" fmla="*/ 0 w 1860"/>
                  <a:gd name="T1" fmla="*/ 0 h 1135"/>
                  <a:gd name="T2" fmla="*/ 0 w 1860"/>
                  <a:gd name="T3" fmla="*/ 0 h 1135"/>
                  <a:gd name="T4" fmla="*/ 0 w 1860"/>
                  <a:gd name="T5" fmla="*/ 0 h 1135"/>
                  <a:gd name="T6" fmla="*/ 0 w 1860"/>
                  <a:gd name="T7" fmla="*/ 0 h 1135"/>
                  <a:gd name="T8" fmla="*/ 0 w 1860"/>
                  <a:gd name="T9" fmla="*/ 0 h 1135"/>
                  <a:gd name="T10" fmla="*/ 0 w 1860"/>
                  <a:gd name="T11" fmla="*/ 0 h 1135"/>
                  <a:gd name="T12" fmla="*/ 0 w 1860"/>
                  <a:gd name="T13" fmla="*/ 0 h 1135"/>
                  <a:gd name="T14" fmla="*/ 0 w 1860"/>
                  <a:gd name="T15" fmla="*/ 0 h 1135"/>
                  <a:gd name="T16" fmla="*/ 0 w 1860"/>
                  <a:gd name="T17" fmla="*/ 0 h 1135"/>
                  <a:gd name="T18" fmla="*/ 0 w 1860"/>
                  <a:gd name="T19" fmla="*/ 0 h 1135"/>
                  <a:gd name="T20" fmla="*/ 0 w 1860"/>
                  <a:gd name="T21" fmla="*/ 0 h 1135"/>
                  <a:gd name="T22" fmla="*/ 0 w 1860"/>
                  <a:gd name="T23" fmla="*/ 0 h 1135"/>
                  <a:gd name="T24" fmla="*/ 0 w 1860"/>
                  <a:gd name="T25" fmla="*/ 0 h 1135"/>
                  <a:gd name="T26" fmla="*/ 0 w 1860"/>
                  <a:gd name="T27" fmla="*/ 0 h 1135"/>
                  <a:gd name="T28" fmla="*/ 0 w 1860"/>
                  <a:gd name="T29" fmla="*/ 0 h 1135"/>
                  <a:gd name="T30" fmla="*/ 0 w 1860"/>
                  <a:gd name="T31" fmla="*/ 0 h 1135"/>
                  <a:gd name="T32" fmla="*/ 0 w 1860"/>
                  <a:gd name="T33" fmla="*/ 0 h 1135"/>
                  <a:gd name="T34" fmla="*/ 0 w 1860"/>
                  <a:gd name="T35" fmla="*/ 0 h 1135"/>
                  <a:gd name="T36" fmla="*/ 0 w 1860"/>
                  <a:gd name="T37" fmla="*/ 0 h 1135"/>
                  <a:gd name="T38" fmla="*/ 0 w 1860"/>
                  <a:gd name="T39" fmla="*/ 0 h 1135"/>
                  <a:gd name="T40" fmla="*/ 0 w 1860"/>
                  <a:gd name="T41" fmla="*/ 0 h 1135"/>
                  <a:gd name="T42" fmla="*/ 0 w 1860"/>
                  <a:gd name="T43" fmla="*/ 0 h 1135"/>
                  <a:gd name="T44" fmla="*/ 0 w 1860"/>
                  <a:gd name="T45" fmla="*/ 0 h 1135"/>
                  <a:gd name="T46" fmla="*/ 0 w 1860"/>
                  <a:gd name="T47" fmla="*/ 0 h 1135"/>
                  <a:gd name="T48" fmla="*/ 0 w 1860"/>
                  <a:gd name="T49" fmla="*/ 0 h 1135"/>
                  <a:gd name="T50" fmla="*/ 0 w 1860"/>
                  <a:gd name="T51" fmla="*/ 0 h 1135"/>
                  <a:gd name="T52" fmla="*/ 0 w 1860"/>
                  <a:gd name="T53" fmla="*/ 0 h 1135"/>
                  <a:gd name="T54" fmla="*/ 0 w 1860"/>
                  <a:gd name="T55" fmla="*/ 0 h 1135"/>
                  <a:gd name="T56" fmla="*/ 0 w 1860"/>
                  <a:gd name="T57" fmla="*/ 0 h 1135"/>
                  <a:gd name="T58" fmla="*/ 0 w 1860"/>
                  <a:gd name="T59" fmla="*/ 0 h 1135"/>
                  <a:gd name="T60" fmla="*/ 0 w 1860"/>
                  <a:gd name="T61" fmla="*/ 0 h 1135"/>
                  <a:gd name="T62" fmla="*/ 0 w 1860"/>
                  <a:gd name="T63" fmla="*/ 0 h 1135"/>
                  <a:gd name="T64" fmla="*/ 0 w 1860"/>
                  <a:gd name="T65" fmla="*/ 0 h 1135"/>
                  <a:gd name="T66" fmla="*/ 0 w 1860"/>
                  <a:gd name="T67" fmla="*/ 0 h 1135"/>
                  <a:gd name="T68" fmla="*/ 0 w 1860"/>
                  <a:gd name="T69" fmla="*/ 0 h 1135"/>
                  <a:gd name="T70" fmla="*/ 0 w 1860"/>
                  <a:gd name="T71" fmla="*/ 0 h 1135"/>
                  <a:gd name="T72" fmla="*/ 0 w 1860"/>
                  <a:gd name="T73" fmla="*/ 0 h 1135"/>
                  <a:gd name="T74" fmla="*/ 0 w 1860"/>
                  <a:gd name="T75" fmla="*/ 0 h 1135"/>
                  <a:gd name="T76" fmla="*/ 0 w 1860"/>
                  <a:gd name="T77" fmla="*/ 0 h 1135"/>
                  <a:gd name="T78" fmla="*/ 0 w 1860"/>
                  <a:gd name="T79" fmla="*/ 0 h 1135"/>
                  <a:gd name="T80" fmla="*/ 0 w 1860"/>
                  <a:gd name="T81" fmla="*/ 0 h 1135"/>
                  <a:gd name="T82" fmla="*/ 0 w 1860"/>
                  <a:gd name="T83" fmla="*/ 0 h 1135"/>
                  <a:gd name="T84" fmla="*/ 0 w 1860"/>
                  <a:gd name="T85" fmla="*/ 0 h 1135"/>
                  <a:gd name="T86" fmla="*/ 0 w 1860"/>
                  <a:gd name="T87" fmla="*/ 0 h 1135"/>
                  <a:gd name="T88" fmla="*/ 0 w 1860"/>
                  <a:gd name="T89" fmla="*/ 0 h 1135"/>
                  <a:gd name="T90" fmla="*/ 0 w 1860"/>
                  <a:gd name="T91" fmla="*/ 0 h 1135"/>
                  <a:gd name="T92" fmla="*/ 0 w 1860"/>
                  <a:gd name="T93" fmla="*/ 0 h 1135"/>
                  <a:gd name="T94" fmla="*/ 0 w 1860"/>
                  <a:gd name="T95" fmla="*/ 0 h 1135"/>
                  <a:gd name="T96" fmla="*/ 0 w 1860"/>
                  <a:gd name="T97" fmla="*/ 0 h 1135"/>
                  <a:gd name="T98" fmla="*/ 0 w 1860"/>
                  <a:gd name="T99" fmla="*/ 0 h 1135"/>
                  <a:gd name="T100" fmla="*/ 0 w 1860"/>
                  <a:gd name="T101" fmla="*/ 0 h 1135"/>
                  <a:gd name="T102" fmla="*/ 0 w 1860"/>
                  <a:gd name="T103" fmla="*/ 0 h 1135"/>
                  <a:gd name="T104" fmla="*/ 0 w 1860"/>
                  <a:gd name="T105" fmla="*/ 0 h 1135"/>
                  <a:gd name="T106" fmla="*/ 0 w 1860"/>
                  <a:gd name="T107" fmla="*/ 0 h 1135"/>
                  <a:gd name="T108" fmla="*/ 0 w 1860"/>
                  <a:gd name="T109" fmla="*/ 0 h 1135"/>
                  <a:gd name="T110" fmla="*/ 0 w 1860"/>
                  <a:gd name="T111" fmla="*/ 0 h 1135"/>
                  <a:gd name="T112" fmla="*/ 0 w 1860"/>
                  <a:gd name="T113" fmla="*/ 0 h 1135"/>
                  <a:gd name="T114" fmla="*/ 0 w 1860"/>
                  <a:gd name="T115" fmla="*/ 0 h 1135"/>
                  <a:gd name="T116" fmla="*/ 0 w 1860"/>
                  <a:gd name="T117" fmla="*/ 0 h 1135"/>
                  <a:gd name="T118" fmla="*/ 0 w 1860"/>
                  <a:gd name="T119" fmla="*/ 0 h 1135"/>
                  <a:gd name="T120" fmla="*/ 0 w 1860"/>
                  <a:gd name="T121" fmla="*/ 0 h 11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60" h="1135">
                    <a:moveTo>
                      <a:pt x="1668" y="973"/>
                    </a:moveTo>
                    <a:lnTo>
                      <a:pt x="1657" y="988"/>
                    </a:lnTo>
                    <a:lnTo>
                      <a:pt x="1644" y="996"/>
                    </a:lnTo>
                    <a:lnTo>
                      <a:pt x="1630" y="996"/>
                    </a:lnTo>
                    <a:lnTo>
                      <a:pt x="1614" y="996"/>
                    </a:lnTo>
                    <a:lnTo>
                      <a:pt x="1596" y="999"/>
                    </a:lnTo>
                    <a:lnTo>
                      <a:pt x="1555" y="1039"/>
                    </a:lnTo>
                    <a:lnTo>
                      <a:pt x="1548" y="1044"/>
                    </a:lnTo>
                    <a:lnTo>
                      <a:pt x="1525" y="1036"/>
                    </a:lnTo>
                    <a:lnTo>
                      <a:pt x="1506" y="1036"/>
                    </a:lnTo>
                    <a:lnTo>
                      <a:pt x="1458" y="1059"/>
                    </a:lnTo>
                    <a:lnTo>
                      <a:pt x="1447" y="1083"/>
                    </a:lnTo>
                    <a:lnTo>
                      <a:pt x="1458" y="1104"/>
                    </a:lnTo>
                    <a:lnTo>
                      <a:pt x="1462" y="1119"/>
                    </a:lnTo>
                    <a:lnTo>
                      <a:pt x="1458" y="1128"/>
                    </a:lnTo>
                    <a:lnTo>
                      <a:pt x="1438" y="1129"/>
                    </a:lnTo>
                    <a:lnTo>
                      <a:pt x="1389" y="1111"/>
                    </a:lnTo>
                    <a:lnTo>
                      <a:pt x="1381" y="1104"/>
                    </a:lnTo>
                    <a:lnTo>
                      <a:pt x="1375" y="1108"/>
                    </a:lnTo>
                    <a:lnTo>
                      <a:pt x="1360" y="1131"/>
                    </a:lnTo>
                    <a:lnTo>
                      <a:pt x="1332" y="1135"/>
                    </a:lnTo>
                    <a:lnTo>
                      <a:pt x="1291" y="1111"/>
                    </a:lnTo>
                    <a:lnTo>
                      <a:pt x="1269" y="1080"/>
                    </a:lnTo>
                    <a:lnTo>
                      <a:pt x="1252" y="1069"/>
                    </a:lnTo>
                    <a:lnTo>
                      <a:pt x="1198" y="1048"/>
                    </a:lnTo>
                    <a:lnTo>
                      <a:pt x="1180" y="1036"/>
                    </a:lnTo>
                    <a:lnTo>
                      <a:pt x="1174" y="1035"/>
                    </a:lnTo>
                    <a:lnTo>
                      <a:pt x="1153" y="1030"/>
                    </a:lnTo>
                    <a:lnTo>
                      <a:pt x="1134" y="1024"/>
                    </a:lnTo>
                    <a:lnTo>
                      <a:pt x="1116" y="1035"/>
                    </a:lnTo>
                    <a:lnTo>
                      <a:pt x="1083" y="1042"/>
                    </a:lnTo>
                    <a:lnTo>
                      <a:pt x="1054" y="1036"/>
                    </a:lnTo>
                    <a:lnTo>
                      <a:pt x="1044" y="1035"/>
                    </a:lnTo>
                    <a:lnTo>
                      <a:pt x="1033" y="1048"/>
                    </a:lnTo>
                    <a:lnTo>
                      <a:pt x="1018" y="1071"/>
                    </a:lnTo>
                    <a:lnTo>
                      <a:pt x="1000" y="1095"/>
                    </a:lnTo>
                    <a:lnTo>
                      <a:pt x="987" y="1107"/>
                    </a:lnTo>
                    <a:lnTo>
                      <a:pt x="955" y="1113"/>
                    </a:lnTo>
                    <a:lnTo>
                      <a:pt x="927" y="1114"/>
                    </a:lnTo>
                    <a:lnTo>
                      <a:pt x="907" y="1093"/>
                    </a:lnTo>
                    <a:lnTo>
                      <a:pt x="900" y="1068"/>
                    </a:lnTo>
                    <a:lnTo>
                      <a:pt x="894" y="1041"/>
                    </a:lnTo>
                    <a:lnTo>
                      <a:pt x="882" y="1014"/>
                    </a:lnTo>
                    <a:lnTo>
                      <a:pt x="874" y="1006"/>
                    </a:lnTo>
                    <a:lnTo>
                      <a:pt x="852" y="1011"/>
                    </a:lnTo>
                    <a:lnTo>
                      <a:pt x="804" y="981"/>
                    </a:lnTo>
                    <a:lnTo>
                      <a:pt x="786" y="966"/>
                    </a:lnTo>
                    <a:lnTo>
                      <a:pt x="744" y="958"/>
                    </a:lnTo>
                    <a:lnTo>
                      <a:pt x="717" y="946"/>
                    </a:lnTo>
                    <a:lnTo>
                      <a:pt x="715" y="925"/>
                    </a:lnTo>
                    <a:lnTo>
                      <a:pt x="730" y="879"/>
                    </a:lnTo>
                    <a:lnTo>
                      <a:pt x="745" y="876"/>
                    </a:lnTo>
                    <a:lnTo>
                      <a:pt x="760" y="870"/>
                    </a:lnTo>
                    <a:lnTo>
                      <a:pt x="789" y="856"/>
                    </a:lnTo>
                    <a:lnTo>
                      <a:pt x="769" y="859"/>
                    </a:lnTo>
                    <a:lnTo>
                      <a:pt x="757" y="850"/>
                    </a:lnTo>
                    <a:lnTo>
                      <a:pt x="744" y="850"/>
                    </a:lnTo>
                    <a:lnTo>
                      <a:pt x="717" y="838"/>
                    </a:lnTo>
                    <a:lnTo>
                      <a:pt x="714" y="829"/>
                    </a:lnTo>
                    <a:lnTo>
                      <a:pt x="721" y="819"/>
                    </a:lnTo>
                    <a:lnTo>
                      <a:pt x="724" y="811"/>
                    </a:lnTo>
                    <a:lnTo>
                      <a:pt x="702" y="808"/>
                    </a:lnTo>
                    <a:lnTo>
                      <a:pt x="688" y="799"/>
                    </a:lnTo>
                    <a:lnTo>
                      <a:pt x="663" y="807"/>
                    </a:lnTo>
                    <a:lnTo>
                      <a:pt x="651" y="795"/>
                    </a:lnTo>
                    <a:lnTo>
                      <a:pt x="610" y="799"/>
                    </a:lnTo>
                    <a:lnTo>
                      <a:pt x="597" y="787"/>
                    </a:lnTo>
                    <a:lnTo>
                      <a:pt x="594" y="774"/>
                    </a:lnTo>
                    <a:lnTo>
                      <a:pt x="580" y="768"/>
                    </a:lnTo>
                    <a:lnTo>
                      <a:pt x="559" y="774"/>
                    </a:lnTo>
                    <a:lnTo>
                      <a:pt x="543" y="780"/>
                    </a:lnTo>
                    <a:lnTo>
                      <a:pt x="531" y="766"/>
                    </a:lnTo>
                    <a:lnTo>
                      <a:pt x="519" y="774"/>
                    </a:lnTo>
                    <a:lnTo>
                      <a:pt x="508" y="793"/>
                    </a:lnTo>
                    <a:lnTo>
                      <a:pt x="514" y="810"/>
                    </a:lnTo>
                    <a:lnTo>
                      <a:pt x="507" y="823"/>
                    </a:lnTo>
                    <a:lnTo>
                      <a:pt x="489" y="826"/>
                    </a:lnTo>
                    <a:lnTo>
                      <a:pt x="465" y="786"/>
                    </a:lnTo>
                    <a:lnTo>
                      <a:pt x="468" y="766"/>
                    </a:lnTo>
                    <a:lnTo>
                      <a:pt x="444" y="745"/>
                    </a:lnTo>
                    <a:lnTo>
                      <a:pt x="441" y="721"/>
                    </a:lnTo>
                    <a:lnTo>
                      <a:pt x="415" y="709"/>
                    </a:lnTo>
                    <a:lnTo>
                      <a:pt x="415" y="687"/>
                    </a:lnTo>
                    <a:lnTo>
                      <a:pt x="400" y="685"/>
                    </a:lnTo>
                    <a:lnTo>
                      <a:pt x="366" y="690"/>
                    </a:lnTo>
                    <a:lnTo>
                      <a:pt x="346" y="690"/>
                    </a:lnTo>
                    <a:lnTo>
                      <a:pt x="339" y="694"/>
                    </a:lnTo>
                    <a:lnTo>
                      <a:pt x="318" y="682"/>
                    </a:lnTo>
                    <a:lnTo>
                      <a:pt x="271" y="702"/>
                    </a:lnTo>
                    <a:lnTo>
                      <a:pt x="246" y="682"/>
                    </a:lnTo>
                    <a:lnTo>
                      <a:pt x="243" y="649"/>
                    </a:lnTo>
                    <a:lnTo>
                      <a:pt x="198" y="610"/>
                    </a:lnTo>
                    <a:lnTo>
                      <a:pt x="171" y="616"/>
                    </a:lnTo>
                    <a:lnTo>
                      <a:pt x="139" y="606"/>
                    </a:lnTo>
                    <a:lnTo>
                      <a:pt x="126" y="610"/>
                    </a:lnTo>
                    <a:lnTo>
                      <a:pt x="117" y="600"/>
                    </a:lnTo>
                    <a:lnTo>
                      <a:pt x="102" y="588"/>
                    </a:lnTo>
                    <a:lnTo>
                      <a:pt x="78" y="609"/>
                    </a:lnTo>
                    <a:lnTo>
                      <a:pt x="51" y="582"/>
                    </a:lnTo>
                    <a:lnTo>
                      <a:pt x="21" y="562"/>
                    </a:lnTo>
                    <a:lnTo>
                      <a:pt x="28" y="553"/>
                    </a:lnTo>
                    <a:lnTo>
                      <a:pt x="24" y="546"/>
                    </a:lnTo>
                    <a:lnTo>
                      <a:pt x="16" y="519"/>
                    </a:lnTo>
                    <a:lnTo>
                      <a:pt x="7" y="510"/>
                    </a:lnTo>
                    <a:lnTo>
                      <a:pt x="7" y="501"/>
                    </a:lnTo>
                    <a:lnTo>
                      <a:pt x="13" y="489"/>
                    </a:lnTo>
                    <a:lnTo>
                      <a:pt x="6" y="475"/>
                    </a:lnTo>
                    <a:lnTo>
                      <a:pt x="0" y="457"/>
                    </a:lnTo>
                    <a:lnTo>
                      <a:pt x="10" y="451"/>
                    </a:lnTo>
                    <a:lnTo>
                      <a:pt x="27" y="450"/>
                    </a:lnTo>
                    <a:lnTo>
                      <a:pt x="43" y="442"/>
                    </a:lnTo>
                    <a:lnTo>
                      <a:pt x="42" y="432"/>
                    </a:lnTo>
                    <a:lnTo>
                      <a:pt x="39" y="412"/>
                    </a:lnTo>
                    <a:lnTo>
                      <a:pt x="49" y="412"/>
                    </a:lnTo>
                    <a:lnTo>
                      <a:pt x="72" y="408"/>
                    </a:lnTo>
                    <a:lnTo>
                      <a:pt x="78" y="403"/>
                    </a:lnTo>
                    <a:lnTo>
                      <a:pt x="90" y="402"/>
                    </a:lnTo>
                    <a:lnTo>
                      <a:pt x="108" y="399"/>
                    </a:lnTo>
                    <a:lnTo>
                      <a:pt x="123" y="390"/>
                    </a:lnTo>
                    <a:lnTo>
                      <a:pt x="133" y="375"/>
                    </a:lnTo>
                    <a:lnTo>
                      <a:pt x="141" y="361"/>
                    </a:lnTo>
                    <a:lnTo>
                      <a:pt x="148" y="355"/>
                    </a:lnTo>
                    <a:lnTo>
                      <a:pt x="148" y="351"/>
                    </a:lnTo>
                    <a:lnTo>
                      <a:pt x="139" y="336"/>
                    </a:lnTo>
                    <a:lnTo>
                      <a:pt x="127" y="334"/>
                    </a:lnTo>
                    <a:lnTo>
                      <a:pt x="127" y="313"/>
                    </a:lnTo>
                    <a:lnTo>
                      <a:pt x="135" y="316"/>
                    </a:lnTo>
                    <a:lnTo>
                      <a:pt x="133" y="307"/>
                    </a:lnTo>
                    <a:lnTo>
                      <a:pt x="126" y="300"/>
                    </a:lnTo>
                    <a:lnTo>
                      <a:pt x="127" y="291"/>
                    </a:lnTo>
                    <a:lnTo>
                      <a:pt x="123" y="277"/>
                    </a:lnTo>
                    <a:lnTo>
                      <a:pt x="139" y="274"/>
                    </a:lnTo>
                    <a:lnTo>
                      <a:pt x="142" y="267"/>
                    </a:lnTo>
                    <a:lnTo>
                      <a:pt x="133" y="256"/>
                    </a:lnTo>
                    <a:lnTo>
                      <a:pt x="133" y="249"/>
                    </a:lnTo>
                    <a:lnTo>
                      <a:pt x="142" y="240"/>
                    </a:lnTo>
                    <a:lnTo>
                      <a:pt x="141" y="231"/>
                    </a:lnTo>
                    <a:lnTo>
                      <a:pt x="147" y="234"/>
                    </a:lnTo>
                    <a:lnTo>
                      <a:pt x="171" y="246"/>
                    </a:lnTo>
                    <a:lnTo>
                      <a:pt x="172" y="240"/>
                    </a:lnTo>
                    <a:lnTo>
                      <a:pt x="175" y="226"/>
                    </a:lnTo>
                    <a:lnTo>
                      <a:pt x="177" y="204"/>
                    </a:lnTo>
                    <a:lnTo>
                      <a:pt x="183" y="195"/>
                    </a:lnTo>
                    <a:lnTo>
                      <a:pt x="187" y="204"/>
                    </a:lnTo>
                    <a:lnTo>
                      <a:pt x="204" y="207"/>
                    </a:lnTo>
                    <a:lnTo>
                      <a:pt x="210" y="199"/>
                    </a:lnTo>
                    <a:lnTo>
                      <a:pt x="225" y="195"/>
                    </a:lnTo>
                    <a:lnTo>
                      <a:pt x="238" y="187"/>
                    </a:lnTo>
                    <a:lnTo>
                      <a:pt x="270" y="213"/>
                    </a:lnTo>
                    <a:lnTo>
                      <a:pt x="277" y="205"/>
                    </a:lnTo>
                    <a:lnTo>
                      <a:pt x="303" y="231"/>
                    </a:lnTo>
                    <a:lnTo>
                      <a:pt x="303" y="240"/>
                    </a:lnTo>
                    <a:lnTo>
                      <a:pt x="313" y="259"/>
                    </a:lnTo>
                    <a:lnTo>
                      <a:pt x="331" y="258"/>
                    </a:lnTo>
                    <a:lnTo>
                      <a:pt x="343" y="256"/>
                    </a:lnTo>
                    <a:lnTo>
                      <a:pt x="348" y="249"/>
                    </a:lnTo>
                    <a:lnTo>
                      <a:pt x="346" y="238"/>
                    </a:lnTo>
                    <a:lnTo>
                      <a:pt x="363" y="231"/>
                    </a:lnTo>
                    <a:lnTo>
                      <a:pt x="366" y="225"/>
                    </a:lnTo>
                    <a:lnTo>
                      <a:pt x="376" y="223"/>
                    </a:lnTo>
                    <a:lnTo>
                      <a:pt x="355" y="193"/>
                    </a:lnTo>
                    <a:lnTo>
                      <a:pt x="337" y="192"/>
                    </a:lnTo>
                    <a:lnTo>
                      <a:pt x="325" y="193"/>
                    </a:lnTo>
                    <a:lnTo>
                      <a:pt x="312" y="184"/>
                    </a:lnTo>
                    <a:lnTo>
                      <a:pt x="310" y="177"/>
                    </a:lnTo>
                    <a:lnTo>
                      <a:pt x="321" y="150"/>
                    </a:lnTo>
                    <a:lnTo>
                      <a:pt x="330" y="147"/>
                    </a:lnTo>
                    <a:lnTo>
                      <a:pt x="337" y="153"/>
                    </a:lnTo>
                    <a:lnTo>
                      <a:pt x="346" y="147"/>
                    </a:lnTo>
                    <a:lnTo>
                      <a:pt x="351" y="144"/>
                    </a:lnTo>
                    <a:lnTo>
                      <a:pt x="354" y="139"/>
                    </a:lnTo>
                    <a:lnTo>
                      <a:pt x="375" y="147"/>
                    </a:lnTo>
                    <a:lnTo>
                      <a:pt x="379" y="139"/>
                    </a:lnTo>
                    <a:lnTo>
                      <a:pt x="387" y="145"/>
                    </a:lnTo>
                    <a:lnTo>
                      <a:pt x="397" y="141"/>
                    </a:lnTo>
                    <a:lnTo>
                      <a:pt x="397" y="135"/>
                    </a:lnTo>
                    <a:lnTo>
                      <a:pt x="397" y="126"/>
                    </a:lnTo>
                    <a:lnTo>
                      <a:pt x="421" y="120"/>
                    </a:lnTo>
                    <a:lnTo>
                      <a:pt x="430" y="124"/>
                    </a:lnTo>
                    <a:lnTo>
                      <a:pt x="439" y="111"/>
                    </a:lnTo>
                    <a:lnTo>
                      <a:pt x="442" y="97"/>
                    </a:lnTo>
                    <a:lnTo>
                      <a:pt x="435" y="93"/>
                    </a:lnTo>
                    <a:lnTo>
                      <a:pt x="435" y="84"/>
                    </a:lnTo>
                    <a:lnTo>
                      <a:pt x="409" y="84"/>
                    </a:lnTo>
                    <a:lnTo>
                      <a:pt x="405" y="78"/>
                    </a:lnTo>
                    <a:lnTo>
                      <a:pt x="394" y="73"/>
                    </a:lnTo>
                    <a:lnTo>
                      <a:pt x="402" y="63"/>
                    </a:lnTo>
                    <a:lnTo>
                      <a:pt x="390" y="64"/>
                    </a:lnTo>
                    <a:lnTo>
                      <a:pt x="382" y="60"/>
                    </a:lnTo>
                    <a:lnTo>
                      <a:pt x="375" y="63"/>
                    </a:lnTo>
                    <a:lnTo>
                      <a:pt x="370" y="58"/>
                    </a:lnTo>
                    <a:lnTo>
                      <a:pt x="379" y="51"/>
                    </a:lnTo>
                    <a:lnTo>
                      <a:pt x="375" y="42"/>
                    </a:lnTo>
                    <a:lnTo>
                      <a:pt x="373" y="31"/>
                    </a:lnTo>
                    <a:lnTo>
                      <a:pt x="379" y="31"/>
                    </a:lnTo>
                    <a:lnTo>
                      <a:pt x="382" y="21"/>
                    </a:lnTo>
                    <a:lnTo>
                      <a:pt x="394" y="21"/>
                    </a:lnTo>
                    <a:lnTo>
                      <a:pt x="394" y="10"/>
                    </a:lnTo>
                    <a:lnTo>
                      <a:pt x="402" y="3"/>
                    </a:lnTo>
                    <a:lnTo>
                      <a:pt x="423" y="0"/>
                    </a:lnTo>
                    <a:lnTo>
                      <a:pt x="430" y="6"/>
                    </a:lnTo>
                    <a:lnTo>
                      <a:pt x="429" y="16"/>
                    </a:lnTo>
                    <a:lnTo>
                      <a:pt x="436" y="24"/>
                    </a:lnTo>
                    <a:lnTo>
                      <a:pt x="438" y="31"/>
                    </a:lnTo>
                    <a:lnTo>
                      <a:pt x="445" y="34"/>
                    </a:lnTo>
                    <a:lnTo>
                      <a:pt x="454" y="45"/>
                    </a:lnTo>
                    <a:lnTo>
                      <a:pt x="478" y="67"/>
                    </a:lnTo>
                    <a:lnTo>
                      <a:pt x="468" y="102"/>
                    </a:lnTo>
                    <a:lnTo>
                      <a:pt x="480" y="109"/>
                    </a:lnTo>
                    <a:lnTo>
                      <a:pt x="489" y="115"/>
                    </a:lnTo>
                    <a:lnTo>
                      <a:pt x="496" y="118"/>
                    </a:lnTo>
                    <a:lnTo>
                      <a:pt x="514" y="121"/>
                    </a:lnTo>
                    <a:lnTo>
                      <a:pt x="523" y="105"/>
                    </a:lnTo>
                    <a:lnTo>
                      <a:pt x="535" y="106"/>
                    </a:lnTo>
                    <a:lnTo>
                      <a:pt x="540" y="102"/>
                    </a:lnTo>
                    <a:lnTo>
                      <a:pt x="534" y="87"/>
                    </a:lnTo>
                    <a:lnTo>
                      <a:pt x="540" y="81"/>
                    </a:lnTo>
                    <a:lnTo>
                      <a:pt x="535" y="75"/>
                    </a:lnTo>
                    <a:lnTo>
                      <a:pt x="529" y="67"/>
                    </a:lnTo>
                    <a:lnTo>
                      <a:pt x="529" y="49"/>
                    </a:lnTo>
                    <a:lnTo>
                      <a:pt x="537" y="31"/>
                    </a:lnTo>
                    <a:lnTo>
                      <a:pt x="540" y="34"/>
                    </a:lnTo>
                    <a:lnTo>
                      <a:pt x="544" y="28"/>
                    </a:lnTo>
                    <a:lnTo>
                      <a:pt x="553" y="30"/>
                    </a:lnTo>
                    <a:lnTo>
                      <a:pt x="553" y="51"/>
                    </a:lnTo>
                    <a:lnTo>
                      <a:pt x="568" y="43"/>
                    </a:lnTo>
                    <a:lnTo>
                      <a:pt x="579" y="58"/>
                    </a:lnTo>
                    <a:lnTo>
                      <a:pt x="588" y="73"/>
                    </a:lnTo>
                    <a:lnTo>
                      <a:pt x="597" y="60"/>
                    </a:lnTo>
                    <a:lnTo>
                      <a:pt x="592" y="52"/>
                    </a:lnTo>
                    <a:lnTo>
                      <a:pt x="598" y="49"/>
                    </a:lnTo>
                    <a:lnTo>
                      <a:pt x="607" y="55"/>
                    </a:lnTo>
                    <a:lnTo>
                      <a:pt x="616" y="57"/>
                    </a:lnTo>
                    <a:lnTo>
                      <a:pt x="624" y="66"/>
                    </a:lnTo>
                    <a:lnTo>
                      <a:pt x="643" y="69"/>
                    </a:lnTo>
                    <a:lnTo>
                      <a:pt x="646" y="75"/>
                    </a:lnTo>
                    <a:lnTo>
                      <a:pt x="643" y="88"/>
                    </a:lnTo>
                    <a:lnTo>
                      <a:pt x="648" y="94"/>
                    </a:lnTo>
                    <a:lnTo>
                      <a:pt x="663" y="79"/>
                    </a:lnTo>
                    <a:lnTo>
                      <a:pt x="658" y="63"/>
                    </a:lnTo>
                    <a:lnTo>
                      <a:pt x="675" y="42"/>
                    </a:lnTo>
                    <a:lnTo>
                      <a:pt x="682" y="49"/>
                    </a:lnTo>
                    <a:lnTo>
                      <a:pt x="690" y="63"/>
                    </a:lnTo>
                    <a:lnTo>
                      <a:pt x="693" y="84"/>
                    </a:lnTo>
                    <a:lnTo>
                      <a:pt x="706" y="108"/>
                    </a:lnTo>
                    <a:lnTo>
                      <a:pt x="708" y="120"/>
                    </a:lnTo>
                    <a:lnTo>
                      <a:pt x="699" y="150"/>
                    </a:lnTo>
                    <a:lnTo>
                      <a:pt x="715" y="150"/>
                    </a:lnTo>
                    <a:lnTo>
                      <a:pt x="727" y="156"/>
                    </a:lnTo>
                    <a:lnTo>
                      <a:pt x="750" y="180"/>
                    </a:lnTo>
                    <a:lnTo>
                      <a:pt x="757" y="186"/>
                    </a:lnTo>
                    <a:lnTo>
                      <a:pt x="771" y="184"/>
                    </a:lnTo>
                    <a:lnTo>
                      <a:pt x="780" y="189"/>
                    </a:lnTo>
                    <a:lnTo>
                      <a:pt x="786" y="192"/>
                    </a:lnTo>
                    <a:lnTo>
                      <a:pt x="795" y="199"/>
                    </a:lnTo>
                    <a:lnTo>
                      <a:pt x="804" y="199"/>
                    </a:lnTo>
                    <a:lnTo>
                      <a:pt x="810" y="193"/>
                    </a:lnTo>
                    <a:lnTo>
                      <a:pt x="804" y="181"/>
                    </a:lnTo>
                    <a:lnTo>
                      <a:pt x="811" y="180"/>
                    </a:lnTo>
                    <a:lnTo>
                      <a:pt x="817" y="184"/>
                    </a:lnTo>
                    <a:lnTo>
                      <a:pt x="822" y="199"/>
                    </a:lnTo>
                    <a:lnTo>
                      <a:pt x="828" y="202"/>
                    </a:lnTo>
                    <a:lnTo>
                      <a:pt x="835" y="196"/>
                    </a:lnTo>
                    <a:lnTo>
                      <a:pt x="840" y="202"/>
                    </a:lnTo>
                    <a:lnTo>
                      <a:pt x="840" y="216"/>
                    </a:lnTo>
                    <a:lnTo>
                      <a:pt x="847" y="228"/>
                    </a:lnTo>
                    <a:lnTo>
                      <a:pt x="852" y="229"/>
                    </a:lnTo>
                    <a:lnTo>
                      <a:pt x="856" y="217"/>
                    </a:lnTo>
                    <a:lnTo>
                      <a:pt x="865" y="214"/>
                    </a:lnTo>
                    <a:lnTo>
                      <a:pt x="873" y="220"/>
                    </a:lnTo>
                    <a:lnTo>
                      <a:pt x="879" y="223"/>
                    </a:lnTo>
                    <a:lnTo>
                      <a:pt x="888" y="225"/>
                    </a:lnTo>
                    <a:lnTo>
                      <a:pt x="889" y="231"/>
                    </a:lnTo>
                    <a:lnTo>
                      <a:pt x="894" y="247"/>
                    </a:lnTo>
                    <a:lnTo>
                      <a:pt x="892" y="267"/>
                    </a:lnTo>
                    <a:lnTo>
                      <a:pt x="891" y="271"/>
                    </a:lnTo>
                    <a:lnTo>
                      <a:pt x="900" y="283"/>
                    </a:lnTo>
                    <a:lnTo>
                      <a:pt x="898" y="288"/>
                    </a:lnTo>
                    <a:lnTo>
                      <a:pt x="889" y="291"/>
                    </a:lnTo>
                    <a:lnTo>
                      <a:pt x="888" y="297"/>
                    </a:lnTo>
                    <a:lnTo>
                      <a:pt x="897" y="307"/>
                    </a:lnTo>
                    <a:lnTo>
                      <a:pt x="912" y="312"/>
                    </a:lnTo>
                    <a:lnTo>
                      <a:pt x="916" y="319"/>
                    </a:lnTo>
                    <a:lnTo>
                      <a:pt x="918" y="327"/>
                    </a:lnTo>
                    <a:lnTo>
                      <a:pt x="913" y="336"/>
                    </a:lnTo>
                    <a:lnTo>
                      <a:pt x="909" y="343"/>
                    </a:lnTo>
                    <a:lnTo>
                      <a:pt x="909" y="355"/>
                    </a:lnTo>
                    <a:lnTo>
                      <a:pt x="918" y="364"/>
                    </a:lnTo>
                    <a:lnTo>
                      <a:pt x="919" y="388"/>
                    </a:lnTo>
                    <a:lnTo>
                      <a:pt x="924" y="402"/>
                    </a:lnTo>
                    <a:lnTo>
                      <a:pt x="931" y="409"/>
                    </a:lnTo>
                    <a:lnTo>
                      <a:pt x="924" y="415"/>
                    </a:lnTo>
                    <a:lnTo>
                      <a:pt x="897" y="400"/>
                    </a:lnTo>
                    <a:lnTo>
                      <a:pt x="885" y="409"/>
                    </a:lnTo>
                    <a:lnTo>
                      <a:pt x="879" y="414"/>
                    </a:lnTo>
                    <a:lnTo>
                      <a:pt x="879" y="435"/>
                    </a:lnTo>
                    <a:lnTo>
                      <a:pt x="891" y="442"/>
                    </a:lnTo>
                    <a:lnTo>
                      <a:pt x="915" y="450"/>
                    </a:lnTo>
                    <a:lnTo>
                      <a:pt x="922" y="468"/>
                    </a:lnTo>
                    <a:lnTo>
                      <a:pt x="918" y="501"/>
                    </a:lnTo>
                    <a:lnTo>
                      <a:pt x="915" y="516"/>
                    </a:lnTo>
                    <a:lnTo>
                      <a:pt x="901" y="519"/>
                    </a:lnTo>
                    <a:lnTo>
                      <a:pt x="895" y="523"/>
                    </a:lnTo>
                    <a:lnTo>
                      <a:pt x="886" y="529"/>
                    </a:lnTo>
                    <a:lnTo>
                      <a:pt x="850" y="532"/>
                    </a:lnTo>
                    <a:lnTo>
                      <a:pt x="840" y="537"/>
                    </a:lnTo>
                    <a:lnTo>
                      <a:pt x="831" y="547"/>
                    </a:lnTo>
                    <a:lnTo>
                      <a:pt x="825" y="556"/>
                    </a:lnTo>
                    <a:lnTo>
                      <a:pt x="822" y="574"/>
                    </a:lnTo>
                    <a:lnTo>
                      <a:pt x="820" y="580"/>
                    </a:lnTo>
                    <a:lnTo>
                      <a:pt x="826" y="586"/>
                    </a:lnTo>
                    <a:lnTo>
                      <a:pt x="843" y="591"/>
                    </a:lnTo>
                    <a:lnTo>
                      <a:pt x="852" y="597"/>
                    </a:lnTo>
                    <a:lnTo>
                      <a:pt x="861" y="606"/>
                    </a:lnTo>
                    <a:lnTo>
                      <a:pt x="868" y="624"/>
                    </a:lnTo>
                    <a:lnTo>
                      <a:pt x="868" y="628"/>
                    </a:lnTo>
                    <a:lnTo>
                      <a:pt x="862" y="639"/>
                    </a:lnTo>
                    <a:lnTo>
                      <a:pt x="867" y="649"/>
                    </a:lnTo>
                    <a:lnTo>
                      <a:pt x="871" y="654"/>
                    </a:lnTo>
                    <a:lnTo>
                      <a:pt x="883" y="655"/>
                    </a:lnTo>
                    <a:lnTo>
                      <a:pt x="889" y="666"/>
                    </a:lnTo>
                    <a:lnTo>
                      <a:pt x="898" y="672"/>
                    </a:lnTo>
                    <a:lnTo>
                      <a:pt x="909" y="673"/>
                    </a:lnTo>
                    <a:lnTo>
                      <a:pt x="931" y="672"/>
                    </a:lnTo>
                    <a:lnTo>
                      <a:pt x="936" y="669"/>
                    </a:lnTo>
                    <a:lnTo>
                      <a:pt x="946" y="666"/>
                    </a:lnTo>
                    <a:lnTo>
                      <a:pt x="957" y="663"/>
                    </a:lnTo>
                    <a:lnTo>
                      <a:pt x="961" y="661"/>
                    </a:lnTo>
                    <a:lnTo>
                      <a:pt x="969" y="648"/>
                    </a:lnTo>
                    <a:lnTo>
                      <a:pt x="990" y="646"/>
                    </a:lnTo>
                    <a:lnTo>
                      <a:pt x="993" y="657"/>
                    </a:lnTo>
                    <a:lnTo>
                      <a:pt x="999" y="673"/>
                    </a:lnTo>
                    <a:lnTo>
                      <a:pt x="1008" y="681"/>
                    </a:lnTo>
                    <a:lnTo>
                      <a:pt x="1017" y="687"/>
                    </a:lnTo>
                    <a:lnTo>
                      <a:pt x="1044" y="708"/>
                    </a:lnTo>
                    <a:lnTo>
                      <a:pt x="1066" y="723"/>
                    </a:lnTo>
                    <a:lnTo>
                      <a:pt x="1062" y="753"/>
                    </a:lnTo>
                    <a:lnTo>
                      <a:pt x="1068" y="762"/>
                    </a:lnTo>
                    <a:lnTo>
                      <a:pt x="1068" y="771"/>
                    </a:lnTo>
                    <a:lnTo>
                      <a:pt x="1071" y="780"/>
                    </a:lnTo>
                    <a:lnTo>
                      <a:pt x="1081" y="778"/>
                    </a:lnTo>
                    <a:lnTo>
                      <a:pt x="1083" y="766"/>
                    </a:lnTo>
                    <a:lnTo>
                      <a:pt x="1087" y="760"/>
                    </a:lnTo>
                    <a:lnTo>
                      <a:pt x="1102" y="747"/>
                    </a:lnTo>
                    <a:lnTo>
                      <a:pt x="1117" y="742"/>
                    </a:lnTo>
                    <a:lnTo>
                      <a:pt x="1123" y="739"/>
                    </a:lnTo>
                    <a:lnTo>
                      <a:pt x="1128" y="724"/>
                    </a:lnTo>
                    <a:lnTo>
                      <a:pt x="1135" y="708"/>
                    </a:lnTo>
                    <a:lnTo>
                      <a:pt x="1141" y="703"/>
                    </a:lnTo>
                    <a:lnTo>
                      <a:pt x="1144" y="705"/>
                    </a:lnTo>
                    <a:lnTo>
                      <a:pt x="1152" y="711"/>
                    </a:lnTo>
                    <a:lnTo>
                      <a:pt x="1174" y="705"/>
                    </a:lnTo>
                    <a:lnTo>
                      <a:pt x="1195" y="696"/>
                    </a:lnTo>
                    <a:lnTo>
                      <a:pt x="1210" y="681"/>
                    </a:lnTo>
                    <a:lnTo>
                      <a:pt x="1210" y="663"/>
                    </a:lnTo>
                    <a:lnTo>
                      <a:pt x="1212" y="648"/>
                    </a:lnTo>
                    <a:lnTo>
                      <a:pt x="1204" y="613"/>
                    </a:lnTo>
                    <a:lnTo>
                      <a:pt x="1204" y="601"/>
                    </a:lnTo>
                    <a:lnTo>
                      <a:pt x="1198" y="597"/>
                    </a:lnTo>
                    <a:lnTo>
                      <a:pt x="1189" y="567"/>
                    </a:lnTo>
                    <a:lnTo>
                      <a:pt x="1189" y="558"/>
                    </a:lnTo>
                    <a:lnTo>
                      <a:pt x="1192" y="556"/>
                    </a:lnTo>
                    <a:lnTo>
                      <a:pt x="1210" y="550"/>
                    </a:lnTo>
                    <a:lnTo>
                      <a:pt x="1225" y="547"/>
                    </a:lnTo>
                    <a:lnTo>
                      <a:pt x="1236" y="546"/>
                    </a:lnTo>
                    <a:lnTo>
                      <a:pt x="1248" y="547"/>
                    </a:lnTo>
                    <a:lnTo>
                      <a:pt x="1293" y="552"/>
                    </a:lnTo>
                    <a:lnTo>
                      <a:pt x="1300" y="552"/>
                    </a:lnTo>
                    <a:lnTo>
                      <a:pt x="1326" y="541"/>
                    </a:lnTo>
                    <a:lnTo>
                      <a:pt x="1335" y="540"/>
                    </a:lnTo>
                    <a:lnTo>
                      <a:pt x="1345" y="546"/>
                    </a:lnTo>
                    <a:lnTo>
                      <a:pt x="1368" y="546"/>
                    </a:lnTo>
                    <a:lnTo>
                      <a:pt x="1384" y="546"/>
                    </a:lnTo>
                    <a:lnTo>
                      <a:pt x="1416" y="555"/>
                    </a:lnTo>
                    <a:lnTo>
                      <a:pt x="1431" y="553"/>
                    </a:lnTo>
                    <a:lnTo>
                      <a:pt x="1443" y="552"/>
                    </a:lnTo>
                    <a:lnTo>
                      <a:pt x="1461" y="555"/>
                    </a:lnTo>
                    <a:lnTo>
                      <a:pt x="1503" y="555"/>
                    </a:lnTo>
                    <a:lnTo>
                      <a:pt x="1519" y="553"/>
                    </a:lnTo>
                    <a:lnTo>
                      <a:pt x="1531" y="535"/>
                    </a:lnTo>
                    <a:lnTo>
                      <a:pt x="1540" y="517"/>
                    </a:lnTo>
                    <a:lnTo>
                      <a:pt x="1552" y="499"/>
                    </a:lnTo>
                    <a:lnTo>
                      <a:pt x="1561" y="487"/>
                    </a:lnTo>
                    <a:lnTo>
                      <a:pt x="1573" y="481"/>
                    </a:lnTo>
                    <a:lnTo>
                      <a:pt x="1614" y="459"/>
                    </a:lnTo>
                    <a:lnTo>
                      <a:pt x="1623" y="460"/>
                    </a:lnTo>
                    <a:lnTo>
                      <a:pt x="1636" y="480"/>
                    </a:lnTo>
                    <a:lnTo>
                      <a:pt x="1648" y="483"/>
                    </a:lnTo>
                    <a:lnTo>
                      <a:pt x="1654" y="489"/>
                    </a:lnTo>
                    <a:lnTo>
                      <a:pt x="1662" y="496"/>
                    </a:lnTo>
                    <a:lnTo>
                      <a:pt x="1692" y="510"/>
                    </a:lnTo>
                    <a:lnTo>
                      <a:pt x="1710" y="513"/>
                    </a:lnTo>
                    <a:lnTo>
                      <a:pt x="1734" y="528"/>
                    </a:lnTo>
                    <a:lnTo>
                      <a:pt x="1755" y="541"/>
                    </a:lnTo>
                    <a:lnTo>
                      <a:pt x="1753" y="598"/>
                    </a:lnTo>
                    <a:lnTo>
                      <a:pt x="1746" y="597"/>
                    </a:lnTo>
                    <a:lnTo>
                      <a:pt x="1750" y="607"/>
                    </a:lnTo>
                    <a:lnTo>
                      <a:pt x="1750" y="621"/>
                    </a:lnTo>
                    <a:lnTo>
                      <a:pt x="1750" y="666"/>
                    </a:lnTo>
                    <a:lnTo>
                      <a:pt x="1749" y="691"/>
                    </a:lnTo>
                    <a:lnTo>
                      <a:pt x="1752" y="699"/>
                    </a:lnTo>
                    <a:lnTo>
                      <a:pt x="1750" y="778"/>
                    </a:lnTo>
                    <a:lnTo>
                      <a:pt x="1752" y="801"/>
                    </a:lnTo>
                    <a:lnTo>
                      <a:pt x="1758" y="828"/>
                    </a:lnTo>
                    <a:lnTo>
                      <a:pt x="1756" y="838"/>
                    </a:lnTo>
                    <a:lnTo>
                      <a:pt x="1758" y="858"/>
                    </a:lnTo>
                    <a:lnTo>
                      <a:pt x="1762" y="898"/>
                    </a:lnTo>
                    <a:lnTo>
                      <a:pt x="1773" y="910"/>
                    </a:lnTo>
                    <a:lnTo>
                      <a:pt x="1798" y="918"/>
                    </a:lnTo>
                    <a:lnTo>
                      <a:pt x="1810" y="921"/>
                    </a:lnTo>
                    <a:lnTo>
                      <a:pt x="1831" y="925"/>
                    </a:lnTo>
                    <a:lnTo>
                      <a:pt x="1825" y="933"/>
                    </a:lnTo>
                    <a:lnTo>
                      <a:pt x="1824" y="942"/>
                    </a:lnTo>
                    <a:lnTo>
                      <a:pt x="1830" y="946"/>
                    </a:lnTo>
                    <a:lnTo>
                      <a:pt x="1828" y="957"/>
                    </a:lnTo>
                    <a:lnTo>
                      <a:pt x="1827" y="969"/>
                    </a:lnTo>
                    <a:lnTo>
                      <a:pt x="1840" y="973"/>
                    </a:lnTo>
                    <a:lnTo>
                      <a:pt x="1848" y="981"/>
                    </a:lnTo>
                    <a:lnTo>
                      <a:pt x="1851" y="994"/>
                    </a:lnTo>
                    <a:lnTo>
                      <a:pt x="1852" y="1008"/>
                    </a:lnTo>
                    <a:lnTo>
                      <a:pt x="1860" y="1020"/>
                    </a:lnTo>
                    <a:lnTo>
                      <a:pt x="1815" y="1018"/>
                    </a:lnTo>
                    <a:lnTo>
                      <a:pt x="1795" y="1026"/>
                    </a:lnTo>
                    <a:lnTo>
                      <a:pt x="1777" y="1021"/>
                    </a:lnTo>
                    <a:lnTo>
                      <a:pt x="1762" y="997"/>
                    </a:lnTo>
                    <a:lnTo>
                      <a:pt x="1750" y="984"/>
                    </a:lnTo>
                    <a:lnTo>
                      <a:pt x="1720" y="976"/>
                    </a:lnTo>
                    <a:lnTo>
                      <a:pt x="1707" y="979"/>
                    </a:lnTo>
                    <a:lnTo>
                      <a:pt x="1677" y="970"/>
                    </a:lnTo>
                    <a:lnTo>
                      <a:pt x="1668" y="973"/>
                    </a:lnTo>
                    <a:close/>
                  </a:path>
                </a:pathLst>
              </a:custGeom>
              <a:no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4" name="Freeform 325">
                <a:extLst>
                  <a:ext uri="{FF2B5EF4-FFF2-40B4-BE49-F238E27FC236}">
                    <a16:creationId xmlns:a16="http://schemas.microsoft.com/office/drawing/2014/main" id="{C32BD8FD-DC41-8225-45E7-FF5ECAB5FDAB}"/>
                  </a:ext>
                </a:extLst>
              </p:cNvPr>
              <p:cNvSpPr>
                <a:spLocks/>
              </p:cNvSpPr>
              <p:nvPr/>
            </p:nvSpPr>
            <p:spPr bwMode="auto">
              <a:xfrm>
                <a:off x="3149" y="1802"/>
                <a:ext cx="416" cy="709"/>
              </a:xfrm>
              <a:custGeom>
                <a:avLst/>
                <a:gdLst>
                  <a:gd name="T0" fmla="*/ 0 w 1248"/>
                  <a:gd name="T1" fmla="*/ 0 h 2127"/>
                  <a:gd name="T2" fmla="*/ 0 w 1248"/>
                  <a:gd name="T3" fmla="*/ 0 h 2127"/>
                  <a:gd name="T4" fmla="*/ 0 w 1248"/>
                  <a:gd name="T5" fmla="*/ 0 h 2127"/>
                  <a:gd name="T6" fmla="*/ 0 w 1248"/>
                  <a:gd name="T7" fmla="*/ 0 h 2127"/>
                  <a:gd name="T8" fmla="*/ 0 w 1248"/>
                  <a:gd name="T9" fmla="*/ 0 h 2127"/>
                  <a:gd name="T10" fmla="*/ 0 w 1248"/>
                  <a:gd name="T11" fmla="*/ 0 h 2127"/>
                  <a:gd name="T12" fmla="*/ 0 w 1248"/>
                  <a:gd name="T13" fmla="*/ 0 h 2127"/>
                  <a:gd name="T14" fmla="*/ 0 w 1248"/>
                  <a:gd name="T15" fmla="*/ 0 h 2127"/>
                  <a:gd name="T16" fmla="*/ 0 w 1248"/>
                  <a:gd name="T17" fmla="*/ 0 h 2127"/>
                  <a:gd name="T18" fmla="*/ 0 w 1248"/>
                  <a:gd name="T19" fmla="*/ 0 h 2127"/>
                  <a:gd name="T20" fmla="*/ 0 w 1248"/>
                  <a:gd name="T21" fmla="*/ 0 h 2127"/>
                  <a:gd name="T22" fmla="*/ 0 w 1248"/>
                  <a:gd name="T23" fmla="*/ 0 h 2127"/>
                  <a:gd name="T24" fmla="*/ 0 w 1248"/>
                  <a:gd name="T25" fmla="*/ 0 h 2127"/>
                  <a:gd name="T26" fmla="*/ 0 w 1248"/>
                  <a:gd name="T27" fmla="*/ 0 h 2127"/>
                  <a:gd name="T28" fmla="*/ 0 w 1248"/>
                  <a:gd name="T29" fmla="*/ 0 h 2127"/>
                  <a:gd name="T30" fmla="*/ 0 w 1248"/>
                  <a:gd name="T31" fmla="*/ 0 h 2127"/>
                  <a:gd name="T32" fmla="*/ 0 w 1248"/>
                  <a:gd name="T33" fmla="*/ 0 h 2127"/>
                  <a:gd name="T34" fmla="*/ 0 w 1248"/>
                  <a:gd name="T35" fmla="*/ 0 h 2127"/>
                  <a:gd name="T36" fmla="*/ 0 w 1248"/>
                  <a:gd name="T37" fmla="*/ 0 h 2127"/>
                  <a:gd name="T38" fmla="*/ 0 w 1248"/>
                  <a:gd name="T39" fmla="*/ 0 h 2127"/>
                  <a:gd name="T40" fmla="*/ 0 w 1248"/>
                  <a:gd name="T41" fmla="*/ 0 h 2127"/>
                  <a:gd name="T42" fmla="*/ 0 w 1248"/>
                  <a:gd name="T43" fmla="*/ 0 h 2127"/>
                  <a:gd name="T44" fmla="*/ 0 w 1248"/>
                  <a:gd name="T45" fmla="*/ 0 h 2127"/>
                  <a:gd name="T46" fmla="*/ 0 w 1248"/>
                  <a:gd name="T47" fmla="*/ 0 h 2127"/>
                  <a:gd name="T48" fmla="*/ 0 w 1248"/>
                  <a:gd name="T49" fmla="*/ 0 h 2127"/>
                  <a:gd name="T50" fmla="*/ 0 w 1248"/>
                  <a:gd name="T51" fmla="*/ 0 h 2127"/>
                  <a:gd name="T52" fmla="*/ 0 w 1248"/>
                  <a:gd name="T53" fmla="*/ 0 h 2127"/>
                  <a:gd name="T54" fmla="*/ 0 w 1248"/>
                  <a:gd name="T55" fmla="*/ 0 h 2127"/>
                  <a:gd name="T56" fmla="*/ 0 w 1248"/>
                  <a:gd name="T57" fmla="*/ 0 h 2127"/>
                  <a:gd name="T58" fmla="*/ 0 w 1248"/>
                  <a:gd name="T59" fmla="*/ 0 h 2127"/>
                  <a:gd name="T60" fmla="*/ 0 w 1248"/>
                  <a:gd name="T61" fmla="*/ 0 h 2127"/>
                  <a:gd name="T62" fmla="*/ 0 w 1248"/>
                  <a:gd name="T63" fmla="*/ 0 h 2127"/>
                  <a:gd name="T64" fmla="*/ 0 w 1248"/>
                  <a:gd name="T65" fmla="*/ 0 h 2127"/>
                  <a:gd name="T66" fmla="*/ 0 w 1248"/>
                  <a:gd name="T67" fmla="*/ 0 h 2127"/>
                  <a:gd name="T68" fmla="*/ 0 w 1248"/>
                  <a:gd name="T69" fmla="*/ 0 h 2127"/>
                  <a:gd name="T70" fmla="*/ 0 w 1248"/>
                  <a:gd name="T71" fmla="*/ 0 h 2127"/>
                  <a:gd name="T72" fmla="*/ 0 w 1248"/>
                  <a:gd name="T73" fmla="*/ 0 h 2127"/>
                  <a:gd name="T74" fmla="*/ 0 w 1248"/>
                  <a:gd name="T75" fmla="*/ 0 h 2127"/>
                  <a:gd name="T76" fmla="*/ 0 w 1248"/>
                  <a:gd name="T77" fmla="*/ 0 h 2127"/>
                  <a:gd name="T78" fmla="*/ 0 w 1248"/>
                  <a:gd name="T79" fmla="*/ 0 h 2127"/>
                  <a:gd name="T80" fmla="*/ 0 w 1248"/>
                  <a:gd name="T81" fmla="*/ 0 h 2127"/>
                  <a:gd name="T82" fmla="*/ 0 w 1248"/>
                  <a:gd name="T83" fmla="*/ 0 h 2127"/>
                  <a:gd name="T84" fmla="*/ 0 w 1248"/>
                  <a:gd name="T85" fmla="*/ 0 h 2127"/>
                  <a:gd name="T86" fmla="*/ 0 w 1248"/>
                  <a:gd name="T87" fmla="*/ 0 h 2127"/>
                  <a:gd name="T88" fmla="*/ 0 w 1248"/>
                  <a:gd name="T89" fmla="*/ 0 h 2127"/>
                  <a:gd name="T90" fmla="*/ 0 w 1248"/>
                  <a:gd name="T91" fmla="*/ 0 h 2127"/>
                  <a:gd name="T92" fmla="*/ 0 w 1248"/>
                  <a:gd name="T93" fmla="*/ 0 h 2127"/>
                  <a:gd name="T94" fmla="*/ 0 w 1248"/>
                  <a:gd name="T95" fmla="*/ 0 h 2127"/>
                  <a:gd name="T96" fmla="*/ 0 w 1248"/>
                  <a:gd name="T97" fmla="*/ 0 h 2127"/>
                  <a:gd name="T98" fmla="*/ 0 w 1248"/>
                  <a:gd name="T99" fmla="*/ 0 h 2127"/>
                  <a:gd name="T100" fmla="*/ 0 w 1248"/>
                  <a:gd name="T101" fmla="*/ 0 h 2127"/>
                  <a:gd name="T102" fmla="*/ 0 w 1248"/>
                  <a:gd name="T103" fmla="*/ 0 h 2127"/>
                  <a:gd name="T104" fmla="*/ 0 w 1248"/>
                  <a:gd name="T105" fmla="*/ 0 h 2127"/>
                  <a:gd name="T106" fmla="*/ 0 w 1248"/>
                  <a:gd name="T107" fmla="*/ 0 h 2127"/>
                  <a:gd name="T108" fmla="*/ 0 w 1248"/>
                  <a:gd name="T109" fmla="*/ 0 h 2127"/>
                  <a:gd name="T110" fmla="*/ 0 w 1248"/>
                  <a:gd name="T111" fmla="*/ 0 h 2127"/>
                  <a:gd name="T112" fmla="*/ 0 w 1248"/>
                  <a:gd name="T113" fmla="*/ 0 h 2127"/>
                  <a:gd name="T114" fmla="*/ 0 w 1248"/>
                  <a:gd name="T115" fmla="*/ 0 h 2127"/>
                  <a:gd name="T116" fmla="*/ 0 w 1248"/>
                  <a:gd name="T117" fmla="*/ 0 h 2127"/>
                  <a:gd name="T118" fmla="*/ 0 w 1248"/>
                  <a:gd name="T119" fmla="*/ 0 h 2127"/>
                  <a:gd name="T120" fmla="*/ 0 w 1248"/>
                  <a:gd name="T121" fmla="*/ 0 h 2127"/>
                  <a:gd name="T122" fmla="*/ 0 w 1248"/>
                  <a:gd name="T123" fmla="*/ 0 h 21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48" h="2127">
                    <a:moveTo>
                      <a:pt x="620" y="1079"/>
                    </a:moveTo>
                    <a:lnTo>
                      <a:pt x="629" y="1083"/>
                    </a:lnTo>
                    <a:lnTo>
                      <a:pt x="642" y="1086"/>
                    </a:lnTo>
                    <a:lnTo>
                      <a:pt x="644" y="1092"/>
                    </a:lnTo>
                    <a:lnTo>
                      <a:pt x="638" y="1104"/>
                    </a:lnTo>
                    <a:lnTo>
                      <a:pt x="641" y="1116"/>
                    </a:lnTo>
                    <a:lnTo>
                      <a:pt x="644" y="1121"/>
                    </a:lnTo>
                    <a:lnTo>
                      <a:pt x="638" y="1128"/>
                    </a:lnTo>
                    <a:lnTo>
                      <a:pt x="633" y="1128"/>
                    </a:lnTo>
                    <a:lnTo>
                      <a:pt x="621" y="1146"/>
                    </a:lnTo>
                    <a:lnTo>
                      <a:pt x="626" y="1154"/>
                    </a:lnTo>
                    <a:lnTo>
                      <a:pt x="635" y="1151"/>
                    </a:lnTo>
                    <a:lnTo>
                      <a:pt x="636" y="1160"/>
                    </a:lnTo>
                    <a:lnTo>
                      <a:pt x="633" y="1164"/>
                    </a:lnTo>
                    <a:lnTo>
                      <a:pt x="626" y="1161"/>
                    </a:lnTo>
                    <a:lnTo>
                      <a:pt x="617" y="1167"/>
                    </a:lnTo>
                    <a:lnTo>
                      <a:pt x="614" y="1181"/>
                    </a:lnTo>
                    <a:lnTo>
                      <a:pt x="615" y="1185"/>
                    </a:lnTo>
                    <a:lnTo>
                      <a:pt x="621" y="1182"/>
                    </a:lnTo>
                    <a:lnTo>
                      <a:pt x="621" y="1187"/>
                    </a:lnTo>
                    <a:lnTo>
                      <a:pt x="626" y="1190"/>
                    </a:lnTo>
                    <a:lnTo>
                      <a:pt x="621" y="1197"/>
                    </a:lnTo>
                    <a:lnTo>
                      <a:pt x="608" y="1196"/>
                    </a:lnTo>
                    <a:lnTo>
                      <a:pt x="600" y="1212"/>
                    </a:lnTo>
                    <a:lnTo>
                      <a:pt x="591" y="1218"/>
                    </a:lnTo>
                    <a:lnTo>
                      <a:pt x="587" y="1224"/>
                    </a:lnTo>
                    <a:lnTo>
                      <a:pt x="590" y="1232"/>
                    </a:lnTo>
                    <a:lnTo>
                      <a:pt x="594" y="1232"/>
                    </a:lnTo>
                    <a:lnTo>
                      <a:pt x="594" y="1238"/>
                    </a:lnTo>
                    <a:lnTo>
                      <a:pt x="600" y="1248"/>
                    </a:lnTo>
                    <a:lnTo>
                      <a:pt x="605" y="1247"/>
                    </a:lnTo>
                    <a:lnTo>
                      <a:pt x="603" y="1254"/>
                    </a:lnTo>
                    <a:lnTo>
                      <a:pt x="614" y="1265"/>
                    </a:lnTo>
                    <a:lnTo>
                      <a:pt x="618" y="1266"/>
                    </a:lnTo>
                    <a:lnTo>
                      <a:pt x="618" y="1271"/>
                    </a:lnTo>
                    <a:lnTo>
                      <a:pt x="630" y="1269"/>
                    </a:lnTo>
                    <a:lnTo>
                      <a:pt x="635" y="1274"/>
                    </a:lnTo>
                    <a:lnTo>
                      <a:pt x="642" y="1268"/>
                    </a:lnTo>
                    <a:lnTo>
                      <a:pt x="650" y="1268"/>
                    </a:lnTo>
                    <a:lnTo>
                      <a:pt x="650" y="1269"/>
                    </a:lnTo>
                    <a:lnTo>
                      <a:pt x="654" y="1268"/>
                    </a:lnTo>
                    <a:lnTo>
                      <a:pt x="656" y="1271"/>
                    </a:lnTo>
                    <a:lnTo>
                      <a:pt x="654" y="1275"/>
                    </a:lnTo>
                    <a:lnTo>
                      <a:pt x="657" y="1284"/>
                    </a:lnTo>
                    <a:lnTo>
                      <a:pt x="659" y="1284"/>
                    </a:lnTo>
                    <a:lnTo>
                      <a:pt x="659" y="1287"/>
                    </a:lnTo>
                    <a:lnTo>
                      <a:pt x="648" y="1298"/>
                    </a:lnTo>
                    <a:lnTo>
                      <a:pt x="654" y="1304"/>
                    </a:lnTo>
                    <a:lnTo>
                      <a:pt x="659" y="1302"/>
                    </a:lnTo>
                    <a:lnTo>
                      <a:pt x="674" y="1317"/>
                    </a:lnTo>
                    <a:lnTo>
                      <a:pt x="681" y="1313"/>
                    </a:lnTo>
                    <a:lnTo>
                      <a:pt x="683" y="1323"/>
                    </a:lnTo>
                    <a:lnTo>
                      <a:pt x="687" y="1329"/>
                    </a:lnTo>
                    <a:lnTo>
                      <a:pt x="687" y="1337"/>
                    </a:lnTo>
                    <a:lnTo>
                      <a:pt x="680" y="1338"/>
                    </a:lnTo>
                    <a:lnTo>
                      <a:pt x="678" y="1347"/>
                    </a:lnTo>
                    <a:lnTo>
                      <a:pt x="675" y="1355"/>
                    </a:lnTo>
                    <a:lnTo>
                      <a:pt x="684" y="1355"/>
                    </a:lnTo>
                    <a:lnTo>
                      <a:pt x="684" y="1365"/>
                    </a:lnTo>
                    <a:lnTo>
                      <a:pt x="684" y="1371"/>
                    </a:lnTo>
                    <a:lnTo>
                      <a:pt x="690" y="1374"/>
                    </a:lnTo>
                    <a:lnTo>
                      <a:pt x="693" y="1370"/>
                    </a:lnTo>
                    <a:lnTo>
                      <a:pt x="702" y="1377"/>
                    </a:lnTo>
                    <a:lnTo>
                      <a:pt x="701" y="1382"/>
                    </a:lnTo>
                    <a:lnTo>
                      <a:pt x="705" y="1388"/>
                    </a:lnTo>
                    <a:lnTo>
                      <a:pt x="710" y="1385"/>
                    </a:lnTo>
                    <a:lnTo>
                      <a:pt x="714" y="1388"/>
                    </a:lnTo>
                    <a:lnTo>
                      <a:pt x="714" y="1400"/>
                    </a:lnTo>
                    <a:lnTo>
                      <a:pt x="710" y="1406"/>
                    </a:lnTo>
                    <a:lnTo>
                      <a:pt x="711" y="1419"/>
                    </a:lnTo>
                    <a:lnTo>
                      <a:pt x="717" y="1433"/>
                    </a:lnTo>
                    <a:lnTo>
                      <a:pt x="723" y="1437"/>
                    </a:lnTo>
                    <a:lnTo>
                      <a:pt x="716" y="1443"/>
                    </a:lnTo>
                    <a:lnTo>
                      <a:pt x="710" y="1463"/>
                    </a:lnTo>
                    <a:lnTo>
                      <a:pt x="714" y="1479"/>
                    </a:lnTo>
                    <a:lnTo>
                      <a:pt x="722" y="1482"/>
                    </a:lnTo>
                    <a:lnTo>
                      <a:pt x="729" y="1478"/>
                    </a:lnTo>
                    <a:lnTo>
                      <a:pt x="738" y="1485"/>
                    </a:lnTo>
                    <a:lnTo>
                      <a:pt x="741" y="1506"/>
                    </a:lnTo>
                    <a:lnTo>
                      <a:pt x="735" y="1518"/>
                    </a:lnTo>
                    <a:lnTo>
                      <a:pt x="728" y="1518"/>
                    </a:lnTo>
                    <a:lnTo>
                      <a:pt x="722" y="1523"/>
                    </a:lnTo>
                    <a:lnTo>
                      <a:pt x="719" y="1523"/>
                    </a:lnTo>
                    <a:lnTo>
                      <a:pt x="716" y="1529"/>
                    </a:lnTo>
                    <a:lnTo>
                      <a:pt x="698" y="1538"/>
                    </a:lnTo>
                    <a:lnTo>
                      <a:pt x="696" y="1542"/>
                    </a:lnTo>
                    <a:lnTo>
                      <a:pt x="701" y="1545"/>
                    </a:lnTo>
                    <a:lnTo>
                      <a:pt x="698" y="1548"/>
                    </a:lnTo>
                    <a:lnTo>
                      <a:pt x="690" y="1547"/>
                    </a:lnTo>
                    <a:lnTo>
                      <a:pt x="692" y="1554"/>
                    </a:lnTo>
                    <a:lnTo>
                      <a:pt x="698" y="1559"/>
                    </a:lnTo>
                    <a:lnTo>
                      <a:pt x="708" y="1556"/>
                    </a:lnTo>
                    <a:lnTo>
                      <a:pt x="722" y="1575"/>
                    </a:lnTo>
                    <a:lnTo>
                      <a:pt x="729" y="1568"/>
                    </a:lnTo>
                    <a:lnTo>
                      <a:pt x="737" y="1574"/>
                    </a:lnTo>
                    <a:lnTo>
                      <a:pt x="747" y="1572"/>
                    </a:lnTo>
                    <a:lnTo>
                      <a:pt x="746" y="1563"/>
                    </a:lnTo>
                    <a:lnTo>
                      <a:pt x="750" y="1557"/>
                    </a:lnTo>
                    <a:lnTo>
                      <a:pt x="762" y="1556"/>
                    </a:lnTo>
                    <a:lnTo>
                      <a:pt x="777" y="1554"/>
                    </a:lnTo>
                    <a:lnTo>
                      <a:pt x="783" y="1556"/>
                    </a:lnTo>
                    <a:lnTo>
                      <a:pt x="785" y="1560"/>
                    </a:lnTo>
                    <a:lnTo>
                      <a:pt x="792" y="1560"/>
                    </a:lnTo>
                    <a:lnTo>
                      <a:pt x="794" y="1565"/>
                    </a:lnTo>
                    <a:lnTo>
                      <a:pt x="785" y="1569"/>
                    </a:lnTo>
                    <a:lnTo>
                      <a:pt x="785" y="1577"/>
                    </a:lnTo>
                    <a:lnTo>
                      <a:pt x="792" y="1581"/>
                    </a:lnTo>
                    <a:lnTo>
                      <a:pt x="788" y="1587"/>
                    </a:lnTo>
                    <a:lnTo>
                      <a:pt x="795" y="1592"/>
                    </a:lnTo>
                    <a:lnTo>
                      <a:pt x="798" y="1599"/>
                    </a:lnTo>
                    <a:lnTo>
                      <a:pt x="792" y="1607"/>
                    </a:lnTo>
                    <a:lnTo>
                      <a:pt x="785" y="1599"/>
                    </a:lnTo>
                    <a:lnTo>
                      <a:pt x="785" y="1593"/>
                    </a:lnTo>
                    <a:lnTo>
                      <a:pt x="779" y="1593"/>
                    </a:lnTo>
                    <a:lnTo>
                      <a:pt x="780" y="1604"/>
                    </a:lnTo>
                    <a:lnTo>
                      <a:pt x="779" y="1614"/>
                    </a:lnTo>
                    <a:lnTo>
                      <a:pt x="774" y="1613"/>
                    </a:lnTo>
                    <a:lnTo>
                      <a:pt x="776" y="1604"/>
                    </a:lnTo>
                    <a:lnTo>
                      <a:pt x="767" y="1605"/>
                    </a:lnTo>
                    <a:lnTo>
                      <a:pt x="759" y="1614"/>
                    </a:lnTo>
                    <a:lnTo>
                      <a:pt x="767" y="1616"/>
                    </a:lnTo>
                    <a:lnTo>
                      <a:pt x="770" y="1631"/>
                    </a:lnTo>
                    <a:lnTo>
                      <a:pt x="768" y="1641"/>
                    </a:lnTo>
                    <a:lnTo>
                      <a:pt x="786" y="1652"/>
                    </a:lnTo>
                    <a:lnTo>
                      <a:pt x="810" y="1658"/>
                    </a:lnTo>
                    <a:lnTo>
                      <a:pt x="813" y="1668"/>
                    </a:lnTo>
                    <a:lnTo>
                      <a:pt x="822" y="1662"/>
                    </a:lnTo>
                    <a:lnTo>
                      <a:pt x="827" y="1665"/>
                    </a:lnTo>
                    <a:lnTo>
                      <a:pt x="839" y="1658"/>
                    </a:lnTo>
                    <a:lnTo>
                      <a:pt x="855" y="1661"/>
                    </a:lnTo>
                    <a:lnTo>
                      <a:pt x="867" y="1658"/>
                    </a:lnTo>
                    <a:lnTo>
                      <a:pt x="870" y="1658"/>
                    </a:lnTo>
                    <a:lnTo>
                      <a:pt x="878" y="1647"/>
                    </a:lnTo>
                    <a:lnTo>
                      <a:pt x="888" y="1643"/>
                    </a:lnTo>
                    <a:lnTo>
                      <a:pt x="887" y="1632"/>
                    </a:lnTo>
                    <a:lnTo>
                      <a:pt x="896" y="1629"/>
                    </a:lnTo>
                    <a:lnTo>
                      <a:pt x="906" y="1649"/>
                    </a:lnTo>
                    <a:lnTo>
                      <a:pt x="902" y="1659"/>
                    </a:lnTo>
                    <a:lnTo>
                      <a:pt x="902" y="1671"/>
                    </a:lnTo>
                    <a:lnTo>
                      <a:pt x="911" y="1677"/>
                    </a:lnTo>
                    <a:lnTo>
                      <a:pt x="918" y="1674"/>
                    </a:lnTo>
                    <a:lnTo>
                      <a:pt x="921" y="1680"/>
                    </a:lnTo>
                    <a:lnTo>
                      <a:pt x="929" y="1683"/>
                    </a:lnTo>
                    <a:lnTo>
                      <a:pt x="935" y="1694"/>
                    </a:lnTo>
                    <a:lnTo>
                      <a:pt x="944" y="1697"/>
                    </a:lnTo>
                    <a:lnTo>
                      <a:pt x="950" y="1679"/>
                    </a:lnTo>
                    <a:lnTo>
                      <a:pt x="953" y="1685"/>
                    </a:lnTo>
                    <a:lnTo>
                      <a:pt x="959" y="1694"/>
                    </a:lnTo>
                    <a:lnTo>
                      <a:pt x="963" y="1697"/>
                    </a:lnTo>
                    <a:lnTo>
                      <a:pt x="966" y="1701"/>
                    </a:lnTo>
                    <a:lnTo>
                      <a:pt x="987" y="1712"/>
                    </a:lnTo>
                    <a:lnTo>
                      <a:pt x="993" y="1743"/>
                    </a:lnTo>
                    <a:lnTo>
                      <a:pt x="1001" y="1745"/>
                    </a:lnTo>
                    <a:lnTo>
                      <a:pt x="1001" y="1752"/>
                    </a:lnTo>
                    <a:lnTo>
                      <a:pt x="986" y="1755"/>
                    </a:lnTo>
                    <a:lnTo>
                      <a:pt x="981" y="1757"/>
                    </a:lnTo>
                    <a:lnTo>
                      <a:pt x="987" y="1770"/>
                    </a:lnTo>
                    <a:lnTo>
                      <a:pt x="981" y="1794"/>
                    </a:lnTo>
                    <a:lnTo>
                      <a:pt x="995" y="1794"/>
                    </a:lnTo>
                    <a:lnTo>
                      <a:pt x="993" y="1802"/>
                    </a:lnTo>
                    <a:lnTo>
                      <a:pt x="986" y="1811"/>
                    </a:lnTo>
                    <a:lnTo>
                      <a:pt x="990" y="1812"/>
                    </a:lnTo>
                    <a:lnTo>
                      <a:pt x="993" y="1818"/>
                    </a:lnTo>
                    <a:lnTo>
                      <a:pt x="998" y="1820"/>
                    </a:lnTo>
                    <a:lnTo>
                      <a:pt x="1004" y="1823"/>
                    </a:lnTo>
                    <a:lnTo>
                      <a:pt x="1011" y="1824"/>
                    </a:lnTo>
                    <a:lnTo>
                      <a:pt x="1011" y="1832"/>
                    </a:lnTo>
                    <a:lnTo>
                      <a:pt x="1014" y="1839"/>
                    </a:lnTo>
                    <a:lnTo>
                      <a:pt x="1002" y="1839"/>
                    </a:lnTo>
                    <a:lnTo>
                      <a:pt x="999" y="1842"/>
                    </a:lnTo>
                    <a:lnTo>
                      <a:pt x="990" y="1839"/>
                    </a:lnTo>
                    <a:lnTo>
                      <a:pt x="989" y="1844"/>
                    </a:lnTo>
                    <a:lnTo>
                      <a:pt x="986" y="1850"/>
                    </a:lnTo>
                    <a:lnTo>
                      <a:pt x="989" y="1854"/>
                    </a:lnTo>
                    <a:lnTo>
                      <a:pt x="984" y="1859"/>
                    </a:lnTo>
                    <a:lnTo>
                      <a:pt x="977" y="1857"/>
                    </a:lnTo>
                    <a:lnTo>
                      <a:pt x="974" y="1851"/>
                    </a:lnTo>
                    <a:lnTo>
                      <a:pt x="968" y="1848"/>
                    </a:lnTo>
                    <a:lnTo>
                      <a:pt x="965" y="1850"/>
                    </a:lnTo>
                    <a:lnTo>
                      <a:pt x="965" y="1856"/>
                    </a:lnTo>
                    <a:lnTo>
                      <a:pt x="962" y="1862"/>
                    </a:lnTo>
                    <a:lnTo>
                      <a:pt x="954" y="1857"/>
                    </a:lnTo>
                    <a:lnTo>
                      <a:pt x="953" y="1860"/>
                    </a:lnTo>
                    <a:lnTo>
                      <a:pt x="944" y="1857"/>
                    </a:lnTo>
                    <a:lnTo>
                      <a:pt x="939" y="1841"/>
                    </a:lnTo>
                    <a:lnTo>
                      <a:pt x="927" y="1845"/>
                    </a:lnTo>
                    <a:lnTo>
                      <a:pt x="924" y="1850"/>
                    </a:lnTo>
                    <a:lnTo>
                      <a:pt x="917" y="1838"/>
                    </a:lnTo>
                    <a:lnTo>
                      <a:pt x="912" y="1841"/>
                    </a:lnTo>
                    <a:lnTo>
                      <a:pt x="912" y="1850"/>
                    </a:lnTo>
                    <a:lnTo>
                      <a:pt x="908" y="1863"/>
                    </a:lnTo>
                    <a:lnTo>
                      <a:pt x="900" y="1865"/>
                    </a:lnTo>
                    <a:lnTo>
                      <a:pt x="896" y="1869"/>
                    </a:lnTo>
                    <a:lnTo>
                      <a:pt x="887" y="1869"/>
                    </a:lnTo>
                    <a:lnTo>
                      <a:pt x="885" y="1881"/>
                    </a:lnTo>
                    <a:lnTo>
                      <a:pt x="881" y="1878"/>
                    </a:lnTo>
                    <a:lnTo>
                      <a:pt x="867" y="1884"/>
                    </a:lnTo>
                    <a:lnTo>
                      <a:pt x="867" y="1892"/>
                    </a:lnTo>
                    <a:lnTo>
                      <a:pt x="855" y="1889"/>
                    </a:lnTo>
                    <a:lnTo>
                      <a:pt x="852" y="1884"/>
                    </a:lnTo>
                    <a:lnTo>
                      <a:pt x="849" y="1889"/>
                    </a:lnTo>
                    <a:lnTo>
                      <a:pt x="852" y="1895"/>
                    </a:lnTo>
                    <a:lnTo>
                      <a:pt x="842" y="1896"/>
                    </a:lnTo>
                    <a:lnTo>
                      <a:pt x="828" y="1905"/>
                    </a:lnTo>
                    <a:lnTo>
                      <a:pt x="827" y="1910"/>
                    </a:lnTo>
                    <a:lnTo>
                      <a:pt x="816" y="1919"/>
                    </a:lnTo>
                    <a:lnTo>
                      <a:pt x="813" y="1928"/>
                    </a:lnTo>
                    <a:lnTo>
                      <a:pt x="815" y="1931"/>
                    </a:lnTo>
                    <a:lnTo>
                      <a:pt x="813" y="1938"/>
                    </a:lnTo>
                    <a:lnTo>
                      <a:pt x="810" y="1938"/>
                    </a:lnTo>
                    <a:lnTo>
                      <a:pt x="807" y="1941"/>
                    </a:lnTo>
                    <a:lnTo>
                      <a:pt x="798" y="1947"/>
                    </a:lnTo>
                    <a:lnTo>
                      <a:pt x="798" y="1952"/>
                    </a:lnTo>
                    <a:lnTo>
                      <a:pt x="795" y="1950"/>
                    </a:lnTo>
                    <a:lnTo>
                      <a:pt x="794" y="1958"/>
                    </a:lnTo>
                    <a:lnTo>
                      <a:pt x="791" y="1953"/>
                    </a:lnTo>
                    <a:lnTo>
                      <a:pt x="788" y="1959"/>
                    </a:lnTo>
                    <a:lnTo>
                      <a:pt x="765" y="1959"/>
                    </a:lnTo>
                    <a:lnTo>
                      <a:pt x="761" y="1958"/>
                    </a:lnTo>
                    <a:lnTo>
                      <a:pt x="756" y="1965"/>
                    </a:lnTo>
                    <a:lnTo>
                      <a:pt x="756" y="1977"/>
                    </a:lnTo>
                    <a:lnTo>
                      <a:pt x="752" y="1985"/>
                    </a:lnTo>
                    <a:lnTo>
                      <a:pt x="737" y="1986"/>
                    </a:lnTo>
                    <a:lnTo>
                      <a:pt x="729" y="1991"/>
                    </a:lnTo>
                    <a:lnTo>
                      <a:pt x="728" y="1989"/>
                    </a:lnTo>
                    <a:lnTo>
                      <a:pt x="725" y="1983"/>
                    </a:lnTo>
                    <a:lnTo>
                      <a:pt x="722" y="1986"/>
                    </a:lnTo>
                    <a:lnTo>
                      <a:pt x="720" y="1988"/>
                    </a:lnTo>
                    <a:lnTo>
                      <a:pt x="711" y="1983"/>
                    </a:lnTo>
                    <a:lnTo>
                      <a:pt x="710" y="1977"/>
                    </a:lnTo>
                    <a:lnTo>
                      <a:pt x="695" y="1976"/>
                    </a:lnTo>
                    <a:lnTo>
                      <a:pt x="698" y="1983"/>
                    </a:lnTo>
                    <a:lnTo>
                      <a:pt x="696" y="1988"/>
                    </a:lnTo>
                    <a:lnTo>
                      <a:pt x="692" y="1991"/>
                    </a:lnTo>
                    <a:lnTo>
                      <a:pt x="684" y="1991"/>
                    </a:lnTo>
                    <a:lnTo>
                      <a:pt x="683" y="1988"/>
                    </a:lnTo>
                    <a:lnTo>
                      <a:pt x="680" y="1976"/>
                    </a:lnTo>
                    <a:lnTo>
                      <a:pt x="671" y="1973"/>
                    </a:lnTo>
                    <a:lnTo>
                      <a:pt x="671" y="1983"/>
                    </a:lnTo>
                    <a:lnTo>
                      <a:pt x="663" y="1988"/>
                    </a:lnTo>
                    <a:lnTo>
                      <a:pt x="650" y="1986"/>
                    </a:lnTo>
                    <a:lnTo>
                      <a:pt x="648" y="1992"/>
                    </a:lnTo>
                    <a:lnTo>
                      <a:pt x="654" y="1995"/>
                    </a:lnTo>
                    <a:lnTo>
                      <a:pt x="647" y="2018"/>
                    </a:lnTo>
                    <a:lnTo>
                      <a:pt x="641" y="2028"/>
                    </a:lnTo>
                    <a:lnTo>
                      <a:pt x="636" y="2021"/>
                    </a:lnTo>
                    <a:lnTo>
                      <a:pt x="636" y="2016"/>
                    </a:lnTo>
                    <a:lnTo>
                      <a:pt x="630" y="2016"/>
                    </a:lnTo>
                    <a:lnTo>
                      <a:pt x="621" y="2018"/>
                    </a:lnTo>
                    <a:lnTo>
                      <a:pt x="612" y="2031"/>
                    </a:lnTo>
                    <a:lnTo>
                      <a:pt x="608" y="2042"/>
                    </a:lnTo>
                    <a:lnTo>
                      <a:pt x="609" y="2046"/>
                    </a:lnTo>
                    <a:lnTo>
                      <a:pt x="605" y="2048"/>
                    </a:lnTo>
                    <a:lnTo>
                      <a:pt x="605" y="2054"/>
                    </a:lnTo>
                    <a:lnTo>
                      <a:pt x="593" y="2057"/>
                    </a:lnTo>
                    <a:lnTo>
                      <a:pt x="584" y="2061"/>
                    </a:lnTo>
                    <a:lnTo>
                      <a:pt x="584" y="2072"/>
                    </a:lnTo>
                    <a:lnTo>
                      <a:pt x="575" y="2078"/>
                    </a:lnTo>
                    <a:lnTo>
                      <a:pt x="572" y="2085"/>
                    </a:lnTo>
                    <a:lnTo>
                      <a:pt x="548" y="2078"/>
                    </a:lnTo>
                    <a:lnTo>
                      <a:pt x="534" y="2066"/>
                    </a:lnTo>
                    <a:lnTo>
                      <a:pt x="519" y="2061"/>
                    </a:lnTo>
                    <a:lnTo>
                      <a:pt x="519" y="2069"/>
                    </a:lnTo>
                    <a:lnTo>
                      <a:pt x="513" y="2076"/>
                    </a:lnTo>
                    <a:lnTo>
                      <a:pt x="506" y="2076"/>
                    </a:lnTo>
                    <a:lnTo>
                      <a:pt x="504" y="2084"/>
                    </a:lnTo>
                    <a:lnTo>
                      <a:pt x="503" y="2103"/>
                    </a:lnTo>
                    <a:lnTo>
                      <a:pt x="494" y="2106"/>
                    </a:lnTo>
                    <a:lnTo>
                      <a:pt x="495" y="2120"/>
                    </a:lnTo>
                    <a:lnTo>
                      <a:pt x="491" y="2121"/>
                    </a:lnTo>
                    <a:lnTo>
                      <a:pt x="483" y="2127"/>
                    </a:lnTo>
                    <a:lnTo>
                      <a:pt x="477" y="2124"/>
                    </a:lnTo>
                    <a:lnTo>
                      <a:pt x="473" y="2106"/>
                    </a:lnTo>
                    <a:lnTo>
                      <a:pt x="461" y="2100"/>
                    </a:lnTo>
                    <a:lnTo>
                      <a:pt x="447" y="2099"/>
                    </a:lnTo>
                    <a:lnTo>
                      <a:pt x="435" y="2108"/>
                    </a:lnTo>
                    <a:lnTo>
                      <a:pt x="428" y="2100"/>
                    </a:lnTo>
                    <a:lnTo>
                      <a:pt x="426" y="2090"/>
                    </a:lnTo>
                    <a:lnTo>
                      <a:pt x="416" y="2079"/>
                    </a:lnTo>
                    <a:lnTo>
                      <a:pt x="407" y="2087"/>
                    </a:lnTo>
                    <a:lnTo>
                      <a:pt x="393" y="2088"/>
                    </a:lnTo>
                    <a:lnTo>
                      <a:pt x="392" y="2081"/>
                    </a:lnTo>
                    <a:lnTo>
                      <a:pt x="384" y="2081"/>
                    </a:lnTo>
                    <a:lnTo>
                      <a:pt x="381" y="2069"/>
                    </a:lnTo>
                    <a:lnTo>
                      <a:pt x="389" y="2061"/>
                    </a:lnTo>
                    <a:lnTo>
                      <a:pt x="392" y="2060"/>
                    </a:lnTo>
                    <a:lnTo>
                      <a:pt x="393" y="2049"/>
                    </a:lnTo>
                    <a:lnTo>
                      <a:pt x="407" y="2034"/>
                    </a:lnTo>
                    <a:lnTo>
                      <a:pt x="422" y="2025"/>
                    </a:lnTo>
                    <a:lnTo>
                      <a:pt x="408" y="2016"/>
                    </a:lnTo>
                    <a:lnTo>
                      <a:pt x="396" y="2012"/>
                    </a:lnTo>
                    <a:lnTo>
                      <a:pt x="392" y="2004"/>
                    </a:lnTo>
                    <a:lnTo>
                      <a:pt x="378" y="2003"/>
                    </a:lnTo>
                    <a:lnTo>
                      <a:pt x="371" y="2013"/>
                    </a:lnTo>
                    <a:lnTo>
                      <a:pt x="356" y="2015"/>
                    </a:lnTo>
                    <a:lnTo>
                      <a:pt x="353" y="2004"/>
                    </a:lnTo>
                    <a:lnTo>
                      <a:pt x="339" y="1997"/>
                    </a:lnTo>
                    <a:lnTo>
                      <a:pt x="330" y="1991"/>
                    </a:lnTo>
                    <a:lnTo>
                      <a:pt x="329" y="1983"/>
                    </a:lnTo>
                    <a:lnTo>
                      <a:pt x="318" y="1971"/>
                    </a:lnTo>
                    <a:lnTo>
                      <a:pt x="317" y="1964"/>
                    </a:lnTo>
                    <a:lnTo>
                      <a:pt x="323" y="1956"/>
                    </a:lnTo>
                    <a:lnTo>
                      <a:pt x="318" y="1950"/>
                    </a:lnTo>
                    <a:lnTo>
                      <a:pt x="317" y="1940"/>
                    </a:lnTo>
                    <a:lnTo>
                      <a:pt x="311" y="1937"/>
                    </a:lnTo>
                    <a:lnTo>
                      <a:pt x="306" y="1926"/>
                    </a:lnTo>
                    <a:lnTo>
                      <a:pt x="287" y="1925"/>
                    </a:lnTo>
                    <a:lnTo>
                      <a:pt x="284" y="1934"/>
                    </a:lnTo>
                    <a:lnTo>
                      <a:pt x="275" y="1935"/>
                    </a:lnTo>
                    <a:lnTo>
                      <a:pt x="266" y="1929"/>
                    </a:lnTo>
                    <a:lnTo>
                      <a:pt x="254" y="1931"/>
                    </a:lnTo>
                    <a:lnTo>
                      <a:pt x="248" y="1923"/>
                    </a:lnTo>
                    <a:lnTo>
                      <a:pt x="242" y="1928"/>
                    </a:lnTo>
                    <a:lnTo>
                      <a:pt x="236" y="1928"/>
                    </a:lnTo>
                    <a:lnTo>
                      <a:pt x="224" y="1935"/>
                    </a:lnTo>
                    <a:lnTo>
                      <a:pt x="213" y="1931"/>
                    </a:lnTo>
                    <a:lnTo>
                      <a:pt x="212" y="1935"/>
                    </a:lnTo>
                    <a:lnTo>
                      <a:pt x="206" y="1937"/>
                    </a:lnTo>
                    <a:lnTo>
                      <a:pt x="198" y="1932"/>
                    </a:lnTo>
                    <a:lnTo>
                      <a:pt x="191" y="1914"/>
                    </a:lnTo>
                    <a:lnTo>
                      <a:pt x="185" y="1914"/>
                    </a:lnTo>
                    <a:lnTo>
                      <a:pt x="180" y="1925"/>
                    </a:lnTo>
                    <a:lnTo>
                      <a:pt x="173" y="1943"/>
                    </a:lnTo>
                    <a:lnTo>
                      <a:pt x="168" y="1961"/>
                    </a:lnTo>
                    <a:lnTo>
                      <a:pt x="161" y="1962"/>
                    </a:lnTo>
                    <a:lnTo>
                      <a:pt x="144" y="1970"/>
                    </a:lnTo>
                    <a:lnTo>
                      <a:pt x="137" y="1943"/>
                    </a:lnTo>
                    <a:lnTo>
                      <a:pt x="116" y="1952"/>
                    </a:lnTo>
                    <a:lnTo>
                      <a:pt x="108" y="1935"/>
                    </a:lnTo>
                    <a:lnTo>
                      <a:pt x="98" y="1932"/>
                    </a:lnTo>
                    <a:lnTo>
                      <a:pt x="95" y="1922"/>
                    </a:lnTo>
                    <a:lnTo>
                      <a:pt x="96" y="1914"/>
                    </a:lnTo>
                    <a:lnTo>
                      <a:pt x="102" y="1905"/>
                    </a:lnTo>
                    <a:lnTo>
                      <a:pt x="102" y="1893"/>
                    </a:lnTo>
                    <a:lnTo>
                      <a:pt x="107" y="1880"/>
                    </a:lnTo>
                    <a:lnTo>
                      <a:pt x="110" y="1863"/>
                    </a:lnTo>
                    <a:lnTo>
                      <a:pt x="98" y="1859"/>
                    </a:lnTo>
                    <a:lnTo>
                      <a:pt x="87" y="1833"/>
                    </a:lnTo>
                    <a:lnTo>
                      <a:pt x="80" y="1835"/>
                    </a:lnTo>
                    <a:lnTo>
                      <a:pt x="69" y="1830"/>
                    </a:lnTo>
                    <a:lnTo>
                      <a:pt x="57" y="1835"/>
                    </a:lnTo>
                    <a:lnTo>
                      <a:pt x="47" y="1832"/>
                    </a:lnTo>
                    <a:lnTo>
                      <a:pt x="38" y="1839"/>
                    </a:lnTo>
                    <a:lnTo>
                      <a:pt x="15" y="1836"/>
                    </a:lnTo>
                    <a:lnTo>
                      <a:pt x="5" y="1823"/>
                    </a:lnTo>
                    <a:lnTo>
                      <a:pt x="2" y="1812"/>
                    </a:lnTo>
                    <a:lnTo>
                      <a:pt x="0" y="1802"/>
                    </a:lnTo>
                    <a:lnTo>
                      <a:pt x="12" y="1803"/>
                    </a:lnTo>
                    <a:lnTo>
                      <a:pt x="17" y="1793"/>
                    </a:lnTo>
                    <a:lnTo>
                      <a:pt x="17" y="1782"/>
                    </a:lnTo>
                    <a:lnTo>
                      <a:pt x="21" y="1778"/>
                    </a:lnTo>
                    <a:lnTo>
                      <a:pt x="29" y="1778"/>
                    </a:lnTo>
                    <a:lnTo>
                      <a:pt x="32" y="1769"/>
                    </a:lnTo>
                    <a:lnTo>
                      <a:pt x="42" y="1761"/>
                    </a:lnTo>
                    <a:lnTo>
                      <a:pt x="45" y="1755"/>
                    </a:lnTo>
                    <a:lnTo>
                      <a:pt x="54" y="1751"/>
                    </a:lnTo>
                    <a:lnTo>
                      <a:pt x="63" y="1749"/>
                    </a:lnTo>
                    <a:lnTo>
                      <a:pt x="65" y="1743"/>
                    </a:lnTo>
                    <a:lnTo>
                      <a:pt x="60" y="1733"/>
                    </a:lnTo>
                    <a:lnTo>
                      <a:pt x="66" y="1706"/>
                    </a:lnTo>
                    <a:lnTo>
                      <a:pt x="66" y="1703"/>
                    </a:lnTo>
                    <a:lnTo>
                      <a:pt x="87" y="1704"/>
                    </a:lnTo>
                    <a:lnTo>
                      <a:pt x="90" y="1712"/>
                    </a:lnTo>
                    <a:lnTo>
                      <a:pt x="104" y="1706"/>
                    </a:lnTo>
                    <a:lnTo>
                      <a:pt x="105" y="1719"/>
                    </a:lnTo>
                    <a:lnTo>
                      <a:pt x="110" y="1722"/>
                    </a:lnTo>
                    <a:lnTo>
                      <a:pt x="114" y="1724"/>
                    </a:lnTo>
                    <a:lnTo>
                      <a:pt x="119" y="1712"/>
                    </a:lnTo>
                    <a:lnTo>
                      <a:pt x="116" y="1704"/>
                    </a:lnTo>
                    <a:lnTo>
                      <a:pt x="119" y="1700"/>
                    </a:lnTo>
                    <a:lnTo>
                      <a:pt x="117" y="1682"/>
                    </a:lnTo>
                    <a:lnTo>
                      <a:pt x="131" y="1671"/>
                    </a:lnTo>
                    <a:lnTo>
                      <a:pt x="150" y="1632"/>
                    </a:lnTo>
                    <a:lnTo>
                      <a:pt x="144" y="1629"/>
                    </a:lnTo>
                    <a:lnTo>
                      <a:pt x="143" y="1625"/>
                    </a:lnTo>
                    <a:lnTo>
                      <a:pt x="153" y="1608"/>
                    </a:lnTo>
                    <a:lnTo>
                      <a:pt x="144" y="1595"/>
                    </a:lnTo>
                    <a:lnTo>
                      <a:pt x="146" y="1581"/>
                    </a:lnTo>
                    <a:lnTo>
                      <a:pt x="143" y="1568"/>
                    </a:lnTo>
                    <a:lnTo>
                      <a:pt x="138" y="1556"/>
                    </a:lnTo>
                    <a:lnTo>
                      <a:pt x="149" y="1553"/>
                    </a:lnTo>
                    <a:lnTo>
                      <a:pt x="164" y="1563"/>
                    </a:lnTo>
                    <a:lnTo>
                      <a:pt x="180" y="1571"/>
                    </a:lnTo>
                    <a:lnTo>
                      <a:pt x="191" y="1563"/>
                    </a:lnTo>
                    <a:lnTo>
                      <a:pt x="197" y="1566"/>
                    </a:lnTo>
                    <a:lnTo>
                      <a:pt x="206" y="1556"/>
                    </a:lnTo>
                    <a:lnTo>
                      <a:pt x="213" y="1553"/>
                    </a:lnTo>
                    <a:lnTo>
                      <a:pt x="215" y="1548"/>
                    </a:lnTo>
                    <a:lnTo>
                      <a:pt x="224" y="1550"/>
                    </a:lnTo>
                    <a:lnTo>
                      <a:pt x="227" y="1541"/>
                    </a:lnTo>
                    <a:lnTo>
                      <a:pt x="231" y="1538"/>
                    </a:lnTo>
                    <a:lnTo>
                      <a:pt x="231" y="1529"/>
                    </a:lnTo>
                    <a:lnTo>
                      <a:pt x="236" y="1527"/>
                    </a:lnTo>
                    <a:lnTo>
                      <a:pt x="243" y="1523"/>
                    </a:lnTo>
                    <a:lnTo>
                      <a:pt x="246" y="1506"/>
                    </a:lnTo>
                    <a:lnTo>
                      <a:pt x="240" y="1502"/>
                    </a:lnTo>
                    <a:lnTo>
                      <a:pt x="236" y="1494"/>
                    </a:lnTo>
                    <a:lnTo>
                      <a:pt x="237" y="1482"/>
                    </a:lnTo>
                    <a:lnTo>
                      <a:pt x="228" y="1482"/>
                    </a:lnTo>
                    <a:lnTo>
                      <a:pt x="224" y="1475"/>
                    </a:lnTo>
                    <a:lnTo>
                      <a:pt x="230" y="1464"/>
                    </a:lnTo>
                    <a:lnTo>
                      <a:pt x="212" y="1455"/>
                    </a:lnTo>
                    <a:lnTo>
                      <a:pt x="207" y="1445"/>
                    </a:lnTo>
                    <a:lnTo>
                      <a:pt x="197" y="1437"/>
                    </a:lnTo>
                    <a:lnTo>
                      <a:pt x="183" y="1455"/>
                    </a:lnTo>
                    <a:lnTo>
                      <a:pt x="176" y="1437"/>
                    </a:lnTo>
                    <a:lnTo>
                      <a:pt x="168" y="1431"/>
                    </a:lnTo>
                    <a:lnTo>
                      <a:pt x="141" y="1415"/>
                    </a:lnTo>
                    <a:lnTo>
                      <a:pt x="141" y="1407"/>
                    </a:lnTo>
                    <a:lnTo>
                      <a:pt x="150" y="1401"/>
                    </a:lnTo>
                    <a:lnTo>
                      <a:pt x="153" y="1394"/>
                    </a:lnTo>
                    <a:lnTo>
                      <a:pt x="144" y="1389"/>
                    </a:lnTo>
                    <a:lnTo>
                      <a:pt x="155" y="1371"/>
                    </a:lnTo>
                    <a:lnTo>
                      <a:pt x="156" y="1358"/>
                    </a:lnTo>
                    <a:lnTo>
                      <a:pt x="153" y="1346"/>
                    </a:lnTo>
                    <a:lnTo>
                      <a:pt x="141" y="1341"/>
                    </a:lnTo>
                    <a:lnTo>
                      <a:pt x="141" y="1332"/>
                    </a:lnTo>
                    <a:lnTo>
                      <a:pt x="149" y="1328"/>
                    </a:lnTo>
                    <a:lnTo>
                      <a:pt x="164" y="1317"/>
                    </a:lnTo>
                    <a:lnTo>
                      <a:pt x="168" y="1313"/>
                    </a:lnTo>
                    <a:lnTo>
                      <a:pt x="167" y="1308"/>
                    </a:lnTo>
                    <a:lnTo>
                      <a:pt x="156" y="1299"/>
                    </a:lnTo>
                    <a:lnTo>
                      <a:pt x="158" y="1290"/>
                    </a:lnTo>
                    <a:lnTo>
                      <a:pt x="159" y="1283"/>
                    </a:lnTo>
                    <a:lnTo>
                      <a:pt x="165" y="1281"/>
                    </a:lnTo>
                    <a:lnTo>
                      <a:pt x="158" y="1278"/>
                    </a:lnTo>
                    <a:lnTo>
                      <a:pt x="158" y="1271"/>
                    </a:lnTo>
                    <a:lnTo>
                      <a:pt x="161" y="1268"/>
                    </a:lnTo>
                    <a:lnTo>
                      <a:pt x="155" y="1257"/>
                    </a:lnTo>
                    <a:lnTo>
                      <a:pt x="149" y="1262"/>
                    </a:lnTo>
                    <a:lnTo>
                      <a:pt x="147" y="1253"/>
                    </a:lnTo>
                    <a:lnTo>
                      <a:pt x="144" y="1244"/>
                    </a:lnTo>
                    <a:lnTo>
                      <a:pt x="135" y="1244"/>
                    </a:lnTo>
                    <a:lnTo>
                      <a:pt x="134" y="1230"/>
                    </a:lnTo>
                    <a:lnTo>
                      <a:pt x="128" y="1226"/>
                    </a:lnTo>
                    <a:lnTo>
                      <a:pt x="143" y="1208"/>
                    </a:lnTo>
                    <a:lnTo>
                      <a:pt x="147" y="1209"/>
                    </a:lnTo>
                    <a:lnTo>
                      <a:pt x="167" y="1206"/>
                    </a:lnTo>
                    <a:lnTo>
                      <a:pt x="174" y="1200"/>
                    </a:lnTo>
                    <a:lnTo>
                      <a:pt x="170" y="1196"/>
                    </a:lnTo>
                    <a:lnTo>
                      <a:pt x="171" y="1185"/>
                    </a:lnTo>
                    <a:lnTo>
                      <a:pt x="182" y="1184"/>
                    </a:lnTo>
                    <a:lnTo>
                      <a:pt x="186" y="1169"/>
                    </a:lnTo>
                    <a:lnTo>
                      <a:pt x="203" y="1166"/>
                    </a:lnTo>
                    <a:lnTo>
                      <a:pt x="215" y="1142"/>
                    </a:lnTo>
                    <a:lnTo>
                      <a:pt x="221" y="1145"/>
                    </a:lnTo>
                    <a:lnTo>
                      <a:pt x="237" y="1146"/>
                    </a:lnTo>
                    <a:lnTo>
                      <a:pt x="240" y="1137"/>
                    </a:lnTo>
                    <a:lnTo>
                      <a:pt x="246" y="1137"/>
                    </a:lnTo>
                    <a:lnTo>
                      <a:pt x="254" y="1146"/>
                    </a:lnTo>
                    <a:lnTo>
                      <a:pt x="260" y="1143"/>
                    </a:lnTo>
                    <a:lnTo>
                      <a:pt x="272" y="1145"/>
                    </a:lnTo>
                    <a:lnTo>
                      <a:pt x="281" y="1149"/>
                    </a:lnTo>
                    <a:lnTo>
                      <a:pt x="285" y="1145"/>
                    </a:lnTo>
                    <a:lnTo>
                      <a:pt x="291" y="1154"/>
                    </a:lnTo>
                    <a:lnTo>
                      <a:pt x="296" y="1149"/>
                    </a:lnTo>
                    <a:lnTo>
                      <a:pt x="294" y="1136"/>
                    </a:lnTo>
                    <a:lnTo>
                      <a:pt x="299" y="1127"/>
                    </a:lnTo>
                    <a:lnTo>
                      <a:pt x="294" y="1124"/>
                    </a:lnTo>
                    <a:lnTo>
                      <a:pt x="300" y="1116"/>
                    </a:lnTo>
                    <a:lnTo>
                      <a:pt x="308" y="1115"/>
                    </a:lnTo>
                    <a:lnTo>
                      <a:pt x="309" y="1106"/>
                    </a:lnTo>
                    <a:lnTo>
                      <a:pt x="314" y="1100"/>
                    </a:lnTo>
                    <a:lnTo>
                      <a:pt x="311" y="1094"/>
                    </a:lnTo>
                    <a:lnTo>
                      <a:pt x="315" y="1085"/>
                    </a:lnTo>
                    <a:lnTo>
                      <a:pt x="312" y="1079"/>
                    </a:lnTo>
                    <a:lnTo>
                      <a:pt x="330" y="1062"/>
                    </a:lnTo>
                    <a:lnTo>
                      <a:pt x="333" y="1055"/>
                    </a:lnTo>
                    <a:lnTo>
                      <a:pt x="354" y="1058"/>
                    </a:lnTo>
                    <a:lnTo>
                      <a:pt x="372" y="1053"/>
                    </a:lnTo>
                    <a:lnTo>
                      <a:pt x="380" y="1064"/>
                    </a:lnTo>
                    <a:lnTo>
                      <a:pt x="393" y="1068"/>
                    </a:lnTo>
                    <a:lnTo>
                      <a:pt x="395" y="1058"/>
                    </a:lnTo>
                    <a:lnTo>
                      <a:pt x="395" y="1050"/>
                    </a:lnTo>
                    <a:lnTo>
                      <a:pt x="402" y="1050"/>
                    </a:lnTo>
                    <a:lnTo>
                      <a:pt x="410" y="1044"/>
                    </a:lnTo>
                    <a:lnTo>
                      <a:pt x="410" y="1038"/>
                    </a:lnTo>
                    <a:lnTo>
                      <a:pt x="419" y="1023"/>
                    </a:lnTo>
                    <a:lnTo>
                      <a:pt x="432" y="1029"/>
                    </a:lnTo>
                    <a:lnTo>
                      <a:pt x="441" y="1020"/>
                    </a:lnTo>
                    <a:lnTo>
                      <a:pt x="449" y="1010"/>
                    </a:lnTo>
                    <a:lnTo>
                      <a:pt x="452" y="992"/>
                    </a:lnTo>
                    <a:lnTo>
                      <a:pt x="458" y="969"/>
                    </a:lnTo>
                    <a:lnTo>
                      <a:pt x="438" y="978"/>
                    </a:lnTo>
                    <a:lnTo>
                      <a:pt x="441" y="963"/>
                    </a:lnTo>
                    <a:lnTo>
                      <a:pt x="428" y="954"/>
                    </a:lnTo>
                    <a:lnTo>
                      <a:pt x="410" y="947"/>
                    </a:lnTo>
                    <a:lnTo>
                      <a:pt x="402" y="927"/>
                    </a:lnTo>
                    <a:lnTo>
                      <a:pt x="417" y="926"/>
                    </a:lnTo>
                    <a:lnTo>
                      <a:pt x="396" y="896"/>
                    </a:lnTo>
                    <a:lnTo>
                      <a:pt x="414" y="894"/>
                    </a:lnTo>
                    <a:lnTo>
                      <a:pt x="392" y="870"/>
                    </a:lnTo>
                    <a:lnTo>
                      <a:pt x="387" y="866"/>
                    </a:lnTo>
                    <a:lnTo>
                      <a:pt x="372" y="849"/>
                    </a:lnTo>
                    <a:lnTo>
                      <a:pt x="311" y="845"/>
                    </a:lnTo>
                    <a:lnTo>
                      <a:pt x="306" y="816"/>
                    </a:lnTo>
                    <a:lnTo>
                      <a:pt x="278" y="816"/>
                    </a:lnTo>
                    <a:lnTo>
                      <a:pt x="246" y="795"/>
                    </a:lnTo>
                    <a:lnTo>
                      <a:pt x="243" y="786"/>
                    </a:lnTo>
                    <a:lnTo>
                      <a:pt x="225" y="777"/>
                    </a:lnTo>
                    <a:lnTo>
                      <a:pt x="216" y="755"/>
                    </a:lnTo>
                    <a:lnTo>
                      <a:pt x="207" y="744"/>
                    </a:lnTo>
                    <a:lnTo>
                      <a:pt x="210" y="737"/>
                    </a:lnTo>
                    <a:lnTo>
                      <a:pt x="221" y="716"/>
                    </a:lnTo>
                    <a:lnTo>
                      <a:pt x="219" y="707"/>
                    </a:lnTo>
                    <a:lnTo>
                      <a:pt x="216" y="686"/>
                    </a:lnTo>
                    <a:lnTo>
                      <a:pt x="219" y="677"/>
                    </a:lnTo>
                    <a:lnTo>
                      <a:pt x="234" y="666"/>
                    </a:lnTo>
                    <a:lnTo>
                      <a:pt x="228" y="659"/>
                    </a:lnTo>
                    <a:lnTo>
                      <a:pt x="219" y="648"/>
                    </a:lnTo>
                    <a:lnTo>
                      <a:pt x="224" y="627"/>
                    </a:lnTo>
                    <a:lnTo>
                      <a:pt x="216" y="620"/>
                    </a:lnTo>
                    <a:lnTo>
                      <a:pt x="197" y="611"/>
                    </a:lnTo>
                    <a:lnTo>
                      <a:pt x="186" y="603"/>
                    </a:lnTo>
                    <a:lnTo>
                      <a:pt x="219" y="593"/>
                    </a:lnTo>
                    <a:lnTo>
                      <a:pt x="233" y="596"/>
                    </a:lnTo>
                    <a:lnTo>
                      <a:pt x="254" y="621"/>
                    </a:lnTo>
                    <a:lnTo>
                      <a:pt x="272" y="594"/>
                    </a:lnTo>
                    <a:lnTo>
                      <a:pt x="276" y="587"/>
                    </a:lnTo>
                    <a:lnTo>
                      <a:pt x="297" y="593"/>
                    </a:lnTo>
                    <a:lnTo>
                      <a:pt x="296" y="584"/>
                    </a:lnTo>
                    <a:lnTo>
                      <a:pt x="291" y="552"/>
                    </a:lnTo>
                    <a:lnTo>
                      <a:pt x="282" y="551"/>
                    </a:lnTo>
                    <a:lnTo>
                      <a:pt x="282" y="536"/>
                    </a:lnTo>
                    <a:lnTo>
                      <a:pt x="293" y="524"/>
                    </a:lnTo>
                    <a:lnTo>
                      <a:pt x="303" y="491"/>
                    </a:lnTo>
                    <a:lnTo>
                      <a:pt x="302" y="485"/>
                    </a:lnTo>
                    <a:lnTo>
                      <a:pt x="309" y="455"/>
                    </a:lnTo>
                    <a:lnTo>
                      <a:pt x="318" y="384"/>
                    </a:lnTo>
                    <a:lnTo>
                      <a:pt x="324" y="377"/>
                    </a:lnTo>
                    <a:lnTo>
                      <a:pt x="341" y="359"/>
                    </a:lnTo>
                    <a:lnTo>
                      <a:pt x="330" y="338"/>
                    </a:lnTo>
                    <a:lnTo>
                      <a:pt x="333" y="321"/>
                    </a:lnTo>
                    <a:lnTo>
                      <a:pt x="347" y="314"/>
                    </a:lnTo>
                    <a:lnTo>
                      <a:pt x="348" y="300"/>
                    </a:lnTo>
                    <a:lnTo>
                      <a:pt x="362" y="291"/>
                    </a:lnTo>
                    <a:lnTo>
                      <a:pt x="374" y="287"/>
                    </a:lnTo>
                    <a:lnTo>
                      <a:pt x="395" y="284"/>
                    </a:lnTo>
                    <a:lnTo>
                      <a:pt x="426" y="269"/>
                    </a:lnTo>
                    <a:lnTo>
                      <a:pt x="444" y="284"/>
                    </a:lnTo>
                    <a:lnTo>
                      <a:pt x="455" y="287"/>
                    </a:lnTo>
                    <a:lnTo>
                      <a:pt x="474" y="297"/>
                    </a:lnTo>
                    <a:lnTo>
                      <a:pt x="494" y="285"/>
                    </a:lnTo>
                    <a:lnTo>
                      <a:pt x="504" y="264"/>
                    </a:lnTo>
                    <a:lnTo>
                      <a:pt x="515" y="243"/>
                    </a:lnTo>
                    <a:lnTo>
                      <a:pt x="518" y="236"/>
                    </a:lnTo>
                    <a:lnTo>
                      <a:pt x="533" y="230"/>
                    </a:lnTo>
                    <a:lnTo>
                      <a:pt x="537" y="200"/>
                    </a:lnTo>
                    <a:lnTo>
                      <a:pt x="561" y="198"/>
                    </a:lnTo>
                    <a:lnTo>
                      <a:pt x="576" y="188"/>
                    </a:lnTo>
                    <a:lnTo>
                      <a:pt x="581" y="159"/>
                    </a:lnTo>
                    <a:lnTo>
                      <a:pt x="540" y="96"/>
                    </a:lnTo>
                    <a:lnTo>
                      <a:pt x="561" y="90"/>
                    </a:lnTo>
                    <a:lnTo>
                      <a:pt x="585" y="86"/>
                    </a:lnTo>
                    <a:lnTo>
                      <a:pt x="603" y="74"/>
                    </a:lnTo>
                    <a:lnTo>
                      <a:pt x="621" y="63"/>
                    </a:lnTo>
                    <a:lnTo>
                      <a:pt x="621" y="53"/>
                    </a:lnTo>
                    <a:lnTo>
                      <a:pt x="645" y="42"/>
                    </a:lnTo>
                    <a:lnTo>
                      <a:pt x="663" y="41"/>
                    </a:lnTo>
                    <a:lnTo>
                      <a:pt x="713" y="60"/>
                    </a:lnTo>
                    <a:lnTo>
                      <a:pt x="716" y="47"/>
                    </a:lnTo>
                    <a:lnTo>
                      <a:pt x="708" y="24"/>
                    </a:lnTo>
                    <a:lnTo>
                      <a:pt x="732" y="18"/>
                    </a:lnTo>
                    <a:lnTo>
                      <a:pt x="758" y="24"/>
                    </a:lnTo>
                    <a:lnTo>
                      <a:pt x="759" y="2"/>
                    </a:lnTo>
                    <a:lnTo>
                      <a:pt x="768" y="0"/>
                    </a:lnTo>
                    <a:lnTo>
                      <a:pt x="806" y="3"/>
                    </a:lnTo>
                    <a:lnTo>
                      <a:pt x="806" y="15"/>
                    </a:lnTo>
                    <a:lnTo>
                      <a:pt x="842" y="12"/>
                    </a:lnTo>
                    <a:lnTo>
                      <a:pt x="855" y="0"/>
                    </a:lnTo>
                    <a:lnTo>
                      <a:pt x="885" y="29"/>
                    </a:lnTo>
                    <a:lnTo>
                      <a:pt x="908" y="47"/>
                    </a:lnTo>
                    <a:lnTo>
                      <a:pt x="915" y="41"/>
                    </a:lnTo>
                    <a:lnTo>
                      <a:pt x="920" y="42"/>
                    </a:lnTo>
                    <a:lnTo>
                      <a:pt x="938" y="54"/>
                    </a:lnTo>
                    <a:lnTo>
                      <a:pt x="951" y="63"/>
                    </a:lnTo>
                    <a:lnTo>
                      <a:pt x="956" y="74"/>
                    </a:lnTo>
                    <a:lnTo>
                      <a:pt x="956" y="110"/>
                    </a:lnTo>
                    <a:lnTo>
                      <a:pt x="935" y="119"/>
                    </a:lnTo>
                    <a:lnTo>
                      <a:pt x="929" y="134"/>
                    </a:lnTo>
                    <a:lnTo>
                      <a:pt x="914" y="150"/>
                    </a:lnTo>
                    <a:lnTo>
                      <a:pt x="903" y="165"/>
                    </a:lnTo>
                    <a:lnTo>
                      <a:pt x="915" y="167"/>
                    </a:lnTo>
                    <a:lnTo>
                      <a:pt x="920" y="174"/>
                    </a:lnTo>
                    <a:lnTo>
                      <a:pt x="935" y="174"/>
                    </a:lnTo>
                    <a:lnTo>
                      <a:pt x="944" y="174"/>
                    </a:lnTo>
                    <a:lnTo>
                      <a:pt x="957" y="185"/>
                    </a:lnTo>
                    <a:lnTo>
                      <a:pt x="966" y="191"/>
                    </a:lnTo>
                    <a:lnTo>
                      <a:pt x="987" y="195"/>
                    </a:lnTo>
                    <a:lnTo>
                      <a:pt x="993" y="191"/>
                    </a:lnTo>
                    <a:lnTo>
                      <a:pt x="1001" y="189"/>
                    </a:lnTo>
                    <a:lnTo>
                      <a:pt x="1014" y="194"/>
                    </a:lnTo>
                    <a:lnTo>
                      <a:pt x="1031" y="186"/>
                    </a:lnTo>
                    <a:lnTo>
                      <a:pt x="1046" y="173"/>
                    </a:lnTo>
                    <a:lnTo>
                      <a:pt x="1061" y="173"/>
                    </a:lnTo>
                    <a:lnTo>
                      <a:pt x="1077" y="168"/>
                    </a:lnTo>
                    <a:lnTo>
                      <a:pt x="1080" y="180"/>
                    </a:lnTo>
                    <a:lnTo>
                      <a:pt x="1085" y="185"/>
                    </a:lnTo>
                    <a:lnTo>
                      <a:pt x="1082" y="201"/>
                    </a:lnTo>
                    <a:lnTo>
                      <a:pt x="1097" y="203"/>
                    </a:lnTo>
                    <a:lnTo>
                      <a:pt x="1100" y="194"/>
                    </a:lnTo>
                    <a:lnTo>
                      <a:pt x="1116" y="194"/>
                    </a:lnTo>
                    <a:lnTo>
                      <a:pt x="1118" y="215"/>
                    </a:lnTo>
                    <a:lnTo>
                      <a:pt x="1119" y="227"/>
                    </a:lnTo>
                    <a:lnTo>
                      <a:pt x="1109" y="240"/>
                    </a:lnTo>
                    <a:lnTo>
                      <a:pt x="1103" y="258"/>
                    </a:lnTo>
                    <a:lnTo>
                      <a:pt x="1109" y="264"/>
                    </a:lnTo>
                    <a:lnTo>
                      <a:pt x="1124" y="270"/>
                    </a:lnTo>
                    <a:lnTo>
                      <a:pt x="1131" y="285"/>
                    </a:lnTo>
                    <a:lnTo>
                      <a:pt x="1142" y="290"/>
                    </a:lnTo>
                    <a:lnTo>
                      <a:pt x="1149" y="299"/>
                    </a:lnTo>
                    <a:lnTo>
                      <a:pt x="1155" y="302"/>
                    </a:lnTo>
                    <a:lnTo>
                      <a:pt x="1163" y="317"/>
                    </a:lnTo>
                    <a:lnTo>
                      <a:pt x="1155" y="327"/>
                    </a:lnTo>
                    <a:lnTo>
                      <a:pt x="1155" y="339"/>
                    </a:lnTo>
                    <a:lnTo>
                      <a:pt x="1148" y="347"/>
                    </a:lnTo>
                    <a:lnTo>
                      <a:pt x="1149" y="363"/>
                    </a:lnTo>
                    <a:lnTo>
                      <a:pt x="1140" y="369"/>
                    </a:lnTo>
                    <a:lnTo>
                      <a:pt x="1137" y="390"/>
                    </a:lnTo>
                    <a:lnTo>
                      <a:pt x="1164" y="416"/>
                    </a:lnTo>
                    <a:lnTo>
                      <a:pt x="1193" y="411"/>
                    </a:lnTo>
                    <a:lnTo>
                      <a:pt x="1202" y="420"/>
                    </a:lnTo>
                    <a:lnTo>
                      <a:pt x="1187" y="452"/>
                    </a:lnTo>
                    <a:lnTo>
                      <a:pt x="1176" y="455"/>
                    </a:lnTo>
                    <a:lnTo>
                      <a:pt x="1166" y="467"/>
                    </a:lnTo>
                    <a:lnTo>
                      <a:pt x="1155" y="470"/>
                    </a:lnTo>
                    <a:lnTo>
                      <a:pt x="1161" y="482"/>
                    </a:lnTo>
                    <a:lnTo>
                      <a:pt x="1149" y="504"/>
                    </a:lnTo>
                    <a:lnTo>
                      <a:pt x="1143" y="509"/>
                    </a:lnTo>
                    <a:lnTo>
                      <a:pt x="1127" y="509"/>
                    </a:lnTo>
                    <a:lnTo>
                      <a:pt x="1142" y="536"/>
                    </a:lnTo>
                    <a:lnTo>
                      <a:pt x="1166" y="545"/>
                    </a:lnTo>
                    <a:lnTo>
                      <a:pt x="1172" y="558"/>
                    </a:lnTo>
                    <a:lnTo>
                      <a:pt x="1176" y="575"/>
                    </a:lnTo>
                    <a:lnTo>
                      <a:pt x="1164" y="594"/>
                    </a:lnTo>
                    <a:lnTo>
                      <a:pt x="1157" y="605"/>
                    </a:lnTo>
                    <a:lnTo>
                      <a:pt x="1140" y="608"/>
                    </a:lnTo>
                    <a:lnTo>
                      <a:pt x="1140" y="615"/>
                    </a:lnTo>
                    <a:lnTo>
                      <a:pt x="1157" y="633"/>
                    </a:lnTo>
                    <a:lnTo>
                      <a:pt x="1154" y="650"/>
                    </a:lnTo>
                    <a:lnTo>
                      <a:pt x="1167" y="659"/>
                    </a:lnTo>
                    <a:lnTo>
                      <a:pt x="1176" y="651"/>
                    </a:lnTo>
                    <a:lnTo>
                      <a:pt x="1205" y="674"/>
                    </a:lnTo>
                    <a:lnTo>
                      <a:pt x="1200" y="687"/>
                    </a:lnTo>
                    <a:lnTo>
                      <a:pt x="1194" y="692"/>
                    </a:lnTo>
                    <a:lnTo>
                      <a:pt x="1205" y="711"/>
                    </a:lnTo>
                    <a:lnTo>
                      <a:pt x="1215" y="717"/>
                    </a:lnTo>
                    <a:lnTo>
                      <a:pt x="1217" y="725"/>
                    </a:lnTo>
                    <a:lnTo>
                      <a:pt x="1224" y="720"/>
                    </a:lnTo>
                    <a:lnTo>
                      <a:pt x="1233" y="729"/>
                    </a:lnTo>
                    <a:lnTo>
                      <a:pt x="1229" y="746"/>
                    </a:lnTo>
                    <a:lnTo>
                      <a:pt x="1233" y="759"/>
                    </a:lnTo>
                    <a:lnTo>
                      <a:pt x="1232" y="774"/>
                    </a:lnTo>
                    <a:lnTo>
                      <a:pt x="1227" y="780"/>
                    </a:lnTo>
                    <a:lnTo>
                      <a:pt x="1215" y="795"/>
                    </a:lnTo>
                    <a:lnTo>
                      <a:pt x="1218" y="821"/>
                    </a:lnTo>
                    <a:lnTo>
                      <a:pt x="1209" y="833"/>
                    </a:lnTo>
                    <a:lnTo>
                      <a:pt x="1227" y="860"/>
                    </a:lnTo>
                    <a:lnTo>
                      <a:pt x="1226" y="882"/>
                    </a:lnTo>
                    <a:lnTo>
                      <a:pt x="1230" y="888"/>
                    </a:lnTo>
                    <a:lnTo>
                      <a:pt x="1239" y="888"/>
                    </a:lnTo>
                    <a:lnTo>
                      <a:pt x="1239" y="903"/>
                    </a:lnTo>
                    <a:lnTo>
                      <a:pt x="1248" y="908"/>
                    </a:lnTo>
                    <a:lnTo>
                      <a:pt x="1242" y="918"/>
                    </a:lnTo>
                    <a:lnTo>
                      <a:pt x="1235" y="932"/>
                    </a:lnTo>
                    <a:lnTo>
                      <a:pt x="1205" y="945"/>
                    </a:lnTo>
                    <a:lnTo>
                      <a:pt x="1206" y="957"/>
                    </a:lnTo>
                    <a:lnTo>
                      <a:pt x="1209" y="962"/>
                    </a:lnTo>
                    <a:lnTo>
                      <a:pt x="1208" y="969"/>
                    </a:lnTo>
                    <a:lnTo>
                      <a:pt x="1218" y="981"/>
                    </a:lnTo>
                    <a:lnTo>
                      <a:pt x="1196" y="984"/>
                    </a:lnTo>
                    <a:lnTo>
                      <a:pt x="1193" y="984"/>
                    </a:lnTo>
                    <a:lnTo>
                      <a:pt x="1182" y="987"/>
                    </a:lnTo>
                    <a:lnTo>
                      <a:pt x="1173" y="984"/>
                    </a:lnTo>
                    <a:lnTo>
                      <a:pt x="1161" y="999"/>
                    </a:lnTo>
                    <a:lnTo>
                      <a:pt x="1149" y="999"/>
                    </a:lnTo>
                    <a:lnTo>
                      <a:pt x="1142" y="996"/>
                    </a:lnTo>
                    <a:lnTo>
                      <a:pt x="1137" y="987"/>
                    </a:lnTo>
                    <a:lnTo>
                      <a:pt x="1134" y="987"/>
                    </a:lnTo>
                    <a:lnTo>
                      <a:pt x="1128" y="986"/>
                    </a:lnTo>
                    <a:lnTo>
                      <a:pt x="1119" y="986"/>
                    </a:lnTo>
                    <a:lnTo>
                      <a:pt x="1113" y="983"/>
                    </a:lnTo>
                    <a:lnTo>
                      <a:pt x="1104" y="983"/>
                    </a:lnTo>
                    <a:lnTo>
                      <a:pt x="1097" y="978"/>
                    </a:lnTo>
                    <a:lnTo>
                      <a:pt x="1076" y="975"/>
                    </a:lnTo>
                    <a:lnTo>
                      <a:pt x="1073" y="972"/>
                    </a:lnTo>
                    <a:lnTo>
                      <a:pt x="1064" y="963"/>
                    </a:lnTo>
                    <a:lnTo>
                      <a:pt x="1046" y="968"/>
                    </a:lnTo>
                    <a:lnTo>
                      <a:pt x="1032" y="975"/>
                    </a:lnTo>
                    <a:lnTo>
                      <a:pt x="1019" y="975"/>
                    </a:lnTo>
                    <a:lnTo>
                      <a:pt x="1020" y="966"/>
                    </a:lnTo>
                    <a:lnTo>
                      <a:pt x="1011" y="960"/>
                    </a:lnTo>
                    <a:lnTo>
                      <a:pt x="1007" y="963"/>
                    </a:lnTo>
                    <a:lnTo>
                      <a:pt x="1001" y="966"/>
                    </a:lnTo>
                    <a:lnTo>
                      <a:pt x="990" y="963"/>
                    </a:lnTo>
                    <a:lnTo>
                      <a:pt x="990" y="971"/>
                    </a:lnTo>
                    <a:lnTo>
                      <a:pt x="960" y="972"/>
                    </a:lnTo>
                    <a:lnTo>
                      <a:pt x="953" y="981"/>
                    </a:lnTo>
                    <a:lnTo>
                      <a:pt x="939" y="980"/>
                    </a:lnTo>
                    <a:lnTo>
                      <a:pt x="936" y="974"/>
                    </a:lnTo>
                    <a:lnTo>
                      <a:pt x="935" y="966"/>
                    </a:lnTo>
                    <a:lnTo>
                      <a:pt x="921" y="950"/>
                    </a:lnTo>
                    <a:lnTo>
                      <a:pt x="915" y="948"/>
                    </a:lnTo>
                    <a:lnTo>
                      <a:pt x="911" y="945"/>
                    </a:lnTo>
                    <a:lnTo>
                      <a:pt x="879" y="951"/>
                    </a:lnTo>
                    <a:lnTo>
                      <a:pt x="885" y="962"/>
                    </a:lnTo>
                    <a:lnTo>
                      <a:pt x="884" y="965"/>
                    </a:lnTo>
                    <a:lnTo>
                      <a:pt x="887" y="972"/>
                    </a:lnTo>
                    <a:lnTo>
                      <a:pt x="884" y="990"/>
                    </a:lnTo>
                    <a:lnTo>
                      <a:pt x="881" y="1001"/>
                    </a:lnTo>
                    <a:lnTo>
                      <a:pt x="879" y="1005"/>
                    </a:lnTo>
                    <a:lnTo>
                      <a:pt x="861" y="1019"/>
                    </a:lnTo>
                    <a:lnTo>
                      <a:pt x="849" y="1022"/>
                    </a:lnTo>
                    <a:lnTo>
                      <a:pt x="836" y="998"/>
                    </a:lnTo>
                    <a:lnTo>
                      <a:pt x="831" y="996"/>
                    </a:lnTo>
                    <a:lnTo>
                      <a:pt x="831" y="990"/>
                    </a:lnTo>
                    <a:lnTo>
                      <a:pt x="824" y="995"/>
                    </a:lnTo>
                    <a:lnTo>
                      <a:pt x="810" y="1008"/>
                    </a:lnTo>
                    <a:lnTo>
                      <a:pt x="806" y="1017"/>
                    </a:lnTo>
                    <a:lnTo>
                      <a:pt x="797" y="1026"/>
                    </a:lnTo>
                    <a:lnTo>
                      <a:pt x="782" y="1025"/>
                    </a:lnTo>
                    <a:lnTo>
                      <a:pt x="782" y="1020"/>
                    </a:lnTo>
                    <a:lnTo>
                      <a:pt x="774" y="1014"/>
                    </a:lnTo>
                    <a:lnTo>
                      <a:pt x="773" y="1002"/>
                    </a:lnTo>
                    <a:lnTo>
                      <a:pt x="777" y="992"/>
                    </a:lnTo>
                    <a:lnTo>
                      <a:pt x="770" y="986"/>
                    </a:lnTo>
                    <a:lnTo>
                      <a:pt x="765" y="989"/>
                    </a:lnTo>
                    <a:lnTo>
                      <a:pt x="759" y="1002"/>
                    </a:lnTo>
                    <a:lnTo>
                      <a:pt x="747" y="1001"/>
                    </a:lnTo>
                    <a:lnTo>
                      <a:pt x="744" y="1001"/>
                    </a:lnTo>
                    <a:lnTo>
                      <a:pt x="740" y="1005"/>
                    </a:lnTo>
                    <a:lnTo>
                      <a:pt x="732" y="1011"/>
                    </a:lnTo>
                    <a:lnTo>
                      <a:pt x="722" y="1020"/>
                    </a:lnTo>
                    <a:lnTo>
                      <a:pt x="717" y="1022"/>
                    </a:lnTo>
                    <a:lnTo>
                      <a:pt x="719" y="990"/>
                    </a:lnTo>
                    <a:lnTo>
                      <a:pt x="711" y="987"/>
                    </a:lnTo>
                    <a:lnTo>
                      <a:pt x="711" y="983"/>
                    </a:lnTo>
                    <a:lnTo>
                      <a:pt x="704" y="980"/>
                    </a:lnTo>
                    <a:lnTo>
                      <a:pt x="699" y="984"/>
                    </a:lnTo>
                    <a:lnTo>
                      <a:pt x="693" y="989"/>
                    </a:lnTo>
                    <a:lnTo>
                      <a:pt x="690" y="998"/>
                    </a:lnTo>
                    <a:lnTo>
                      <a:pt x="686" y="999"/>
                    </a:lnTo>
                    <a:lnTo>
                      <a:pt x="686" y="1007"/>
                    </a:lnTo>
                    <a:lnTo>
                      <a:pt x="683" y="1011"/>
                    </a:lnTo>
                    <a:lnTo>
                      <a:pt x="675" y="1014"/>
                    </a:lnTo>
                    <a:lnTo>
                      <a:pt x="666" y="1029"/>
                    </a:lnTo>
                    <a:lnTo>
                      <a:pt x="666" y="1034"/>
                    </a:lnTo>
                    <a:lnTo>
                      <a:pt x="657" y="1037"/>
                    </a:lnTo>
                    <a:lnTo>
                      <a:pt x="644" y="1047"/>
                    </a:lnTo>
                    <a:lnTo>
                      <a:pt x="644" y="1056"/>
                    </a:lnTo>
                    <a:lnTo>
                      <a:pt x="627" y="1070"/>
                    </a:lnTo>
                    <a:lnTo>
                      <a:pt x="620" y="1079"/>
                    </a:lnTo>
                    <a:close/>
                  </a:path>
                </a:pathLst>
              </a:custGeom>
              <a:grp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5" name="Freeform 326">
                <a:extLst>
                  <a:ext uri="{FF2B5EF4-FFF2-40B4-BE49-F238E27FC236}">
                    <a16:creationId xmlns:a16="http://schemas.microsoft.com/office/drawing/2014/main" id="{D4D18A55-49A9-993D-07C2-E1377827FBAB}"/>
                  </a:ext>
                </a:extLst>
              </p:cNvPr>
              <p:cNvSpPr>
                <a:spLocks/>
              </p:cNvSpPr>
              <p:nvPr/>
            </p:nvSpPr>
            <p:spPr bwMode="auto">
              <a:xfrm>
                <a:off x="3149" y="1802"/>
                <a:ext cx="416" cy="709"/>
              </a:xfrm>
              <a:custGeom>
                <a:avLst/>
                <a:gdLst>
                  <a:gd name="T0" fmla="*/ 0 w 1248"/>
                  <a:gd name="T1" fmla="*/ 0 h 2127"/>
                  <a:gd name="T2" fmla="*/ 0 w 1248"/>
                  <a:gd name="T3" fmla="*/ 0 h 2127"/>
                  <a:gd name="T4" fmla="*/ 0 w 1248"/>
                  <a:gd name="T5" fmla="*/ 0 h 2127"/>
                  <a:gd name="T6" fmla="*/ 0 w 1248"/>
                  <a:gd name="T7" fmla="*/ 0 h 2127"/>
                  <a:gd name="T8" fmla="*/ 0 w 1248"/>
                  <a:gd name="T9" fmla="*/ 0 h 2127"/>
                  <a:gd name="T10" fmla="*/ 0 w 1248"/>
                  <a:gd name="T11" fmla="*/ 0 h 2127"/>
                  <a:gd name="T12" fmla="*/ 0 w 1248"/>
                  <a:gd name="T13" fmla="*/ 0 h 2127"/>
                  <a:gd name="T14" fmla="*/ 0 w 1248"/>
                  <a:gd name="T15" fmla="*/ 0 h 2127"/>
                  <a:gd name="T16" fmla="*/ 0 w 1248"/>
                  <a:gd name="T17" fmla="*/ 0 h 2127"/>
                  <a:gd name="T18" fmla="*/ 0 w 1248"/>
                  <a:gd name="T19" fmla="*/ 0 h 2127"/>
                  <a:gd name="T20" fmla="*/ 0 w 1248"/>
                  <a:gd name="T21" fmla="*/ 0 h 2127"/>
                  <a:gd name="T22" fmla="*/ 0 w 1248"/>
                  <a:gd name="T23" fmla="*/ 0 h 2127"/>
                  <a:gd name="T24" fmla="*/ 0 w 1248"/>
                  <a:gd name="T25" fmla="*/ 0 h 2127"/>
                  <a:gd name="T26" fmla="*/ 0 w 1248"/>
                  <a:gd name="T27" fmla="*/ 0 h 2127"/>
                  <a:gd name="T28" fmla="*/ 0 w 1248"/>
                  <a:gd name="T29" fmla="*/ 0 h 2127"/>
                  <a:gd name="T30" fmla="*/ 0 w 1248"/>
                  <a:gd name="T31" fmla="*/ 0 h 2127"/>
                  <a:gd name="T32" fmla="*/ 0 w 1248"/>
                  <a:gd name="T33" fmla="*/ 0 h 2127"/>
                  <a:gd name="T34" fmla="*/ 0 w 1248"/>
                  <a:gd name="T35" fmla="*/ 0 h 2127"/>
                  <a:gd name="T36" fmla="*/ 0 w 1248"/>
                  <a:gd name="T37" fmla="*/ 0 h 2127"/>
                  <a:gd name="T38" fmla="*/ 0 w 1248"/>
                  <a:gd name="T39" fmla="*/ 0 h 2127"/>
                  <a:gd name="T40" fmla="*/ 0 w 1248"/>
                  <a:gd name="T41" fmla="*/ 0 h 2127"/>
                  <a:gd name="T42" fmla="*/ 0 w 1248"/>
                  <a:gd name="T43" fmla="*/ 0 h 2127"/>
                  <a:gd name="T44" fmla="*/ 0 w 1248"/>
                  <a:gd name="T45" fmla="*/ 0 h 2127"/>
                  <a:gd name="T46" fmla="*/ 0 w 1248"/>
                  <a:gd name="T47" fmla="*/ 0 h 2127"/>
                  <a:gd name="T48" fmla="*/ 0 w 1248"/>
                  <a:gd name="T49" fmla="*/ 0 h 2127"/>
                  <a:gd name="T50" fmla="*/ 0 w 1248"/>
                  <a:gd name="T51" fmla="*/ 0 h 2127"/>
                  <a:gd name="T52" fmla="*/ 0 w 1248"/>
                  <a:gd name="T53" fmla="*/ 0 h 2127"/>
                  <a:gd name="T54" fmla="*/ 0 w 1248"/>
                  <a:gd name="T55" fmla="*/ 0 h 2127"/>
                  <a:gd name="T56" fmla="*/ 0 w 1248"/>
                  <a:gd name="T57" fmla="*/ 0 h 2127"/>
                  <a:gd name="T58" fmla="*/ 0 w 1248"/>
                  <a:gd name="T59" fmla="*/ 0 h 2127"/>
                  <a:gd name="T60" fmla="*/ 0 w 1248"/>
                  <a:gd name="T61" fmla="*/ 0 h 2127"/>
                  <a:gd name="T62" fmla="*/ 0 w 1248"/>
                  <a:gd name="T63" fmla="*/ 0 h 2127"/>
                  <a:gd name="T64" fmla="*/ 0 w 1248"/>
                  <a:gd name="T65" fmla="*/ 0 h 2127"/>
                  <a:gd name="T66" fmla="*/ 0 w 1248"/>
                  <a:gd name="T67" fmla="*/ 0 h 2127"/>
                  <a:gd name="T68" fmla="*/ 0 w 1248"/>
                  <a:gd name="T69" fmla="*/ 0 h 2127"/>
                  <a:gd name="T70" fmla="*/ 0 w 1248"/>
                  <a:gd name="T71" fmla="*/ 0 h 2127"/>
                  <a:gd name="T72" fmla="*/ 0 w 1248"/>
                  <a:gd name="T73" fmla="*/ 0 h 2127"/>
                  <a:gd name="T74" fmla="*/ 0 w 1248"/>
                  <a:gd name="T75" fmla="*/ 0 h 2127"/>
                  <a:gd name="T76" fmla="*/ 0 w 1248"/>
                  <a:gd name="T77" fmla="*/ 0 h 2127"/>
                  <a:gd name="T78" fmla="*/ 0 w 1248"/>
                  <a:gd name="T79" fmla="*/ 0 h 2127"/>
                  <a:gd name="T80" fmla="*/ 0 w 1248"/>
                  <a:gd name="T81" fmla="*/ 0 h 2127"/>
                  <a:gd name="T82" fmla="*/ 0 w 1248"/>
                  <a:gd name="T83" fmla="*/ 0 h 2127"/>
                  <a:gd name="T84" fmla="*/ 0 w 1248"/>
                  <a:gd name="T85" fmla="*/ 0 h 2127"/>
                  <a:gd name="T86" fmla="*/ 0 w 1248"/>
                  <a:gd name="T87" fmla="*/ 0 h 2127"/>
                  <a:gd name="T88" fmla="*/ 0 w 1248"/>
                  <a:gd name="T89" fmla="*/ 0 h 2127"/>
                  <a:gd name="T90" fmla="*/ 0 w 1248"/>
                  <a:gd name="T91" fmla="*/ 0 h 2127"/>
                  <a:gd name="T92" fmla="*/ 0 w 1248"/>
                  <a:gd name="T93" fmla="*/ 0 h 2127"/>
                  <a:gd name="T94" fmla="*/ 0 w 1248"/>
                  <a:gd name="T95" fmla="*/ 0 h 2127"/>
                  <a:gd name="T96" fmla="*/ 0 w 1248"/>
                  <a:gd name="T97" fmla="*/ 0 h 2127"/>
                  <a:gd name="T98" fmla="*/ 0 w 1248"/>
                  <a:gd name="T99" fmla="*/ 0 h 2127"/>
                  <a:gd name="T100" fmla="*/ 0 w 1248"/>
                  <a:gd name="T101" fmla="*/ 0 h 2127"/>
                  <a:gd name="T102" fmla="*/ 0 w 1248"/>
                  <a:gd name="T103" fmla="*/ 0 h 2127"/>
                  <a:gd name="T104" fmla="*/ 0 w 1248"/>
                  <a:gd name="T105" fmla="*/ 0 h 2127"/>
                  <a:gd name="T106" fmla="*/ 0 w 1248"/>
                  <a:gd name="T107" fmla="*/ 0 h 2127"/>
                  <a:gd name="T108" fmla="*/ 0 w 1248"/>
                  <a:gd name="T109" fmla="*/ 0 h 2127"/>
                  <a:gd name="T110" fmla="*/ 0 w 1248"/>
                  <a:gd name="T111" fmla="*/ 0 h 2127"/>
                  <a:gd name="T112" fmla="*/ 0 w 1248"/>
                  <a:gd name="T113" fmla="*/ 0 h 2127"/>
                  <a:gd name="T114" fmla="*/ 0 w 1248"/>
                  <a:gd name="T115" fmla="*/ 0 h 2127"/>
                  <a:gd name="T116" fmla="*/ 0 w 1248"/>
                  <a:gd name="T117" fmla="*/ 0 h 21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48" h="2127">
                    <a:moveTo>
                      <a:pt x="1001" y="1752"/>
                    </a:moveTo>
                    <a:lnTo>
                      <a:pt x="986" y="1755"/>
                    </a:lnTo>
                    <a:lnTo>
                      <a:pt x="981" y="1757"/>
                    </a:lnTo>
                    <a:lnTo>
                      <a:pt x="987" y="1770"/>
                    </a:lnTo>
                    <a:lnTo>
                      <a:pt x="981" y="1794"/>
                    </a:lnTo>
                    <a:lnTo>
                      <a:pt x="995" y="1794"/>
                    </a:lnTo>
                    <a:lnTo>
                      <a:pt x="993" y="1802"/>
                    </a:lnTo>
                    <a:lnTo>
                      <a:pt x="986" y="1811"/>
                    </a:lnTo>
                    <a:lnTo>
                      <a:pt x="990" y="1812"/>
                    </a:lnTo>
                    <a:lnTo>
                      <a:pt x="993" y="1818"/>
                    </a:lnTo>
                    <a:lnTo>
                      <a:pt x="998" y="1820"/>
                    </a:lnTo>
                    <a:lnTo>
                      <a:pt x="1004" y="1823"/>
                    </a:lnTo>
                    <a:lnTo>
                      <a:pt x="1011" y="1824"/>
                    </a:lnTo>
                    <a:lnTo>
                      <a:pt x="1011" y="1832"/>
                    </a:lnTo>
                    <a:lnTo>
                      <a:pt x="1014" y="1839"/>
                    </a:lnTo>
                    <a:lnTo>
                      <a:pt x="1002" y="1839"/>
                    </a:lnTo>
                    <a:lnTo>
                      <a:pt x="999" y="1842"/>
                    </a:lnTo>
                    <a:lnTo>
                      <a:pt x="990" y="1839"/>
                    </a:lnTo>
                    <a:lnTo>
                      <a:pt x="989" y="1844"/>
                    </a:lnTo>
                    <a:lnTo>
                      <a:pt x="986" y="1850"/>
                    </a:lnTo>
                    <a:lnTo>
                      <a:pt x="989" y="1854"/>
                    </a:lnTo>
                    <a:lnTo>
                      <a:pt x="984" y="1859"/>
                    </a:lnTo>
                    <a:lnTo>
                      <a:pt x="977" y="1857"/>
                    </a:lnTo>
                    <a:lnTo>
                      <a:pt x="974" y="1851"/>
                    </a:lnTo>
                    <a:lnTo>
                      <a:pt x="968" y="1848"/>
                    </a:lnTo>
                    <a:lnTo>
                      <a:pt x="965" y="1850"/>
                    </a:lnTo>
                    <a:lnTo>
                      <a:pt x="965" y="1856"/>
                    </a:lnTo>
                    <a:lnTo>
                      <a:pt x="962" y="1862"/>
                    </a:lnTo>
                    <a:lnTo>
                      <a:pt x="954" y="1857"/>
                    </a:lnTo>
                    <a:lnTo>
                      <a:pt x="953" y="1860"/>
                    </a:lnTo>
                    <a:lnTo>
                      <a:pt x="944" y="1857"/>
                    </a:lnTo>
                    <a:lnTo>
                      <a:pt x="939" y="1841"/>
                    </a:lnTo>
                    <a:lnTo>
                      <a:pt x="927" y="1845"/>
                    </a:lnTo>
                    <a:lnTo>
                      <a:pt x="924" y="1850"/>
                    </a:lnTo>
                    <a:lnTo>
                      <a:pt x="917" y="1838"/>
                    </a:lnTo>
                    <a:lnTo>
                      <a:pt x="912" y="1841"/>
                    </a:lnTo>
                    <a:lnTo>
                      <a:pt x="912" y="1850"/>
                    </a:lnTo>
                    <a:lnTo>
                      <a:pt x="908" y="1863"/>
                    </a:lnTo>
                    <a:lnTo>
                      <a:pt x="900" y="1865"/>
                    </a:lnTo>
                    <a:lnTo>
                      <a:pt x="896" y="1869"/>
                    </a:lnTo>
                    <a:lnTo>
                      <a:pt x="887" y="1869"/>
                    </a:lnTo>
                    <a:lnTo>
                      <a:pt x="885" y="1881"/>
                    </a:lnTo>
                    <a:lnTo>
                      <a:pt x="881" y="1878"/>
                    </a:lnTo>
                    <a:lnTo>
                      <a:pt x="867" y="1884"/>
                    </a:lnTo>
                    <a:lnTo>
                      <a:pt x="867" y="1892"/>
                    </a:lnTo>
                    <a:lnTo>
                      <a:pt x="855" y="1889"/>
                    </a:lnTo>
                    <a:lnTo>
                      <a:pt x="852" y="1884"/>
                    </a:lnTo>
                    <a:lnTo>
                      <a:pt x="849" y="1889"/>
                    </a:lnTo>
                    <a:lnTo>
                      <a:pt x="852" y="1895"/>
                    </a:lnTo>
                    <a:lnTo>
                      <a:pt x="842" y="1896"/>
                    </a:lnTo>
                    <a:lnTo>
                      <a:pt x="828" y="1905"/>
                    </a:lnTo>
                    <a:lnTo>
                      <a:pt x="827" y="1910"/>
                    </a:lnTo>
                    <a:lnTo>
                      <a:pt x="816" y="1919"/>
                    </a:lnTo>
                    <a:lnTo>
                      <a:pt x="813" y="1928"/>
                    </a:lnTo>
                    <a:lnTo>
                      <a:pt x="815" y="1931"/>
                    </a:lnTo>
                    <a:lnTo>
                      <a:pt x="813" y="1938"/>
                    </a:lnTo>
                    <a:lnTo>
                      <a:pt x="810" y="1938"/>
                    </a:lnTo>
                    <a:lnTo>
                      <a:pt x="807" y="1941"/>
                    </a:lnTo>
                    <a:lnTo>
                      <a:pt x="798" y="1947"/>
                    </a:lnTo>
                    <a:lnTo>
                      <a:pt x="798" y="1952"/>
                    </a:lnTo>
                    <a:lnTo>
                      <a:pt x="795" y="1950"/>
                    </a:lnTo>
                    <a:lnTo>
                      <a:pt x="794" y="1958"/>
                    </a:lnTo>
                    <a:lnTo>
                      <a:pt x="791" y="1953"/>
                    </a:lnTo>
                    <a:lnTo>
                      <a:pt x="788" y="1959"/>
                    </a:lnTo>
                    <a:lnTo>
                      <a:pt x="765" y="1959"/>
                    </a:lnTo>
                    <a:lnTo>
                      <a:pt x="761" y="1958"/>
                    </a:lnTo>
                    <a:lnTo>
                      <a:pt x="756" y="1965"/>
                    </a:lnTo>
                    <a:lnTo>
                      <a:pt x="756" y="1977"/>
                    </a:lnTo>
                    <a:lnTo>
                      <a:pt x="752" y="1985"/>
                    </a:lnTo>
                    <a:lnTo>
                      <a:pt x="737" y="1986"/>
                    </a:lnTo>
                    <a:lnTo>
                      <a:pt x="729" y="1991"/>
                    </a:lnTo>
                    <a:lnTo>
                      <a:pt x="728" y="1989"/>
                    </a:lnTo>
                    <a:lnTo>
                      <a:pt x="725" y="1983"/>
                    </a:lnTo>
                    <a:lnTo>
                      <a:pt x="722" y="1986"/>
                    </a:lnTo>
                    <a:lnTo>
                      <a:pt x="720" y="1988"/>
                    </a:lnTo>
                    <a:lnTo>
                      <a:pt x="711" y="1983"/>
                    </a:lnTo>
                    <a:lnTo>
                      <a:pt x="710" y="1977"/>
                    </a:lnTo>
                    <a:lnTo>
                      <a:pt x="695" y="1976"/>
                    </a:lnTo>
                    <a:lnTo>
                      <a:pt x="698" y="1983"/>
                    </a:lnTo>
                    <a:lnTo>
                      <a:pt x="696" y="1988"/>
                    </a:lnTo>
                    <a:lnTo>
                      <a:pt x="692" y="1991"/>
                    </a:lnTo>
                    <a:lnTo>
                      <a:pt x="684" y="1991"/>
                    </a:lnTo>
                    <a:lnTo>
                      <a:pt x="683" y="1988"/>
                    </a:lnTo>
                    <a:lnTo>
                      <a:pt x="680" y="1976"/>
                    </a:lnTo>
                    <a:lnTo>
                      <a:pt x="671" y="1973"/>
                    </a:lnTo>
                    <a:lnTo>
                      <a:pt x="671" y="1983"/>
                    </a:lnTo>
                    <a:lnTo>
                      <a:pt x="663" y="1988"/>
                    </a:lnTo>
                    <a:lnTo>
                      <a:pt x="650" y="1986"/>
                    </a:lnTo>
                    <a:lnTo>
                      <a:pt x="648" y="1992"/>
                    </a:lnTo>
                    <a:lnTo>
                      <a:pt x="654" y="1995"/>
                    </a:lnTo>
                    <a:lnTo>
                      <a:pt x="647" y="2018"/>
                    </a:lnTo>
                    <a:lnTo>
                      <a:pt x="641" y="2028"/>
                    </a:lnTo>
                    <a:lnTo>
                      <a:pt x="636" y="2021"/>
                    </a:lnTo>
                    <a:lnTo>
                      <a:pt x="636" y="2016"/>
                    </a:lnTo>
                    <a:lnTo>
                      <a:pt x="630" y="2016"/>
                    </a:lnTo>
                    <a:lnTo>
                      <a:pt x="621" y="2018"/>
                    </a:lnTo>
                    <a:lnTo>
                      <a:pt x="612" y="2031"/>
                    </a:lnTo>
                    <a:lnTo>
                      <a:pt x="608" y="2042"/>
                    </a:lnTo>
                    <a:lnTo>
                      <a:pt x="609" y="2046"/>
                    </a:lnTo>
                    <a:lnTo>
                      <a:pt x="605" y="2048"/>
                    </a:lnTo>
                    <a:lnTo>
                      <a:pt x="605" y="2054"/>
                    </a:lnTo>
                    <a:lnTo>
                      <a:pt x="593" y="2057"/>
                    </a:lnTo>
                    <a:lnTo>
                      <a:pt x="584" y="2061"/>
                    </a:lnTo>
                    <a:lnTo>
                      <a:pt x="584" y="2072"/>
                    </a:lnTo>
                    <a:lnTo>
                      <a:pt x="575" y="2078"/>
                    </a:lnTo>
                    <a:lnTo>
                      <a:pt x="572" y="2085"/>
                    </a:lnTo>
                    <a:lnTo>
                      <a:pt x="548" y="2078"/>
                    </a:lnTo>
                    <a:lnTo>
                      <a:pt x="534" y="2066"/>
                    </a:lnTo>
                    <a:lnTo>
                      <a:pt x="519" y="2061"/>
                    </a:lnTo>
                    <a:lnTo>
                      <a:pt x="519" y="2069"/>
                    </a:lnTo>
                    <a:lnTo>
                      <a:pt x="513" y="2076"/>
                    </a:lnTo>
                    <a:lnTo>
                      <a:pt x="506" y="2076"/>
                    </a:lnTo>
                    <a:lnTo>
                      <a:pt x="504" y="2084"/>
                    </a:lnTo>
                    <a:lnTo>
                      <a:pt x="503" y="2103"/>
                    </a:lnTo>
                    <a:lnTo>
                      <a:pt x="494" y="2106"/>
                    </a:lnTo>
                    <a:lnTo>
                      <a:pt x="495" y="2120"/>
                    </a:lnTo>
                    <a:lnTo>
                      <a:pt x="491" y="2121"/>
                    </a:lnTo>
                    <a:lnTo>
                      <a:pt x="483" y="2127"/>
                    </a:lnTo>
                    <a:lnTo>
                      <a:pt x="477" y="2124"/>
                    </a:lnTo>
                    <a:lnTo>
                      <a:pt x="473" y="2106"/>
                    </a:lnTo>
                    <a:lnTo>
                      <a:pt x="461" y="2100"/>
                    </a:lnTo>
                    <a:lnTo>
                      <a:pt x="447" y="2099"/>
                    </a:lnTo>
                    <a:lnTo>
                      <a:pt x="435" y="2108"/>
                    </a:lnTo>
                    <a:lnTo>
                      <a:pt x="428" y="2100"/>
                    </a:lnTo>
                    <a:lnTo>
                      <a:pt x="426" y="2090"/>
                    </a:lnTo>
                    <a:lnTo>
                      <a:pt x="416" y="2079"/>
                    </a:lnTo>
                    <a:lnTo>
                      <a:pt x="407" y="2087"/>
                    </a:lnTo>
                    <a:lnTo>
                      <a:pt x="393" y="2088"/>
                    </a:lnTo>
                    <a:lnTo>
                      <a:pt x="392" y="2081"/>
                    </a:lnTo>
                    <a:lnTo>
                      <a:pt x="384" y="2081"/>
                    </a:lnTo>
                    <a:lnTo>
                      <a:pt x="381" y="2069"/>
                    </a:lnTo>
                    <a:lnTo>
                      <a:pt x="389" y="2061"/>
                    </a:lnTo>
                    <a:lnTo>
                      <a:pt x="392" y="2060"/>
                    </a:lnTo>
                    <a:lnTo>
                      <a:pt x="393" y="2049"/>
                    </a:lnTo>
                    <a:lnTo>
                      <a:pt x="407" y="2034"/>
                    </a:lnTo>
                    <a:lnTo>
                      <a:pt x="422" y="2025"/>
                    </a:lnTo>
                    <a:lnTo>
                      <a:pt x="408" y="2016"/>
                    </a:lnTo>
                    <a:lnTo>
                      <a:pt x="396" y="2012"/>
                    </a:lnTo>
                    <a:lnTo>
                      <a:pt x="392" y="2004"/>
                    </a:lnTo>
                    <a:lnTo>
                      <a:pt x="378" y="2003"/>
                    </a:lnTo>
                    <a:lnTo>
                      <a:pt x="371" y="2013"/>
                    </a:lnTo>
                    <a:lnTo>
                      <a:pt x="356" y="2015"/>
                    </a:lnTo>
                    <a:lnTo>
                      <a:pt x="353" y="2004"/>
                    </a:lnTo>
                    <a:lnTo>
                      <a:pt x="339" y="1997"/>
                    </a:lnTo>
                    <a:lnTo>
                      <a:pt x="330" y="1991"/>
                    </a:lnTo>
                    <a:lnTo>
                      <a:pt x="329" y="1983"/>
                    </a:lnTo>
                    <a:lnTo>
                      <a:pt x="318" y="1971"/>
                    </a:lnTo>
                    <a:lnTo>
                      <a:pt x="317" y="1964"/>
                    </a:lnTo>
                    <a:lnTo>
                      <a:pt x="323" y="1956"/>
                    </a:lnTo>
                    <a:lnTo>
                      <a:pt x="318" y="1950"/>
                    </a:lnTo>
                    <a:lnTo>
                      <a:pt x="317" y="1940"/>
                    </a:lnTo>
                    <a:lnTo>
                      <a:pt x="311" y="1937"/>
                    </a:lnTo>
                    <a:lnTo>
                      <a:pt x="306" y="1926"/>
                    </a:lnTo>
                    <a:lnTo>
                      <a:pt x="287" y="1925"/>
                    </a:lnTo>
                    <a:lnTo>
                      <a:pt x="284" y="1934"/>
                    </a:lnTo>
                    <a:lnTo>
                      <a:pt x="275" y="1935"/>
                    </a:lnTo>
                    <a:lnTo>
                      <a:pt x="266" y="1929"/>
                    </a:lnTo>
                    <a:lnTo>
                      <a:pt x="254" y="1931"/>
                    </a:lnTo>
                    <a:lnTo>
                      <a:pt x="248" y="1923"/>
                    </a:lnTo>
                    <a:lnTo>
                      <a:pt x="242" y="1928"/>
                    </a:lnTo>
                    <a:lnTo>
                      <a:pt x="236" y="1928"/>
                    </a:lnTo>
                    <a:lnTo>
                      <a:pt x="224" y="1935"/>
                    </a:lnTo>
                    <a:lnTo>
                      <a:pt x="213" y="1931"/>
                    </a:lnTo>
                    <a:lnTo>
                      <a:pt x="212" y="1935"/>
                    </a:lnTo>
                    <a:lnTo>
                      <a:pt x="206" y="1937"/>
                    </a:lnTo>
                    <a:lnTo>
                      <a:pt x="198" y="1932"/>
                    </a:lnTo>
                    <a:lnTo>
                      <a:pt x="191" y="1914"/>
                    </a:lnTo>
                    <a:lnTo>
                      <a:pt x="185" y="1914"/>
                    </a:lnTo>
                    <a:lnTo>
                      <a:pt x="180" y="1925"/>
                    </a:lnTo>
                    <a:lnTo>
                      <a:pt x="173" y="1943"/>
                    </a:lnTo>
                    <a:lnTo>
                      <a:pt x="168" y="1961"/>
                    </a:lnTo>
                    <a:lnTo>
                      <a:pt x="161" y="1962"/>
                    </a:lnTo>
                    <a:lnTo>
                      <a:pt x="144" y="1970"/>
                    </a:lnTo>
                    <a:lnTo>
                      <a:pt x="137" y="1943"/>
                    </a:lnTo>
                    <a:lnTo>
                      <a:pt x="116" y="1952"/>
                    </a:lnTo>
                    <a:lnTo>
                      <a:pt x="108" y="1935"/>
                    </a:lnTo>
                    <a:lnTo>
                      <a:pt x="98" y="1932"/>
                    </a:lnTo>
                    <a:lnTo>
                      <a:pt x="95" y="1922"/>
                    </a:lnTo>
                    <a:lnTo>
                      <a:pt x="96" y="1914"/>
                    </a:lnTo>
                    <a:lnTo>
                      <a:pt x="102" y="1905"/>
                    </a:lnTo>
                    <a:lnTo>
                      <a:pt x="102" y="1893"/>
                    </a:lnTo>
                    <a:lnTo>
                      <a:pt x="107" y="1880"/>
                    </a:lnTo>
                    <a:lnTo>
                      <a:pt x="110" y="1863"/>
                    </a:lnTo>
                    <a:lnTo>
                      <a:pt x="98" y="1859"/>
                    </a:lnTo>
                    <a:lnTo>
                      <a:pt x="87" y="1833"/>
                    </a:lnTo>
                    <a:lnTo>
                      <a:pt x="80" y="1835"/>
                    </a:lnTo>
                    <a:lnTo>
                      <a:pt x="69" y="1830"/>
                    </a:lnTo>
                    <a:lnTo>
                      <a:pt x="57" y="1835"/>
                    </a:lnTo>
                    <a:lnTo>
                      <a:pt x="47" y="1832"/>
                    </a:lnTo>
                    <a:lnTo>
                      <a:pt x="38" y="1839"/>
                    </a:lnTo>
                    <a:lnTo>
                      <a:pt x="15" y="1836"/>
                    </a:lnTo>
                    <a:lnTo>
                      <a:pt x="5" y="1823"/>
                    </a:lnTo>
                    <a:lnTo>
                      <a:pt x="2" y="1812"/>
                    </a:lnTo>
                    <a:lnTo>
                      <a:pt x="0" y="1802"/>
                    </a:lnTo>
                    <a:lnTo>
                      <a:pt x="12" y="1803"/>
                    </a:lnTo>
                    <a:lnTo>
                      <a:pt x="17" y="1793"/>
                    </a:lnTo>
                    <a:lnTo>
                      <a:pt x="17" y="1782"/>
                    </a:lnTo>
                    <a:lnTo>
                      <a:pt x="21" y="1778"/>
                    </a:lnTo>
                    <a:lnTo>
                      <a:pt x="29" y="1778"/>
                    </a:lnTo>
                    <a:lnTo>
                      <a:pt x="32" y="1769"/>
                    </a:lnTo>
                    <a:lnTo>
                      <a:pt x="42" y="1761"/>
                    </a:lnTo>
                    <a:lnTo>
                      <a:pt x="45" y="1755"/>
                    </a:lnTo>
                    <a:lnTo>
                      <a:pt x="54" y="1751"/>
                    </a:lnTo>
                    <a:lnTo>
                      <a:pt x="63" y="1749"/>
                    </a:lnTo>
                    <a:lnTo>
                      <a:pt x="65" y="1743"/>
                    </a:lnTo>
                    <a:lnTo>
                      <a:pt x="60" y="1733"/>
                    </a:lnTo>
                    <a:lnTo>
                      <a:pt x="66" y="1706"/>
                    </a:lnTo>
                    <a:lnTo>
                      <a:pt x="66" y="1703"/>
                    </a:lnTo>
                    <a:lnTo>
                      <a:pt x="87" y="1704"/>
                    </a:lnTo>
                    <a:lnTo>
                      <a:pt x="90" y="1712"/>
                    </a:lnTo>
                    <a:lnTo>
                      <a:pt x="104" y="1706"/>
                    </a:lnTo>
                    <a:lnTo>
                      <a:pt x="105" y="1719"/>
                    </a:lnTo>
                    <a:lnTo>
                      <a:pt x="110" y="1722"/>
                    </a:lnTo>
                    <a:lnTo>
                      <a:pt x="114" y="1724"/>
                    </a:lnTo>
                    <a:lnTo>
                      <a:pt x="119" y="1712"/>
                    </a:lnTo>
                    <a:lnTo>
                      <a:pt x="116" y="1704"/>
                    </a:lnTo>
                    <a:lnTo>
                      <a:pt x="119" y="1700"/>
                    </a:lnTo>
                    <a:lnTo>
                      <a:pt x="117" y="1682"/>
                    </a:lnTo>
                    <a:lnTo>
                      <a:pt x="131" y="1671"/>
                    </a:lnTo>
                    <a:lnTo>
                      <a:pt x="150" y="1632"/>
                    </a:lnTo>
                    <a:lnTo>
                      <a:pt x="144" y="1629"/>
                    </a:lnTo>
                    <a:lnTo>
                      <a:pt x="143" y="1625"/>
                    </a:lnTo>
                    <a:lnTo>
                      <a:pt x="153" y="1608"/>
                    </a:lnTo>
                    <a:lnTo>
                      <a:pt x="144" y="1595"/>
                    </a:lnTo>
                    <a:lnTo>
                      <a:pt x="146" y="1581"/>
                    </a:lnTo>
                    <a:lnTo>
                      <a:pt x="143" y="1568"/>
                    </a:lnTo>
                    <a:lnTo>
                      <a:pt x="138" y="1556"/>
                    </a:lnTo>
                    <a:lnTo>
                      <a:pt x="149" y="1553"/>
                    </a:lnTo>
                    <a:lnTo>
                      <a:pt x="164" y="1563"/>
                    </a:lnTo>
                    <a:lnTo>
                      <a:pt x="180" y="1571"/>
                    </a:lnTo>
                    <a:lnTo>
                      <a:pt x="191" y="1563"/>
                    </a:lnTo>
                    <a:lnTo>
                      <a:pt x="197" y="1566"/>
                    </a:lnTo>
                    <a:lnTo>
                      <a:pt x="206" y="1556"/>
                    </a:lnTo>
                    <a:lnTo>
                      <a:pt x="213" y="1553"/>
                    </a:lnTo>
                    <a:lnTo>
                      <a:pt x="215" y="1548"/>
                    </a:lnTo>
                    <a:lnTo>
                      <a:pt x="224" y="1550"/>
                    </a:lnTo>
                    <a:lnTo>
                      <a:pt x="227" y="1541"/>
                    </a:lnTo>
                    <a:lnTo>
                      <a:pt x="231" y="1538"/>
                    </a:lnTo>
                    <a:lnTo>
                      <a:pt x="231" y="1529"/>
                    </a:lnTo>
                    <a:lnTo>
                      <a:pt x="236" y="1527"/>
                    </a:lnTo>
                    <a:lnTo>
                      <a:pt x="243" y="1523"/>
                    </a:lnTo>
                    <a:lnTo>
                      <a:pt x="246" y="1506"/>
                    </a:lnTo>
                    <a:lnTo>
                      <a:pt x="240" y="1502"/>
                    </a:lnTo>
                    <a:lnTo>
                      <a:pt x="236" y="1494"/>
                    </a:lnTo>
                    <a:lnTo>
                      <a:pt x="237" y="1482"/>
                    </a:lnTo>
                    <a:lnTo>
                      <a:pt x="228" y="1482"/>
                    </a:lnTo>
                    <a:lnTo>
                      <a:pt x="224" y="1475"/>
                    </a:lnTo>
                    <a:lnTo>
                      <a:pt x="230" y="1464"/>
                    </a:lnTo>
                    <a:lnTo>
                      <a:pt x="212" y="1455"/>
                    </a:lnTo>
                    <a:lnTo>
                      <a:pt x="207" y="1445"/>
                    </a:lnTo>
                    <a:lnTo>
                      <a:pt x="197" y="1437"/>
                    </a:lnTo>
                    <a:lnTo>
                      <a:pt x="183" y="1455"/>
                    </a:lnTo>
                    <a:lnTo>
                      <a:pt x="176" y="1437"/>
                    </a:lnTo>
                    <a:lnTo>
                      <a:pt x="168" y="1431"/>
                    </a:lnTo>
                    <a:lnTo>
                      <a:pt x="141" y="1415"/>
                    </a:lnTo>
                    <a:lnTo>
                      <a:pt x="141" y="1407"/>
                    </a:lnTo>
                    <a:lnTo>
                      <a:pt x="150" y="1401"/>
                    </a:lnTo>
                    <a:lnTo>
                      <a:pt x="153" y="1394"/>
                    </a:lnTo>
                    <a:lnTo>
                      <a:pt x="144" y="1389"/>
                    </a:lnTo>
                    <a:lnTo>
                      <a:pt x="155" y="1371"/>
                    </a:lnTo>
                    <a:lnTo>
                      <a:pt x="156" y="1358"/>
                    </a:lnTo>
                    <a:lnTo>
                      <a:pt x="153" y="1346"/>
                    </a:lnTo>
                    <a:lnTo>
                      <a:pt x="141" y="1341"/>
                    </a:lnTo>
                    <a:lnTo>
                      <a:pt x="141" y="1332"/>
                    </a:lnTo>
                    <a:lnTo>
                      <a:pt x="149" y="1328"/>
                    </a:lnTo>
                    <a:lnTo>
                      <a:pt x="164" y="1317"/>
                    </a:lnTo>
                    <a:lnTo>
                      <a:pt x="168" y="1313"/>
                    </a:lnTo>
                    <a:lnTo>
                      <a:pt x="167" y="1308"/>
                    </a:lnTo>
                    <a:lnTo>
                      <a:pt x="156" y="1299"/>
                    </a:lnTo>
                    <a:lnTo>
                      <a:pt x="158" y="1290"/>
                    </a:lnTo>
                    <a:lnTo>
                      <a:pt x="159" y="1283"/>
                    </a:lnTo>
                    <a:lnTo>
                      <a:pt x="165" y="1281"/>
                    </a:lnTo>
                    <a:lnTo>
                      <a:pt x="158" y="1278"/>
                    </a:lnTo>
                    <a:lnTo>
                      <a:pt x="158" y="1271"/>
                    </a:lnTo>
                    <a:lnTo>
                      <a:pt x="161" y="1268"/>
                    </a:lnTo>
                    <a:lnTo>
                      <a:pt x="155" y="1257"/>
                    </a:lnTo>
                    <a:lnTo>
                      <a:pt x="149" y="1262"/>
                    </a:lnTo>
                    <a:lnTo>
                      <a:pt x="147" y="1253"/>
                    </a:lnTo>
                    <a:lnTo>
                      <a:pt x="144" y="1244"/>
                    </a:lnTo>
                    <a:lnTo>
                      <a:pt x="135" y="1244"/>
                    </a:lnTo>
                    <a:lnTo>
                      <a:pt x="134" y="1230"/>
                    </a:lnTo>
                    <a:lnTo>
                      <a:pt x="128" y="1226"/>
                    </a:lnTo>
                    <a:lnTo>
                      <a:pt x="143" y="1208"/>
                    </a:lnTo>
                    <a:lnTo>
                      <a:pt x="147" y="1209"/>
                    </a:lnTo>
                    <a:lnTo>
                      <a:pt x="167" y="1206"/>
                    </a:lnTo>
                    <a:lnTo>
                      <a:pt x="174" y="1200"/>
                    </a:lnTo>
                    <a:lnTo>
                      <a:pt x="170" y="1196"/>
                    </a:lnTo>
                    <a:lnTo>
                      <a:pt x="171" y="1185"/>
                    </a:lnTo>
                    <a:lnTo>
                      <a:pt x="182" y="1184"/>
                    </a:lnTo>
                    <a:lnTo>
                      <a:pt x="186" y="1169"/>
                    </a:lnTo>
                    <a:lnTo>
                      <a:pt x="203" y="1166"/>
                    </a:lnTo>
                    <a:lnTo>
                      <a:pt x="215" y="1142"/>
                    </a:lnTo>
                    <a:lnTo>
                      <a:pt x="221" y="1145"/>
                    </a:lnTo>
                    <a:lnTo>
                      <a:pt x="237" y="1146"/>
                    </a:lnTo>
                    <a:lnTo>
                      <a:pt x="240" y="1137"/>
                    </a:lnTo>
                    <a:lnTo>
                      <a:pt x="246" y="1137"/>
                    </a:lnTo>
                    <a:lnTo>
                      <a:pt x="254" y="1146"/>
                    </a:lnTo>
                    <a:lnTo>
                      <a:pt x="260" y="1143"/>
                    </a:lnTo>
                    <a:lnTo>
                      <a:pt x="272" y="1145"/>
                    </a:lnTo>
                    <a:lnTo>
                      <a:pt x="281" y="1149"/>
                    </a:lnTo>
                    <a:lnTo>
                      <a:pt x="285" y="1145"/>
                    </a:lnTo>
                    <a:lnTo>
                      <a:pt x="291" y="1154"/>
                    </a:lnTo>
                    <a:lnTo>
                      <a:pt x="296" y="1149"/>
                    </a:lnTo>
                    <a:lnTo>
                      <a:pt x="294" y="1136"/>
                    </a:lnTo>
                    <a:lnTo>
                      <a:pt x="299" y="1127"/>
                    </a:lnTo>
                    <a:lnTo>
                      <a:pt x="294" y="1124"/>
                    </a:lnTo>
                    <a:lnTo>
                      <a:pt x="300" y="1116"/>
                    </a:lnTo>
                    <a:lnTo>
                      <a:pt x="308" y="1115"/>
                    </a:lnTo>
                    <a:lnTo>
                      <a:pt x="309" y="1106"/>
                    </a:lnTo>
                    <a:lnTo>
                      <a:pt x="314" y="1100"/>
                    </a:lnTo>
                    <a:lnTo>
                      <a:pt x="311" y="1094"/>
                    </a:lnTo>
                    <a:lnTo>
                      <a:pt x="315" y="1085"/>
                    </a:lnTo>
                    <a:lnTo>
                      <a:pt x="312" y="1079"/>
                    </a:lnTo>
                    <a:lnTo>
                      <a:pt x="330" y="1062"/>
                    </a:lnTo>
                    <a:lnTo>
                      <a:pt x="333" y="1055"/>
                    </a:lnTo>
                    <a:lnTo>
                      <a:pt x="354" y="1058"/>
                    </a:lnTo>
                    <a:lnTo>
                      <a:pt x="372" y="1053"/>
                    </a:lnTo>
                    <a:lnTo>
                      <a:pt x="380" y="1064"/>
                    </a:lnTo>
                    <a:lnTo>
                      <a:pt x="393" y="1068"/>
                    </a:lnTo>
                    <a:lnTo>
                      <a:pt x="395" y="1058"/>
                    </a:lnTo>
                    <a:lnTo>
                      <a:pt x="395" y="1050"/>
                    </a:lnTo>
                    <a:lnTo>
                      <a:pt x="402" y="1050"/>
                    </a:lnTo>
                    <a:lnTo>
                      <a:pt x="410" y="1044"/>
                    </a:lnTo>
                    <a:lnTo>
                      <a:pt x="410" y="1038"/>
                    </a:lnTo>
                    <a:lnTo>
                      <a:pt x="419" y="1023"/>
                    </a:lnTo>
                    <a:lnTo>
                      <a:pt x="432" y="1029"/>
                    </a:lnTo>
                    <a:lnTo>
                      <a:pt x="441" y="1020"/>
                    </a:lnTo>
                    <a:lnTo>
                      <a:pt x="449" y="1010"/>
                    </a:lnTo>
                    <a:lnTo>
                      <a:pt x="452" y="992"/>
                    </a:lnTo>
                    <a:lnTo>
                      <a:pt x="458" y="969"/>
                    </a:lnTo>
                    <a:lnTo>
                      <a:pt x="438" y="978"/>
                    </a:lnTo>
                    <a:lnTo>
                      <a:pt x="441" y="963"/>
                    </a:lnTo>
                    <a:lnTo>
                      <a:pt x="428" y="954"/>
                    </a:lnTo>
                    <a:lnTo>
                      <a:pt x="410" y="947"/>
                    </a:lnTo>
                    <a:lnTo>
                      <a:pt x="402" y="927"/>
                    </a:lnTo>
                    <a:lnTo>
                      <a:pt x="417" y="926"/>
                    </a:lnTo>
                    <a:lnTo>
                      <a:pt x="396" y="896"/>
                    </a:lnTo>
                    <a:lnTo>
                      <a:pt x="414" y="894"/>
                    </a:lnTo>
                    <a:lnTo>
                      <a:pt x="392" y="870"/>
                    </a:lnTo>
                    <a:lnTo>
                      <a:pt x="387" y="866"/>
                    </a:lnTo>
                    <a:lnTo>
                      <a:pt x="372" y="849"/>
                    </a:lnTo>
                    <a:lnTo>
                      <a:pt x="311" y="845"/>
                    </a:lnTo>
                    <a:lnTo>
                      <a:pt x="306" y="816"/>
                    </a:lnTo>
                    <a:lnTo>
                      <a:pt x="278" y="816"/>
                    </a:lnTo>
                    <a:lnTo>
                      <a:pt x="246" y="795"/>
                    </a:lnTo>
                    <a:lnTo>
                      <a:pt x="243" y="786"/>
                    </a:lnTo>
                    <a:lnTo>
                      <a:pt x="225" y="777"/>
                    </a:lnTo>
                    <a:lnTo>
                      <a:pt x="216" y="755"/>
                    </a:lnTo>
                    <a:lnTo>
                      <a:pt x="207" y="744"/>
                    </a:lnTo>
                    <a:lnTo>
                      <a:pt x="210" y="737"/>
                    </a:lnTo>
                    <a:lnTo>
                      <a:pt x="221" y="716"/>
                    </a:lnTo>
                    <a:lnTo>
                      <a:pt x="219" y="707"/>
                    </a:lnTo>
                    <a:lnTo>
                      <a:pt x="216" y="686"/>
                    </a:lnTo>
                    <a:lnTo>
                      <a:pt x="219" y="677"/>
                    </a:lnTo>
                    <a:lnTo>
                      <a:pt x="234" y="666"/>
                    </a:lnTo>
                    <a:lnTo>
                      <a:pt x="228" y="659"/>
                    </a:lnTo>
                    <a:lnTo>
                      <a:pt x="219" y="648"/>
                    </a:lnTo>
                    <a:lnTo>
                      <a:pt x="224" y="627"/>
                    </a:lnTo>
                    <a:lnTo>
                      <a:pt x="216" y="620"/>
                    </a:lnTo>
                    <a:lnTo>
                      <a:pt x="197" y="611"/>
                    </a:lnTo>
                    <a:lnTo>
                      <a:pt x="186" y="603"/>
                    </a:lnTo>
                    <a:lnTo>
                      <a:pt x="219" y="593"/>
                    </a:lnTo>
                    <a:lnTo>
                      <a:pt x="233" y="596"/>
                    </a:lnTo>
                    <a:lnTo>
                      <a:pt x="254" y="621"/>
                    </a:lnTo>
                    <a:lnTo>
                      <a:pt x="272" y="594"/>
                    </a:lnTo>
                    <a:lnTo>
                      <a:pt x="276" y="587"/>
                    </a:lnTo>
                    <a:lnTo>
                      <a:pt x="297" y="593"/>
                    </a:lnTo>
                    <a:lnTo>
                      <a:pt x="296" y="584"/>
                    </a:lnTo>
                    <a:lnTo>
                      <a:pt x="291" y="552"/>
                    </a:lnTo>
                    <a:lnTo>
                      <a:pt x="282" y="551"/>
                    </a:lnTo>
                    <a:lnTo>
                      <a:pt x="282" y="536"/>
                    </a:lnTo>
                    <a:lnTo>
                      <a:pt x="293" y="524"/>
                    </a:lnTo>
                    <a:lnTo>
                      <a:pt x="303" y="491"/>
                    </a:lnTo>
                    <a:lnTo>
                      <a:pt x="302" y="485"/>
                    </a:lnTo>
                    <a:lnTo>
                      <a:pt x="309" y="455"/>
                    </a:lnTo>
                    <a:lnTo>
                      <a:pt x="318" y="384"/>
                    </a:lnTo>
                    <a:lnTo>
                      <a:pt x="324" y="377"/>
                    </a:lnTo>
                    <a:lnTo>
                      <a:pt x="341" y="359"/>
                    </a:lnTo>
                    <a:lnTo>
                      <a:pt x="330" y="338"/>
                    </a:lnTo>
                    <a:lnTo>
                      <a:pt x="333" y="321"/>
                    </a:lnTo>
                    <a:lnTo>
                      <a:pt x="347" y="314"/>
                    </a:lnTo>
                    <a:lnTo>
                      <a:pt x="348" y="300"/>
                    </a:lnTo>
                    <a:lnTo>
                      <a:pt x="362" y="291"/>
                    </a:lnTo>
                    <a:lnTo>
                      <a:pt x="374" y="287"/>
                    </a:lnTo>
                    <a:lnTo>
                      <a:pt x="395" y="284"/>
                    </a:lnTo>
                    <a:lnTo>
                      <a:pt x="426" y="269"/>
                    </a:lnTo>
                    <a:lnTo>
                      <a:pt x="444" y="284"/>
                    </a:lnTo>
                    <a:lnTo>
                      <a:pt x="455" y="287"/>
                    </a:lnTo>
                    <a:lnTo>
                      <a:pt x="474" y="297"/>
                    </a:lnTo>
                    <a:lnTo>
                      <a:pt x="494" y="285"/>
                    </a:lnTo>
                    <a:lnTo>
                      <a:pt x="504" y="264"/>
                    </a:lnTo>
                    <a:lnTo>
                      <a:pt x="515" y="243"/>
                    </a:lnTo>
                    <a:lnTo>
                      <a:pt x="518" y="236"/>
                    </a:lnTo>
                    <a:lnTo>
                      <a:pt x="533" y="230"/>
                    </a:lnTo>
                    <a:lnTo>
                      <a:pt x="537" y="200"/>
                    </a:lnTo>
                    <a:lnTo>
                      <a:pt x="561" y="198"/>
                    </a:lnTo>
                    <a:lnTo>
                      <a:pt x="576" y="188"/>
                    </a:lnTo>
                    <a:lnTo>
                      <a:pt x="581" y="159"/>
                    </a:lnTo>
                    <a:lnTo>
                      <a:pt x="540" y="96"/>
                    </a:lnTo>
                    <a:lnTo>
                      <a:pt x="561" y="90"/>
                    </a:lnTo>
                    <a:lnTo>
                      <a:pt x="585" y="86"/>
                    </a:lnTo>
                    <a:lnTo>
                      <a:pt x="603" y="74"/>
                    </a:lnTo>
                    <a:lnTo>
                      <a:pt x="621" y="63"/>
                    </a:lnTo>
                    <a:lnTo>
                      <a:pt x="621" y="53"/>
                    </a:lnTo>
                    <a:lnTo>
                      <a:pt x="645" y="42"/>
                    </a:lnTo>
                    <a:lnTo>
                      <a:pt x="663" y="41"/>
                    </a:lnTo>
                    <a:lnTo>
                      <a:pt x="713" y="60"/>
                    </a:lnTo>
                    <a:lnTo>
                      <a:pt x="716" y="47"/>
                    </a:lnTo>
                    <a:lnTo>
                      <a:pt x="708" y="24"/>
                    </a:lnTo>
                    <a:lnTo>
                      <a:pt x="732" y="18"/>
                    </a:lnTo>
                    <a:lnTo>
                      <a:pt x="758" y="24"/>
                    </a:lnTo>
                    <a:lnTo>
                      <a:pt x="759" y="2"/>
                    </a:lnTo>
                    <a:lnTo>
                      <a:pt x="768" y="0"/>
                    </a:lnTo>
                    <a:lnTo>
                      <a:pt x="806" y="3"/>
                    </a:lnTo>
                    <a:lnTo>
                      <a:pt x="806" y="15"/>
                    </a:lnTo>
                    <a:lnTo>
                      <a:pt x="842" y="12"/>
                    </a:lnTo>
                    <a:lnTo>
                      <a:pt x="855" y="0"/>
                    </a:lnTo>
                    <a:lnTo>
                      <a:pt x="885" y="29"/>
                    </a:lnTo>
                    <a:lnTo>
                      <a:pt x="908" y="47"/>
                    </a:lnTo>
                    <a:lnTo>
                      <a:pt x="915" y="41"/>
                    </a:lnTo>
                    <a:lnTo>
                      <a:pt x="920" y="42"/>
                    </a:lnTo>
                    <a:lnTo>
                      <a:pt x="938" y="54"/>
                    </a:lnTo>
                    <a:lnTo>
                      <a:pt x="951" y="63"/>
                    </a:lnTo>
                    <a:lnTo>
                      <a:pt x="956" y="74"/>
                    </a:lnTo>
                    <a:lnTo>
                      <a:pt x="956" y="110"/>
                    </a:lnTo>
                    <a:lnTo>
                      <a:pt x="935" y="119"/>
                    </a:lnTo>
                    <a:lnTo>
                      <a:pt x="929" y="134"/>
                    </a:lnTo>
                    <a:lnTo>
                      <a:pt x="914" y="150"/>
                    </a:lnTo>
                    <a:lnTo>
                      <a:pt x="903" y="165"/>
                    </a:lnTo>
                    <a:lnTo>
                      <a:pt x="915" y="167"/>
                    </a:lnTo>
                    <a:lnTo>
                      <a:pt x="920" y="174"/>
                    </a:lnTo>
                    <a:lnTo>
                      <a:pt x="935" y="174"/>
                    </a:lnTo>
                    <a:lnTo>
                      <a:pt x="944" y="174"/>
                    </a:lnTo>
                    <a:lnTo>
                      <a:pt x="957" y="185"/>
                    </a:lnTo>
                    <a:lnTo>
                      <a:pt x="966" y="191"/>
                    </a:lnTo>
                    <a:lnTo>
                      <a:pt x="987" y="195"/>
                    </a:lnTo>
                    <a:lnTo>
                      <a:pt x="993" y="191"/>
                    </a:lnTo>
                    <a:lnTo>
                      <a:pt x="1001" y="189"/>
                    </a:lnTo>
                    <a:lnTo>
                      <a:pt x="1014" y="194"/>
                    </a:lnTo>
                    <a:lnTo>
                      <a:pt x="1031" y="186"/>
                    </a:lnTo>
                    <a:lnTo>
                      <a:pt x="1046" y="173"/>
                    </a:lnTo>
                    <a:lnTo>
                      <a:pt x="1061" y="173"/>
                    </a:lnTo>
                    <a:lnTo>
                      <a:pt x="1077" y="168"/>
                    </a:lnTo>
                    <a:lnTo>
                      <a:pt x="1080" y="180"/>
                    </a:lnTo>
                    <a:lnTo>
                      <a:pt x="1085" y="185"/>
                    </a:lnTo>
                    <a:lnTo>
                      <a:pt x="1082" y="201"/>
                    </a:lnTo>
                    <a:lnTo>
                      <a:pt x="1097" y="203"/>
                    </a:lnTo>
                    <a:lnTo>
                      <a:pt x="1100" y="194"/>
                    </a:lnTo>
                    <a:lnTo>
                      <a:pt x="1116" y="194"/>
                    </a:lnTo>
                    <a:lnTo>
                      <a:pt x="1118" y="215"/>
                    </a:lnTo>
                    <a:lnTo>
                      <a:pt x="1119" y="227"/>
                    </a:lnTo>
                    <a:lnTo>
                      <a:pt x="1109" y="240"/>
                    </a:lnTo>
                    <a:lnTo>
                      <a:pt x="1103" y="258"/>
                    </a:lnTo>
                    <a:lnTo>
                      <a:pt x="1109" y="264"/>
                    </a:lnTo>
                    <a:lnTo>
                      <a:pt x="1124" y="270"/>
                    </a:lnTo>
                    <a:lnTo>
                      <a:pt x="1131" y="285"/>
                    </a:lnTo>
                    <a:lnTo>
                      <a:pt x="1142" y="290"/>
                    </a:lnTo>
                    <a:lnTo>
                      <a:pt x="1149" y="299"/>
                    </a:lnTo>
                    <a:lnTo>
                      <a:pt x="1155" y="302"/>
                    </a:lnTo>
                    <a:lnTo>
                      <a:pt x="1163" y="317"/>
                    </a:lnTo>
                    <a:lnTo>
                      <a:pt x="1155" y="327"/>
                    </a:lnTo>
                    <a:lnTo>
                      <a:pt x="1155" y="339"/>
                    </a:lnTo>
                    <a:lnTo>
                      <a:pt x="1148" y="347"/>
                    </a:lnTo>
                    <a:lnTo>
                      <a:pt x="1149" y="363"/>
                    </a:lnTo>
                    <a:lnTo>
                      <a:pt x="1140" y="369"/>
                    </a:lnTo>
                    <a:lnTo>
                      <a:pt x="1137" y="390"/>
                    </a:lnTo>
                    <a:lnTo>
                      <a:pt x="1164" y="416"/>
                    </a:lnTo>
                    <a:lnTo>
                      <a:pt x="1193" y="411"/>
                    </a:lnTo>
                    <a:lnTo>
                      <a:pt x="1202" y="420"/>
                    </a:lnTo>
                    <a:lnTo>
                      <a:pt x="1187" y="452"/>
                    </a:lnTo>
                    <a:lnTo>
                      <a:pt x="1176" y="455"/>
                    </a:lnTo>
                    <a:lnTo>
                      <a:pt x="1166" y="467"/>
                    </a:lnTo>
                    <a:lnTo>
                      <a:pt x="1155" y="470"/>
                    </a:lnTo>
                    <a:lnTo>
                      <a:pt x="1161" y="482"/>
                    </a:lnTo>
                    <a:lnTo>
                      <a:pt x="1149" y="504"/>
                    </a:lnTo>
                    <a:lnTo>
                      <a:pt x="1143" y="509"/>
                    </a:lnTo>
                    <a:lnTo>
                      <a:pt x="1127" y="509"/>
                    </a:lnTo>
                    <a:lnTo>
                      <a:pt x="1142" y="536"/>
                    </a:lnTo>
                    <a:lnTo>
                      <a:pt x="1166" y="545"/>
                    </a:lnTo>
                    <a:lnTo>
                      <a:pt x="1172" y="558"/>
                    </a:lnTo>
                    <a:lnTo>
                      <a:pt x="1176" y="575"/>
                    </a:lnTo>
                    <a:lnTo>
                      <a:pt x="1164" y="594"/>
                    </a:lnTo>
                    <a:lnTo>
                      <a:pt x="1157" y="605"/>
                    </a:lnTo>
                    <a:lnTo>
                      <a:pt x="1140" y="608"/>
                    </a:lnTo>
                    <a:lnTo>
                      <a:pt x="1140" y="615"/>
                    </a:lnTo>
                    <a:lnTo>
                      <a:pt x="1157" y="633"/>
                    </a:lnTo>
                    <a:lnTo>
                      <a:pt x="1154" y="650"/>
                    </a:lnTo>
                    <a:lnTo>
                      <a:pt x="1167" y="659"/>
                    </a:lnTo>
                    <a:lnTo>
                      <a:pt x="1176" y="651"/>
                    </a:lnTo>
                    <a:lnTo>
                      <a:pt x="1205" y="674"/>
                    </a:lnTo>
                    <a:lnTo>
                      <a:pt x="1200" y="687"/>
                    </a:lnTo>
                    <a:lnTo>
                      <a:pt x="1194" y="692"/>
                    </a:lnTo>
                    <a:lnTo>
                      <a:pt x="1205" y="711"/>
                    </a:lnTo>
                    <a:lnTo>
                      <a:pt x="1215" y="717"/>
                    </a:lnTo>
                    <a:lnTo>
                      <a:pt x="1217" y="725"/>
                    </a:lnTo>
                    <a:lnTo>
                      <a:pt x="1224" y="720"/>
                    </a:lnTo>
                    <a:lnTo>
                      <a:pt x="1233" y="729"/>
                    </a:lnTo>
                    <a:lnTo>
                      <a:pt x="1229" y="746"/>
                    </a:lnTo>
                    <a:lnTo>
                      <a:pt x="1233" y="759"/>
                    </a:lnTo>
                    <a:lnTo>
                      <a:pt x="1232" y="774"/>
                    </a:lnTo>
                    <a:lnTo>
                      <a:pt x="1227" y="780"/>
                    </a:lnTo>
                    <a:lnTo>
                      <a:pt x="1215" y="795"/>
                    </a:lnTo>
                    <a:lnTo>
                      <a:pt x="1218" y="821"/>
                    </a:lnTo>
                    <a:lnTo>
                      <a:pt x="1209" y="833"/>
                    </a:lnTo>
                    <a:lnTo>
                      <a:pt x="1227" y="860"/>
                    </a:lnTo>
                    <a:lnTo>
                      <a:pt x="1226" y="882"/>
                    </a:lnTo>
                    <a:lnTo>
                      <a:pt x="1230" y="888"/>
                    </a:lnTo>
                    <a:lnTo>
                      <a:pt x="1239" y="888"/>
                    </a:lnTo>
                    <a:lnTo>
                      <a:pt x="1239" y="903"/>
                    </a:lnTo>
                    <a:lnTo>
                      <a:pt x="1248" y="908"/>
                    </a:lnTo>
                    <a:lnTo>
                      <a:pt x="1242" y="918"/>
                    </a:lnTo>
                    <a:lnTo>
                      <a:pt x="1235" y="932"/>
                    </a:lnTo>
                    <a:lnTo>
                      <a:pt x="1205" y="945"/>
                    </a:lnTo>
                    <a:lnTo>
                      <a:pt x="1206" y="957"/>
                    </a:lnTo>
                    <a:lnTo>
                      <a:pt x="1209" y="962"/>
                    </a:lnTo>
                    <a:lnTo>
                      <a:pt x="1208" y="969"/>
                    </a:lnTo>
                    <a:lnTo>
                      <a:pt x="1218" y="981"/>
                    </a:lnTo>
                    <a:lnTo>
                      <a:pt x="1196" y="984"/>
                    </a:lnTo>
                    <a:lnTo>
                      <a:pt x="1193" y="984"/>
                    </a:lnTo>
                    <a:lnTo>
                      <a:pt x="1182" y="987"/>
                    </a:lnTo>
                    <a:lnTo>
                      <a:pt x="1173" y="984"/>
                    </a:lnTo>
                    <a:lnTo>
                      <a:pt x="1161" y="999"/>
                    </a:lnTo>
                    <a:lnTo>
                      <a:pt x="1149" y="999"/>
                    </a:lnTo>
                    <a:lnTo>
                      <a:pt x="1142" y="996"/>
                    </a:lnTo>
                    <a:lnTo>
                      <a:pt x="1137" y="987"/>
                    </a:lnTo>
                    <a:lnTo>
                      <a:pt x="1134" y="987"/>
                    </a:lnTo>
                    <a:lnTo>
                      <a:pt x="1128" y="986"/>
                    </a:lnTo>
                    <a:lnTo>
                      <a:pt x="1119" y="986"/>
                    </a:lnTo>
                    <a:lnTo>
                      <a:pt x="1113" y="983"/>
                    </a:lnTo>
                    <a:lnTo>
                      <a:pt x="1104" y="983"/>
                    </a:lnTo>
                    <a:lnTo>
                      <a:pt x="1097" y="978"/>
                    </a:lnTo>
                    <a:lnTo>
                      <a:pt x="1076" y="975"/>
                    </a:lnTo>
                    <a:lnTo>
                      <a:pt x="1073" y="972"/>
                    </a:lnTo>
                    <a:lnTo>
                      <a:pt x="1064" y="963"/>
                    </a:lnTo>
                    <a:lnTo>
                      <a:pt x="1046" y="968"/>
                    </a:lnTo>
                    <a:lnTo>
                      <a:pt x="1032" y="975"/>
                    </a:lnTo>
                    <a:lnTo>
                      <a:pt x="1019" y="975"/>
                    </a:lnTo>
                    <a:lnTo>
                      <a:pt x="1020" y="966"/>
                    </a:lnTo>
                    <a:lnTo>
                      <a:pt x="1011" y="960"/>
                    </a:lnTo>
                    <a:lnTo>
                      <a:pt x="1007" y="963"/>
                    </a:lnTo>
                    <a:lnTo>
                      <a:pt x="1001" y="966"/>
                    </a:lnTo>
                    <a:lnTo>
                      <a:pt x="990" y="963"/>
                    </a:lnTo>
                    <a:lnTo>
                      <a:pt x="990" y="971"/>
                    </a:lnTo>
                    <a:lnTo>
                      <a:pt x="960" y="972"/>
                    </a:lnTo>
                    <a:lnTo>
                      <a:pt x="953" y="981"/>
                    </a:lnTo>
                    <a:lnTo>
                      <a:pt x="939" y="980"/>
                    </a:lnTo>
                    <a:lnTo>
                      <a:pt x="936" y="974"/>
                    </a:lnTo>
                    <a:lnTo>
                      <a:pt x="935" y="966"/>
                    </a:lnTo>
                    <a:lnTo>
                      <a:pt x="921" y="950"/>
                    </a:lnTo>
                    <a:lnTo>
                      <a:pt x="915" y="948"/>
                    </a:lnTo>
                    <a:lnTo>
                      <a:pt x="911" y="945"/>
                    </a:lnTo>
                    <a:lnTo>
                      <a:pt x="879" y="951"/>
                    </a:lnTo>
                    <a:lnTo>
                      <a:pt x="885" y="962"/>
                    </a:lnTo>
                    <a:lnTo>
                      <a:pt x="884" y="965"/>
                    </a:lnTo>
                    <a:lnTo>
                      <a:pt x="887" y="972"/>
                    </a:lnTo>
                    <a:lnTo>
                      <a:pt x="884" y="990"/>
                    </a:lnTo>
                    <a:lnTo>
                      <a:pt x="881" y="1001"/>
                    </a:lnTo>
                    <a:lnTo>
                      <a:pt x="879" y="1005"/>
                    </a:lnTo>
                    <a:lnTo>
                      <a:pt x="861" y="1019"/>
                    </a:lnTo>
                    <a:lnTo>
                      <a:pt x="849" y="1022"/>
                    </a:lnTo>
                    <a:lnTo>
                      <a:pt x="836" y="998"/>
                    </a:lnTo>
                    <a:lnTo>
                      <a:pt x="831" y="996"/>
                    </a:lnTo>
                    <a:lnTo>
                      <a:pt x="831" y="990"/>
                    </a:lnTo>
                    <a:lnTo>
                      <a:pt x="824" y="995"/>
                    </a:lnTo>
                    <a:lnTo>
                      <a:pt x="810" y="1008"/>
                    </a:lnTo>
                    <a:lnTo>
                      <a:pt x="806" y="1017"/>
                    </a:lnTo>
                    <a:lnTo>
                      <a:pt x="797" y="1026"/>
                    </a:lnTo>
                    <a:lnTo>
                      <a:pt x="782" y="1025"/>
                    </a:lnTo>
                    <a:lnTo>
                      <a:pt x="782" y="1020"/>
                    </a:lnTo>
                    <a:lnTo>
                      <a:pt x="774" y="1014"/>
                    </a:lnTo>
                    <a:lnTo>
                      <a:pt x="773" y="1002"/>
                    </a:lnTo>
                    <a:lnTo>
                      <a:pt x="777" y="992"/>
                    </a:lnTo>
                    <a:lnTo>
                      <a:pt x="770" y="986"/>
                    </a:lnTo>
                    <a:lnTo>
                      <a:pt x="765" y="989"/>
                    </a:lnTo>
                    <a:lnTo>
                      <a:pt x="759" y="1002"/>
                    </a:lnTo>
                    <a:lnTo>
                      <a:pt x="747" y="1001"/>
                    </a:lnTo>
                    <a:lnTo>
                      <a:pt x="744" y="1001"/>
                    </a:lnTo>
                    <a:lnTo>
                      <a:pt x="740" y="1005"/>
                    </a:lnTo>
                    <a:lnTo>
                      <a:pt x="732" y="1011"/>
                    </a:lnTo>
                    <a:lnTo>
                      <a:pt x="722" y="1020"/>
                    </a:lnTo>
                    <a:lnTo>
                      <a:pt x="717" y="1022"/>
                    </a:lnTo>
                    <a:lnTo>
                      <a:pt x="719" y="990"/>
                    </a:lnTo>
                    <a:lnTo>
                      <a:pt x="711" y="987"/>
                    </a:lnTo>
                    <a:lnTo>
                      <a:pt x="711" y="983"/>
                    </a:lnTo>
                    <a:lnTo>
                      <a:pt x="704" y="980"/>
                    </a:lnTo>
                    <a:lnTo>
                      <a:pt x="699" y="984"/>
                    </a:lnTo>
                    <a:lnTo>
                      <a:pt x="693" y="989"/>
                    </a:lnTo>
                    <a:lnTo>
                      <a:pt x="690" y="998"/>
                    </a:lnTo>
                    <a:lnTo>
                      <a:pt x="686" y="999"/>
                    </a:lnTo>
                    <a:lnTo>
                      <a:pt x="686" y="1007"/>
                    </a:lnTo>
                    <a:lnTo>
                      <a:pt x="683" y="1011"/>
                    </a:lnTo>
                    <a:lnTo>
                      <a:pt x="675" y="1014"/>
                    </a:lnTo>
                    <a:lnTo>
                      <a:pt x="666" y="1029"/>
                    </a:lnTo>
                    <a:lnTo>
                      <a:pt x="666" y="1034"/>
                    </a:lnTo>
                    <a:lnTo>
                      <a:pt x="657" y="1037"/>
                    </a:lnTo>
                    <a:lnTo>
                      <a:pt x="644" y="1047"/>
                    </a:lnTo>
                    <a:lnTo>
                      <a:pt x="644" y="1056"/>
                    </a:lnTo>
                    <a:lnTo>
                      <a:pt x="627" y="1070"/>
                    </a:lnTo>
                    <a:lnTo>
                      <a:pt x="620" y="1079"/>
                    </a:lnTo>
                  </a:path>
                </a:pathLst>
              </a:custGeom>
              <a:grpFill/>
              <a:ln w="15875">
                <a:solidFill>
                  <a:srgbClr val="E7E6E6">
                    <a:lumMod val="75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6" name="Freeform 328">
                <a:extLst>
                  <a:ext uri="{FF2B5EF4-FFF2-40B4-BE49-F238E27FC236}">
                    <a16:creationId xmlns:a16="http://schemas.microsoft.com/office/drawing/2014/main" id="{21C706D4-B24E-BF86-5E85-D91C526077CD}"/>
                  </a:ext>
                </a:extLst>
              </p:cNvPr>
              <p:cNvSpPr>
                <a:spLocks/>
              </p:cNvSpPr>
              <p:nvPr/>
            </p:nvSpPr>
            <p:spPr bwMode="auto">
              <a:xfrm>
                <a:off x="4370" y="1514"/>
                <a:ext cx="498" cy="679"/>
              </a:xfrm>
              <a:custGeom>
                <a:avLst/>
                <a:gdLst>
                  <a:gd name="T0" fmla="*/ 0 w 1495"/>
                  <a:gd name="T1" fmla="*/ 0 h 2037"/>
                  <a:gd name="T2" fmla="*/ 0 w 1495"/>
                  <a:gd name="T3" fmla="*/ 0 h 2037"/>
                  <a:gd name="T4" fmla="*/ 0 w 1495"/>
                  <a:gd name="T5" fmla="*/ 0 h 2037"/>
                  <a:gd name="T6" fmla="*/ 0 w 1495"/>
                  <a:gd name="T7" fmla="*/ 0 h 2037"/>
                  <a:gd name="T8" fmla="*/ 0 w 1495"/>
                  <a:gd name="T9" fmla="*/ 0 h 2037"/>
                  <a:gd name="T10" fmla="*/ 0 w 1495"/>
                  <a:gd name="T11" fmla="*/ 0 h 2037"/>
                  <a:gd name="T12" fmla="*/ 0 w 1495"/>
                  <a:gd name="T13" fmla="*/ 0 h 2037"/>
                  <a:gd name="T14" fmla="*/ 0 w 1495"/>
                  <a:gd name="T15" fmla="*/ 0 h 2037"/>
                  <a:gd name="T16" fmla="*/ 0 w 1495"/>
                  <a:gd name="T17" fmla="*/ 0 h 2037"/>
                  <a:gd name="T18" fmla="*/ 0 w 1495"/>
                  <a:gd name="T19" fmla="*/ 0 h 2037"/>
                  <a:gd name="T20" fmla="*/ 0 w 1495"/>
                  <a:gd name="T21" fmla="*/ 0 h 2037"/>
                  <a:gd name="T22" fmla="*/ 0 w 1495"/>
                  <a:gd name="T23" fmla="*/ 0 h 2037"/>
                  <a:gd name="T24" fmla="*/ 0 w 1495"/>
                  <a:gd name="T25" fmla="*/ 0 h 2037"/>
                  <a:gd name="T26" fmla="*/ 0 w 1495"/>
                  <a:gd name="T27" fmla="*/ 0 h 2037"/>
                  <a:gd name="T28" fmla="*/ 0 w 1495"/>
                  <a:gd name="T29" fmla="*/ 0 h 2037"/>
                  <a:gd name="T30" fmla="*/ 0 w 1495"/>
                  <a:gd name="T31" fmla="*/ 0 h 2037"/>
                  <a:gd name="T32" fmla="*/ 0 w 1495"/>
                  <a:gd name="T33" fmla="*/ 0 h 2037"/>
                  <a:gd name="T34" fmla="*/ 0 w 1495"/>
                  <a:gd name="T35" fmla="*/ 0 h 2037"/>
                  <a:gd name="T36" fmla="*/ 0 w 1495"/>
                  <a:gd name="T37" fmla="*/ 0 h 2037"/>
                  <a:gd name="T38" fmla="*/ 0 w 1495"/>
                  <a:gd name="T39" fmla="*/ 0 h 2037"/>
                  <a:gd name="T40" fmla="*/ 0 w 1495"/>
                  <a:gd name="T41" fmla="*/ 0 h 2037"/>
                  <a:gd name="T42" fmla="*/ 0 w 1495"/>
                  <a:gd name="T43" fmla="*/ 0 h 2037"/>
                  <a:gd name="T44" fmla="*/ 0 w 1495"/>
                  <a:gd name="T45" fmla="*/ 0 h 2037"/>
                  <a:gd name="T46" fmla="*/ 0 w 1495"/>
                  <a:gd name="T47" fmla="*/ 0 h 2037"/>
                  <a:gd name="T48" fmla="*/ 0 w 1495"/>
                  <a:gd name="T49" fmla="*/ 0 h 2037"/>
                  <a:gd name="T50" fmla="*/ 0 w 1495"/>
                  <a:gd name="T51" fmla="*/ 0 h 2037"/>
                  <a:gd name="T52" fmla="*/ 0 w 1495"/>
                  <a:gd name="T53" fmla="*/ 0 h 2037"/>
                  <a:gd name="T54" fmla="*/ 0 w 1495"/>
                  <a:gd name="T55" fmla="*/ 0 h 2037"/>
                  <a:gd name="T56" fmla="*/ 0 w 1495"/>
                  <a:gd name="T57" fmla="*/ 0 h 2037"/>
                  <a:gd name="T58" fmla="*/ 0 w 1495"/>
                  <a:gd name="T59" fmla="*/ 0 h 2037"/>
                  <a:gd name="T60" fmla="*/ 0 w 1495"/>
                  <a:gd name="T61" fmla="*/ 0 h 2037"/>
                  <a:gd name="T62" fmla="*/ 0 w 1495"/>
                  <a:gd name="T63" fmla="*/ 0 h 2037"/>
                  <a:gd name="T64" fmla="*/ 0 w 1495"/>
                  <a:gd name="T65" fmla="*/ 0 h 2037"/>
                  <a:gd name="T66" fmla="*/ 0 w 1495"/>
                  <a:gd name="T67" fmla="*/ 0 h 2037"/>
                  <a:gd name="T68" fmla="*/ 0 w 1495"/>
                  <a:gd name="T69" fmla="*/ 0 h 2037"/>
                  <a:gd name="T70" fmla="*/ 0 w 1495"/>
                  <a:gd name="T71" fmla="*/ 0 h 2037"/>
                  <a:gd name="T72" fmla="*/ 0 w 1495"/>
                  <a:gd name="T73" fmla="*/ 0 h 2037"/>
                  <a:gd name="T74" fmla="*/ 0 w 1495"/>
                  <a:gd name="T75" fmla="*/ 0 h 2037"/>
                  <a:gd name="T76" fmla="*/ 0 w 1495"/>
                  <a:gd name="T77" fmla="*/ 0 h 2037"/>
                  <a:gd name="T78" fmla="*/ 0 w 1495"/>
                  <a:gd name="T79" fmla="*/ 0 h 2037"/>
                  <a:gd name="T80" fmla="*/ 0 w 1495"/>
                  <a:gd name="T81" fmla="*/ 0 h 2037"/>
                  <a:gd name="T82" fmla="*/ 0 w 1495"/>
                  <a:gd name="T83" fmla="*/ 0 h 2037"/>
                  <a:gd name="T84" fmla="*/ 0 w 1495"/>
                  <a:gd name="T85" fmla="*/ 0 h 2037"/>
                  <a:gd name="T86" fmla="*/ 0 w 1495"/>
                  <a:gd name="T87" fmla="*/ 0 h 2037"/>
                  <a:gd name="T88" fmla="*/ 0 w 1495"/>
                  <a:gd name="T89" fmla="*/ 0 h 2037"/>
                  <a:gd name="T90" fmla="*/ 0 w 1495"/>
                  <a:gd name="T91" fmla="*/ 0 h 2037"/>
                  <a:gd name="T92" fmla="*/ 0 w 1495"/>
                  <a:gd name="T93" fmla="*/ 0 h 2037"/>
                  <a:gd name="T94" fmla="*/ 0 w 1495"/>
                  <a:gd name="T95" fmla="*/ 0 h 2037"/>
                  <a:gd name="T96" fmla="*/ 0 w 1495"/>
                  <a:gd name="T97" fmla="*/ 0 h 2037"/>
                  <a:gd name="T98" fmla="*/ 0 w 1495"/>
                  <a:gd name="T99" fmla="*/ 0 h 2037"/>
                  <a:gd name="T100" fmla="*/ 0 w 1495"/>
                  <a:gd name="T101" fmla="*/ 0 h 2037"/>
                  <a:gd name="T102" fmla="*/ 0 w 1495"/>
                  <a:gd name="T103" fmla="*/ 0 h 2037"/>
                  <a:gd name="T104" fmla="*/ 0 w 1495"/>
                  <a:gd name="T105" fmla="*/ 0 h 2037"/>
                  <a:gd name="T106" fmla="*/ 0 w 1495"/>
                  <a:gd name="T107" fmla="*/ 0 h 2037"/>
                  <a:gd name="T108" fmla="*/ 0 w 1495"/>
                  <a:gd name="T109" fmla="*/ 0 h 2037"/>
                  <a:gd name="T110" fmla="*/ 0 w 1495"/>
                  <a:gd name="T111" fmla="*/ 0 h 2037"/>
                  <a:gd name="T112" fmla="*/ 0 w 1495"/>
                  <a:gd name="T113" fmla="*/ 0 h 2037"/>
                  <a:gd name="T114" fmla="*/ 0 w 1495"/>
                  <a:gd name="T115" fmla="*/ 0 h 2037"/>
                  <a:gd name="T116" fmla="*/ 0 w 1495"/>
                  <a:gd name="T117" fmla="*/ 0 h 2037"/>
                  <a:gd name="T118" fmla="*/ 0 w 1495"/>
                  <a:gd name="T119" fmla="*/ 0 h 2037"/>
                  <a:gd name="T120" fmla="*/ 0 w 1495"/>
                  <a:gd name="T121" fmla="*/ 0 h 2037"/>
                  <a:gd name="T122" fmla="*/ 0 w 1495"/>
                  <a:gd name="T123" fmla="*/ 0 h 203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495" h="2037">
                    <a:moveTo>
                      <a:pt x="1338" y="684"/>
                    </a:moveTo>
                    <a:lnTo>
                      <a:pt x="1338" y="703"/>
                    </a:lnTo>
                    <a:lnTo>
                      <a:pt x="1335" y="712"/>
                    </a:lnTo>
                    <a:lnTo>
                      <a:pt x="1320" y="714"/>
                    </a:lnTo>
                    <a:lnTo>
                      <a:pt x="1318" y="718"/>
                    </a:lnTo>
                    <a:lnTo>
                      <a:pt x="1314" y="723"/>
                    </a:lnTo>
                    <a:lnTo>
                      <a:pt x="1315" y="732"/>
                    </a:lnTo>
                    <a:lnTo>
                      <a:pt x="1309" y="739"/>
                    </a:lnTo>
                    <a:lnTo>
                      <a:pt x="1300" y="742"/>
                    </a:lnTo>
                    <a:lnTo>
                      <a:pt x="1293" y="750"/>
                    </a:lnTo>
                    <a:lnTo>
                      <a:pt x="1291" y="762"/>
                    </a:lnTo>
                    <a:lnTo>
                      <a:pt x="1290" y="774"/>
                    </a:lnTo>
                    <a:lnTo>
                      <a:pt x="1296" y="772"/>
                    </a:lnTo>
                    <a:lnTo>
                      <a:pt x="1303" y="768"/>
                    </a:lnTo>
                    <a:lnTo>
                      <a:pt x="1308" y="768"/>
                    </a:lnTo>
                    <a:lnTo>
                      <a:pt x="1312" y="766"/>
                    </a:lnTo>
                    <a:lnTo>
                      <a:pt x="1323" y="771"/>
                    </a:lnTo>
                    <a:lnTo>
                      <a:pt x="1330" y="768"/>
                    </a:lnTo>
                    <a:lnTo>
                      <a:pt x="1335" y="769"/>
                    </a:lnTo>
                    <a:lnTo>
                      <a:pt x="1344" y="768"/>
                    </a:lnTo>
                    <a:lnTo>
                      <a:pt x="1356" y="766"/>
                    </a:lnTo>
                    <a:lnTo>
                      <a:pt x="1362" y="766"/>
                    </a:lnTo>
                    <a:lnTo>
                      <a:pt x="1368" y="762"/>
                    </a:lnTo>
                    <a:lnTo>
                      <a:pt x="1378" y="762"/>
                    </a:lnTo>
                    <a:lnTo>
                      <a:pt x="1387" y="757"/>
                    </a:lnTo>
                    <a:lnTo>
                      <a:pt x="1392" y="751"/>
                    </a:lnTo>
                    <a:lnTo>
                      <a:pt x="1401" y="753"/>
                    </a:lnTo>
                    <a:lnTo>
                      <a:pt x="1408" y="754"/>
                    </a:lnTo>
                    <a:lnTo>
                      <a:pt x="1410" y="760"/>
                    </a:lnTo>
                    <a:lnTo>
                      <a:pt x="1420" y="762"/>
                    </a:lnTo>
                    <a:lnTo>
                      <a:pt x="1423" y="771"/>
                    </a:lnTo>
                    <a:lnTo>
                      <a:pt x="1422" y="780"/>
                    </a:lnTo>
                    <a:lnTo>
                      <a:pt x="1429" y="783"/>
                    </a:lnTo>
                    <a:lnTo>
                      <a:pt x="1429" y="789"/>
                    </a:lnTo>
                    <a:lnTo>
                      <a:pt x="1426" y="793"/>
                    </a:lnTo>
                    <a:lnTo>
                      <a:pt x="1428" y="796"/>
                    </a:lnTo>
                    <a:lnTo>
                      <a:pt x="1419" y="805"/>
                    </a:lnTo>
                    <a:lnTo>
                      <a:pt x="1408" y="802"/>
                    </a:lnTo>
                    <a:lnTo>
                      <a:pt x="1402" y="805"/>
                    </a:lnTo>
                    <a:lnTo>
                      <a:pt x="1392" y="807"/>
                    </a:lnTo>
                    <a:lnTo>
                      <a:pt x="1392" y="811"/>
                    </a:lnTo>
                    <a:lnTo>
                      <a:pt x="1396" y="817"/>
                    </a:lnTo>
                    <a:lnTo>
                      <a:pt x="1393" y="825"/>
                    </a:lnTo>
                    <a:lnTo>
                      <a:pt x="1392" y="834"/>
                    </a:lnTo>
                    <a:lnTo>
                      <a:pt x="1386" y="835"/>
                    </a:lnTo>
                    <a:lnTo>
                      <a:pt x="1383" y="841"/>
                    </a:lnTo>
                    <a:lnTo>
                      <a:pt x="1377" y="840"/>
                    </a:lnTo>
                    <a:lnTo>
                      <a:pt x="1374" y="841"/>
                    </a:lnTo>
                    <a:lnTo>
                      <a:pt x="1368" y="840"/>
                    </a:lnTo>
                    <a:lnTo>
                      <a:pt x="1365" y="846"/>
                    </a:lnTo>
                    <a:lnTo>
                      <a:pt x="1362" y="844"/>
                    </a:lnTo>
                    <a:lnTo>
                      <a:pt x="1356" y="846"/>
                    </a:lnTo>
                    <a:lnTo>
                      <a:pt x="1348" y="844"/>
                    </a:lnTo>
                    <a:lnTo>
                      <a:pt x="1342" y="847"/>
                    </a:lnTo>
                    <a:lnTo>
                      <a:pt x="1339" y="850"/>
                    </a:lnTo>
                    <a:lnTo>
                      <a:pt x="1342" y="856"/>
                    </a:lnTo>
                    <a:lnTo>
                      <a:pt x="1348" y="868"/>
                    </a:lnTo>
                    <a:lnTo>
                      <a:pt x="1347" y="871"/>
                    </a:lnTo>
                    <a:lnTo>
                      <a:pt x="1347" y="882"/>
                    </a:lnTo>
                    <a:lnTo>
                      <a:pt x="1342" y="888"/>
                    </a:lnTo>
                    <a:lnTo>
                      <a:pt x="1348" y="898"/>
                    </a:lnTo>
                    <a:lnTo>
                      <a:pt x="1348" y="903"/>
                    </a:lnTo>
                    <a:lnTo>
                      <a:pt x="1339" y="907"/>
                    </a:lnTo>
                    <a:lnTo>
                      <a:pt x="1338" y="915"/>
                    </a:lnTo>
                    <a:lnTo>
                      <a:pt x="1330" y="918"/>
                    </a:lnTo>
                    <a:lnTo>
                      <a:pt x="1326" y="927"/>
                    </a:lnTo>
                    <a:lnTo>
                      <a:pt x="1314" y="930"/>
                    </a:lnTo>
                    <a:lnTo>
                      <a:pt x="1306" y="940"/>
                    </a:lnTo>
                    <a:lnTo>
                      <a:pt x="1302" y="942"/>
                    </a:lnTo>
                    <a:lnTo>
                      <a:pt x="1290" y="954"/>
                    </a:lnTo>
                    <a:lnTo>
                      <a:pt x="1287" y="961"/>
                    </a:lnTo>
                    <a:lnTo>
                      <a:pt x="1285" y="967"/>
                    </a:lnTo>
                    <a:lnTo>
                      <a:pt x="1281" y="969"/>
                    </a:lnTo>
                    <a:lnTo>
                      <a:pt x="1276" y="975"/>
                    </a:lnTo>
                    <a:lnTo>
                      <a:pt x="1261" y="984"/>
                    </a:lnTo>
                    <a:lnTo>
                      <a:pt x="1263" y="988"/>
                    </a:lnTo>
                    <a:lnTo>
                      <a:pt x="1275" y="991"/>
                    </a:lnTo>
                    <a:lnTo>
                      <a:pt x="1269" y="1000"/>
                    </a:lnTo>
                    <a:lnTo>
                      <a:pt x="1261" y="1006"/>
                    </a:lnTo>
                    <a:lnTo>
                      <a:pt x="1261" y="1009"/>
                    </a:lnTo>
                    <a:lnTo>
                      <a:pt x="1251" y="1015"/>
                    </a:lnTo>
                    <a:lnTo>
                      <a:pt x="1243" y="1023"/>
                    </a:lnTo>
                    <a:lnTo>
                      <a:pt x="1237" y="1026"/>
                    </a:lnTo>
                    <a:lnTo>
                      <a:pt x="1234" y="1032"/>
                    </a:lnTo>
                    <a:lnTo>
                      <a:pt x="1230" y="1032"/>
                    </a:lnTo>
                    <a:lnTo>
                      <a:pt x="1221" y="1038"/>
                    </a:lnTo>
                    <a:lnTo>
                      <a:pt x="1206" y="1042"/>
                    </a:lnTo>
                    <a:lnTo>
                      <a:pt x="1195" y="1044"/>
                    </a:lnTo>
                    <a:lnTo>
                      <a:pt x="1183" y="1056"/>
                    </a:lnTo>
                    <a:lnTo>
                      <a:pt x="1180" y="1060"/>
                    </a:lnTo>
                    <a:lnTo>
                      <a:pt x="1185" y="1071"/>
                    </a:lnTo>
                    <a:lnTo>
                      <a:pt x="1177" y="1080"/>
                    </a:lnTo>
                    <a:lnTo>
                      <a:pt x="1170" y="1077"/>
                    </a:lnTo>
                    <a:lnTo>
                      <a:pt x="1162" y="1080"/>
                    </a:lnTo>
                    <a:lnTo>
                      <a:pt x="1152" y="1087"/>
                    </a:lnTo>
                    <a:lnTo>
                      <a:pt x="1155" y="1092"/>
                    </a:lnTo>
                    <a:lnTo>
                      <a:pt x="1149" y="1101"/>
                    </a:lnTo>
                    <a:lnTo>
                      <a:pt x="1141" y="1105"/>
                    </a:lnTo>
                    <a:lnTo>
                      <a:pt x="1153" y="1116"/>
                    </a:lnTo>
                    <a:lnTo>
                      <a:pt x="1162" y="1123"/>
                    </a:lnTo>
                    <a:lnTo>
                      <a:pt x="1165" y="1125"/>
                    </a:lnTo>
                    <a:lnTo>
                      <a:pt x="1158" y="1126"/>
                    </a:lnTo>
                    <a:lnTo>
                      <a:pt x="1147" y="1140"/>
                    </a:lnTo>
                    <a:lnTo>
                      <a:pt x="1131" y="1141"/>
                    </a:lnTo>
                    <a:lnTo>
                      <a:pt x="1111" y="1155"/>
                    </a:lnTo>
                    <a:lnTo>
                      <a:pt x="1101" y="1179"/>
                    </a:lnTo>
                    <a:lnTo>
                      <a:pt x="1081" y="1192"/>
                    </a:lnTo>
                    <a:lnTo>
                      <a:pt x="1065" y="1191"/>
                    </a:lnTo>
                    <a:lnTo>
                      <a:pt x="1056" y="1195"/>
                    </a:lnTo>
                    <a:lnTo>
                      <a:pt x="1048" y="1201"/>
                    </a:lnTo>
                    <a:lnTo>
                      <a:pt x="1012" y="1215"/>
                    </a:lnTo>
                    <a:lnTo>
                      <a:pt x="1005" y="1215"/>
                    </a:lnTo>
                    <a:lnTo>
                      <a:pt x="990" y="1221"/>
                    </a:lnTo>
                    <a:lnTo>
                      <a:pt x="987" y="1212"/>
                    </a:lnTo>
                    <a:lnTo>
                      <a:pt x="982" y="1215"/>
                    </a:lnTo>
                    <a:lnTo>
                      <a:pt x="970" y="1222"/>
                    </a:lnTo>
                    <a:lnTo>
                      <a:pt x="966" y="1231"/>
                    </a:lnTo>
                    <a:lnTo>
                      <a:pt x="946" y="1257"/>
                    </a:lnTo>
                    <a:lnTo>
                      <a:pt x="936" y="1266"/>
                    </a:lnTo>
                    <a:lnTo>
                      <a:pt x="943" y="1279"/>
                    </a:lnTo>
                    <a:lnTo>
                      <a:pt x="946" y="1284"/>
                    </a:lnTo>
                    <a:lnTo>
                      <a:pt x="960" y="1302"/>
                    </a:lnTo>
                    <a:lnTo>
                      <a:pt x="961" y="1314"/>
                    </a:lnTo>
                    <a:lnTo>
                      <a:pt x="958" y="1333"/>
                    </a:lnTo>
                    <a:lnTo>
                      <a:pt x="958" y="1344"/>
                    </a:lnTo>
                    <a:lnTo>
                      <a:pt x="957" y="1354"/>
                    </a:lnTo>
                    <a:lnTo>
                      <a:pt x="948" y="1369"/>
                    </a:lnTo>
                    <a:lnTo>
                      <a:pt x="942" y="1386"/>
                    </a:lnTo>
                    <a:lnTo>
                      <a:pt x="943" y="1396"/>
                    </a:lnTo>
                    <a:lnTo>
                      <a:pt x="934" y="1396"/>
                    </a:lnTo>
                    <a:lnTo>
                      <a:pt x="939" y="1408"/>
                    </a:lnTo>
                    <a:lnTo>
                      <a:pt x="942" y="1416"/>
                    </a:lnTo>
                    <a:lnTo>
                      <a:pt x="955" y="1426"/>
                    </a:lnTo>
                    <a:lnTo>
                      <a:pt x="952" y="1443"/>
                    </a:lnTo>
                    <a:lnTo>
                      <a:pt x="940" y="1453"/>
                    </a:lnTo>
                    <a:lnTo>
                      <a:pt x="939" y="1459"/>
                    </a:lnTo>
                    <a:lnTo>
                      <a:pt x="922" y="1470"/>
                    </a:lnTo>
                    <a:lnTo>
                      <a:pt x="904" y="1473"/>
                    </a:lnTo>
                    <a:lnTo>
                      <a:pt x="903" y="1482"/>
                    </a:lnTo>
                    <a:lnTo>
                      <a:pt x="898" y="1491"/>
                    </a:lnTo>
                    <a:lnTo>
                      <a:pt x="886" y="1492"/>
                    </a:lnTo>
                    <a:lnTo>
                      <a:pt x="886" y="1500"/>
                    </a:lnTo>
                    <a:lnTo>
                      <a:pt x="879" y="1503"/>
                    </a:lnTo>
                    <a:lnTo>
                      <a:pt x="876" y="1504"/>
                    </a:lnTo>
                    <a:lnTo>
                      <a:pt x="871" y="1513"/>
                    </a:lnTo>
                    <a:lnTo>
                      <a:pt x="849" y="1522"/>
                    </a:lnTo>
                    <a:lnTo>
                      <a:pt x="829" y="1533"/>
                    </a:lnTo>
                    <a:lnTo>
                      <a:pt x="816" y="1539"/>
                    </a:lnTo>
                    <a:lnTo>
                      <a:pt x="807" y="1546"/>
                    </a:lnTo>
                    <a:lnTo>
                      <a:pt x="802" y="1555"/>
                    </a:lnTo>
                    <a:lnTo>
                      <a:pt x="796" y="1563"/>
                    </a:lnTo>
                    <a:lnTo>
                      <a:pt x="775" y="1584"/>
                    </a:lnTo>
                    <a:lnTo>
                      <a:pt x="760" y="1599"/>
                    </a:lnTo>
                    <a:lnTo>
                      <a:pt x="753" y="1602"/>
                    </a:lnTo>
                    <a:lnTo>
                      <a:pt x="748" y="1612"/>
                    </a:lnTo>
                    <a:lnTo>
                      <a:pt x="738" y="1618"/>
                    </a:lnTo>
                    <a:lnTo>
                      <a:pt x="730" y="1629"/>
                    </a:lnTo>
                    <a:lnTo>
                      <a:pt x="721" y="1632"/>
                    </a:lnTo>
                    <a:lnTo>
                      <a:pt x="702" y="1647"/>
                    </a:lnTo>
                    <a:lnTo>
                      <a:pt x="679" y="1671"/>
                    </a:lnTo>
                    <a:lnTo>
                      <a:pt x="703" y="1693"/>
                    </a:lnTo>
                    <a:lnTo>
                      <a:pt x="720" y="1707"/>
                    </a:lnTo>
                    <a:lnTo>
                      <a:pt x="712" y="1714"/>
                    </a:lnTo>
                    <a:lnTo>
                      <a:pt x="715" y="1719"/>
                    </a:lnTo>
                    <a:lnTo>
                      <a:pt x="709" y="1725"/>
                    </a:lnTo>
                    <a:lnTo>
                      <a:pt x="702" y="1725"/>
                    </a:lnTo>
                    <a:lnTo>
                      <a:pt x="690" y="1741"/>
                    </a:lnTo>
                    <a:lnTo>
                      <a:pt x="679" y="1758"/>
                    </a:lnTo>
                    <a:lnTo>
                      <a:pt x="672" y="1779"/>
                    </a:lnTo>
                    <a:lnTo>
                      <a:pt x="664" y="1788"/>
                    </a:lnTo>
                    <a:lnTo>
                      <a:pt x="652" y="1800"/>
                    </a:lnTo>
                    <a:lnTo>
                      <a:pt x="655" y="1809"/>
                    </a:lnTo>
                    <a:lnTo>
                      <a:pt x="655" y="1815"/>
                    </a:lnTo>
                    <a:lnTo>
                      <a:pt x="661" y="1821"/>
                    </a:lnTo>
                    <a:lnTo>
                      <a:pt x="661" y="1825"/>
                    </a:lnTo>
                    <a:lnTo>
                      <a:pt x="652" y="1839"/>
                    </a:lnTo>
                    <a:lnTo>
                      <a:pt x="646" y="1857"/>
                    </a:lnTo>
                    <a:lnTo>
                      <a:pt x="640" y="1855"/>
                    </a:lnTo>
                    <a:lnTo>
                      <a:pt x="622" y="1879"/>
                    </a:lnTo>
                    <a:lnTo>
                      <a:pt x="595" y="1906"/>
                    </a:lnTo>
                    <a:lnTo>
                      <a:pt x="577" y="1917"/>
                    </a:lnTo>
                    <a:lnTo>
                      <a:pt x="571" y="1930"/>
                    </a:lnTo>
                    <a:lnTo>
                      <a:pt x="541" y="1978"/>
                    </a:lnTo>
                    <a:lnTo>
                      <a:pt x="531" y="1974"/>
                    </a:lnTo>
                    <a:lnTo>
                      <a:pt x="526" y="1981"/>
                    </a:lnTo>
                    <a:lnTo>
                      <a:pt x="525" y="1992"/>
                    </a:lnTo>
                    <a:lnTo>
                      <a:pt x="525" y="2002"/>
                    </a:lnTo>
                    <a:lnTo>
                      <a:pt x="519" y="2008"/>
                    </a:lnTo>
                    <a:lnTo>
                      <a:pt x="510" y="2007"/>
                    </a:lnTo>
                    <a:lnTo>
                      <a:pt x="493" y="2029"/>
                    </a:lnTo>
                    <a:lnTo>
                      <a:pt x="489" y="2031"/>
                    </a:lnTo>
                    <a:lnTo>
                      <a:pt x="486" y="2025"/>
                    </a:lnTo>
                    <a:lnTo>
                      <a:pt x="481" y="2023"/>
                    </a:lnTo>
                    <a:lnTo>
                      <a:pt x="477" y="2031"/>
                    </a:lnTo>
                    <a:lnTo>
                      <a:pt x="469" y="2037"/>
                    </a:lnTo>
                    <a:lnTo>
                      <a:pt x="454" y="2035"/>
                    </a:lnTo>
                    <a:lnTo>
                      <a:pt x="447" y="2034"/>
                    </a:lnTo>
                    <a:lnTo>
                      <a:pt x="409" y="2028"/>
                    </a:lnTo>
                    <a:lnTo>
                      <a:pt x="387" y="2029"/>
                    </a:lnTo>
                    <a:lnTo>
                      <a:pt x="379" y="2035"/>
                    </a:lnTo>
                    <a:lnTo>
                      <a:pt x="375" y="2035"/>
                    </a:lnTo>
                    <a:lnTo>
                      <a:pt x="366" y="2014"/>
                    </a:lnTo>
                    <a:lnTo>
                      <a:pt x="369" y="2007"/>
                    </a:lnTo>
                    <a:lnTo>
                      <a:pt x="367" y="1992"/>
                    </a:lnTo>
                    <a:lnTo>
                      <a:pt x="364" y="1981"/>
                    </a:lnTo>
                    <a:lnTo>
                      <a:pt x="342" y="1978"/>
                    </a:lnTo>
                    <a:lnTo>
                      <a:pt x="337" y="1968"/>
                    </a:lnTo>
                    <a:lnTo>
                      <a:pt x="322" y="1962"/>
                    </a:lnTo>
                    <a:lnTo>
                      <a:pt x="310" y="1962"/>
                    </a:lnTo>
                    <a:lnTo>
                      <a:pt x="315" y="1951"/>
                    </a:lnTo>
                    <a:lnTo>
                      <a:pt x="316" y="1942"/>
                    </a:lnTo>
                    <a:lnTo>
                      <a:pt x="309" y="1941"/>
                    </a:lnTo>
                    <a:lnTo>
                      <a:pt x="300" y="1948"/>
                    </a:lnTo>
                    <a:lnTo>
                      <a:pt x="297" y="1956"/>
                    </a:lnTo>
                    <a:lnTo>
                      <a:pt x="289" y="1957"/>
                    </a:lnTo>
                    <a:lnTo>
                      <a:pt x="282" y="1974"/>
                    </a:lnTo>
                    <a:lnTo>
                      <a:pt x="277" y="1983"/>
                    </a:lnTo>
                    <a:lnTo>
                      <a:pt x="273" y="1993"/>
                    </a:lnTo>
                    <a:lnTo>
                      <a:pt x="267" y="1998"/>
                    </a:lnTo>
                    <a:lnTo>
                      <a:pt x="249" y="1998"/>
                    </a:lnTo>
                    <a:lnTo>
                      <a:pt x="244" y="2008"/>
                    </a:lnTo>
                    <a:lnTo>
                      <a:pt x="223" y="2028"/>
                    </a:lnTo>
                    <a:lnTo>
                      <a:pt x="208" y="2031"/>
                    </a:lnTo>
                    <a:lnTo>
                      <a:pt x="204" y="2029"/>
                    </a:lnTo>
                    <a:lnTo>
                      <a:pt x="199" y="2026"/>
                    </a:lnTo>
                    <a:lnTo>
                      <a:pt x="189" y="2031"/>
                    </a:lnTo>
                    <a:lnTo>
                      <a:pt x="174" y="2029"/>
                    </a:lnTo>
                    <a:lnTo>
                      <a:pt x="163" y="2017"/>
                    </a:lnTo>
                    <a:lnTo>
                      <a:pt x="166" y="2004"/>
                    </a:lnTo>
                    <a:lnTo>
                      <a:pt x="174" y="1990"/>
                    </a:lnTo>
                    <a:lnTo>
                      <a:pt x="177" y="1975"/>
                    </a:lnTo>
                    <a:lnTo>
                      <a:pt x="168" y="1966"/>
                    </a:lnTo>
                    <a:lnTo>
                      <a:pt x="157" y="1971"/>
                    </a:lnTo>
                    <a:lnTo>
                      <a:pt x="148" y="1974"/>
                    </a:lnTo>
                    <a:lnTo>
                      <a:pt x="135" y="1936"/>
                    </a:lnTo>
                    <a:lnTo>
                      <a:pt x="130" y="1939"/>
                    </a:lnTo>
                    <a:lnTo>
                      <a:pt x="126" y="1978"/>
                    </a:lnTo>
                    <a:lnTo>
                      <a:pt x="120" y="1978"/>
                    </a:lnTo>
                    <a:lnTo>
                      <a:pt x="121" y="1972"/>
                    </a:lnTo>
                    <a:lnTo>
                      <a:pt x="123" y="1963"/>
                    </a:lnTo>
                    <a:lnTo>
                      <a:pt x="118" y="1951"/>
                    </a:lnTo>
                    <a:lnTo>
                      <a:pt x="115" y="1945"/>
                    </a:lnTo>
                    <a:lnTo>
                      <a:pt x="103" y="1936"/>
                    </a:lnTo>
                    <a:lnTo>
                      <a:pt x="99" y="1926"/>
                    </a:lnTo>
                    <a:lnTo>
                      <a:pt x="97" y="1917"/>
                    </a:lnTo>
                    <a:lnTo>
                      <a:pt x="90" y="1909"/>
                    </a:lnTo>
                    <a:lnTo>
                      <a:pt x="99" y="1894"/>
                    </a:lnTo>
                    <a:lnTo>
                      <a:pt x="93" y="1887"/>
                    </a:lnTo>
                    <a:lnTo>
                      <a:pt x="88" y="1887"/>
                    </a:lnTo>
                    <a:lnTo>
                      <a:pt x="82" y="1884"/>
                    </a:lnTo>
                    <a:lnTo>
                      <a:pt x="82" y="1879"/>
                    </a:lnTo>
                    <a:lnTo>
                      <a:pt x="76" y="1876"/>
                    </a:lnTo>
                    <a:lnTo>
                      <a:pt x="63" y="1875"/>
                    </a:lnTo>
                    <a:lnTo>
                      <a:pt x="45" y="1866"/>
                    </a:lnTo>
                    <a:lnTo>
                      <a:pt x="37" y="1860"/>
                    </a:lnTo>
                    <a:lnTo>
                      <a:pt x="49" y="1858"/>
                    </a:lnTo>
                    <a:lnTo>
                      <a:pt x="45" y="1855"/>
                    </a:lnTo>
                    <a:lnTo>
                      <a:pt x="46" y="1848"/>
                    </a:lnTo>
                    <a:lnTo>
                      <a:pt x="55" y="1842"/>
                    </a:lnTo>
                    <a:lnTo>
                      <a:pt x="46" y="1824"/>
                    </a:lnTo>
                    <a:lnTo>
                      <a:pt x="58" y="1810"/>
                    </a:lnTo>
                    <a:lnTo>
                      <a:pt x="61" y="1807"/>
                    </a:lnTo>
                    <a:lnTo>
                      <a:pt x="99" y="1807"/>
                    </a:lnTo>
                    <a:lnTo>
                      <a:pt x="100" y="1803"/>
                    </a:lnTo>
                    <a:lnTo>
                      <a:pt x="108" y="1795"/>
                    </a:lnTo>
                    <a:lnTo>
                      <a:pt x="117" y="1798"/>
                    </a:lnTo>
                    <a:lnTo>
                      <a:pt x="129" y="1797"/>
                    </a:lnTo>
                    <a:lnTo>
                      <a:pt x="135" y="1782"/>
                    </a:lnTo>
                    <a:lnTo>
                      <a:pt x="136" y="1774"/>
                    </a:lnTo>
                    <a:lnTo>
                      <a:pt x="133" y="1765"/>
                    </a:lnTo>
                    <a:lnTo>
                      <a:pt x="136" y="1759"/>
                    </a:lnTo>
                    <a:lnTo>
                      <a:pt x="126" y="1759"/>
                    </a:lnTo>
                    <a:lnTo>
                      <a:pt x="114" y="1750"/>
                    </a:lnTo>
                    <a:lnTo>
                      <a:pt x="108" y="1746"/>
                    </a:lnTo>
                    <a:lnTo>
                      <a:pt x="91" y="1741"/>
                    </a:lnTo>
                    <a:lnTo>
                      <a:pt x="85" y="1735"/>
                    </a:lnTo>
                    <a:lnTo>
                      <a:pt x="87" y="1731"/>
                    </a:lnTo>
                    <a:lnTo>
                      <a:pt x="87" y="1722"/>
                    </a:lnTo>
                    <a:lnTo>
                      <a:pt x="90" y="1701"/>
                    </a:lnTo>
                    <a:lnTo>
                      <a:pt x="85" y="1693"/>
                    </a:lnTo>
                    <a:lnTo>
                      <a:pt x="94" y="1683"/>
                    </a:lnTo>
                    <a:lnTo>
                      <a:pt x="91" y="1675"/>
                    </a:lnTo>
                    <a:lnTo>
                      <a:pt x="103" y="1669"/>
                    </a:lnTo>
                    <a:lnTo>
                      <a:pt x="118" y="1668"/>
                    </a:lnTo>
                    <a:lnTo>
                      <a:pt x="124" y="1665"/>
                    </a:lnTo>
                    <a:lnTo>
                      <a:pt x="123" y="1656"/>
                    </a:lnTo>
                    <a:lnTo>
                      <a:pt x="127" y="1650"/>
                    </a:lnTo>
                    <a:lnTo>
                      <a:pt x="126" y="1645"/>
                    </a:lnTo>
                    <a:lnTo>
                      <a:pt x="124" y="1636"/>
                    </a:lnTo>
                    <a:lnTo>
                      <a:pt x="117" y="1635"/>
                    </a:lnTo>
                    <a:lnTo>
                      <a:pt x="115" y="1632"/>
                    </a:lnTo>
                    <a:lnTo>
                      <a:pt x="129" y="1627"/>
                    </a:lnTo>
                    <a:lnTo>
                      <a:pt x="147" y="1611"/>
                    </a:lnTo>
                    <a:lnTo>
                      <a:pt x="150" y="1600"/>
                    </a:lnTo>
                    <a:lnTo>
                      <a:pt x="129" y="1582"/>
                    </a:lnTo>
                    <a:lnTo>
                      <a:pt x="139" y="1575"/>
                    </a:lnTo>
                    <a:lnTo>
                      <a:pt x="133" y="1567"/>
                    </a:lnTo>
                    <a:lnTo>
                      <a:pt x="133" y="1561"/>
                    </a:lnTo>
                    <a:lnTo>
                      <a:pt x="118" y="1552"/>
                    </a:lnTo>
                    <a:lnTo>
                      <a:pt x="117" y="1545"/>
                    </a:lnTo>
                    <a:lnTo>
                      <a:pt x="124" y="1531"/>
                    </a:lnTo>
                    <a:lnTo>
                      <a:pt x="126" y="1527"/>
                    </a:lnTo>
                    <a:lnTo>
                      <a:pt x="112" y="1518"/>
                    </a:lnTo>
                    <a:lnTo>
                      <a:pt x="114" y="1509"/>
                    </a:lnTo>
                    <a:lnTo>
                      <a:pt x="111" y="1503"/>
                    </a:lnTo>
                    <a:lnTo>
                      <a:pt x="111" y="1495"/>
                    </a:lnTo>
                    <a:lnTo>
                      <a:pt x="99" y="1491"/>
                    </a:lnTo>
                    <a:lnTo>
                      <a:pt x="91" y="1491"/>
                    </a:lnTo>
                    <a:lnTo>
                      <a:pt x="88" y="1485"/>
                    </a:lnTo>
                    <a:lnTo>
                      <a:pt x="94" y="1473"/>
                    </a:lnTo>
                    <a:lnTo>
                      <a:pt x="93" y="1468"/>
                    </a:lnTo>
                    <a:lnTo>
                      <a:pt x="100" y="1467"/>
                    </a:lnTo>
                    <a:lnTo>
                      <a:pt x="106" y="1456"/>
                    </a:lnTo>
                    <a:lnTo>
                      <a:pt x="111" y="1447"/>
                    </a:lnTo>
                    <a:lnTo>
                      <a:pt x="106" y="1443"/>
                    </a:lnTo>
                    <a:lnTo>
                      <a:pt x="93" y="1435"/>
                    </a:lnTo>
                    <a:lnTo>
                      <a:pt x="84" y="1428"/>
                    </a:lnTo>
                    <a:lnTo>
                      <a:pt x="70" y="1423"/>
                    </a:lnTo>
                    <a:lnTo>
                      <a:pt x="63" y="1420"/>
                    </a:lnTo>
                    <a:lnTo>
                      <a:pt x="64" y="1414"/>
                    </a:lnTo>
                    <a:lnTo>
                      <a:pt x="63" y="1401"/>
                    </a:lnTo>
                    <a:lnTo>
                      <a:pt x="70" y="1387"/>
                    </a:lnTo>
                    <a:lnTo>
                      <a:pt x="73" y="1389"/>
                    </a:lnTo>
                    <a:lnTo>
                      <a:pt x="78" y="1396"/>
                    </a:lnTo>
                    <a:lnTo>
                      <a:pt x="103" y="1383"/>
                    </a:lnTo>
                    <a:lnTo>
                      <a:pt x="114" y="1381"/>
                    </a:lnTo>
                    <a:lnTo>
                      <a:pt x="123" y="1383"/>
                    </a:lnTo>
                    <a:lnTo>
                      <a:pt x="130" y="1387"/>
                    </a:lnTo>
                    <a:lnTo>
                      <a:pt x="160" y="1383"/>
                    </a:lnTo>
                    <a:lnTo>
                      <a:pt x="166" y="1378"/>
                    </a:lnTo>
                    <a:lnTo>
                      <a:pt x="166" y="1366"/>
                    </a:lnTo>
                    <a:lnTo>
                      <a:pt x="163" y="1356"/>
                    </a:lnTo>
                    <a:lnTo>
                      <a:pt x="159" y="1350"/>
                    </a:lnTo>
                    <a:lnTo>
                      <a:pt x="165" y="1353"/>
                    </a:lnTo>
                    <a:lnTo>
                      <a:pt x="165" y="1348"/>
                    </a:lnTo>
                    <a:lnTo>
                      <a:pt x="151" y="1344"/>
                    </a:lnTo>
                    <a:lnTo>
                      <a:pt x="147" y="1341"/>
                    </a:lnTo>
                    <a:lnTo>
                      <a:pt x="144" y="1344"/>
                    </a:lnTo>
                    <a:lnTo>
                      <a:pt x="141" y="1344"/>
                    </a:lnTo>
                    <a:lnTo>
                      <a:pt x="136" y="1344"/>
                    </a:lnTo>
                    <a:lnTo>
                      <a:pt x="124" y="1341"/>
                    </a:lnTo>
                    <a:lnTo>
                      <a:pt x="118" y="1332"/>
                    </a:lnTo>
                    <a:lnTo>
                      <a:pt x="120" y="1321"/>
                    </a:lnTo>
                    <a:lnTo>
                      <a:pt x="120" y="1311"/>
                    </a:lnTo>
                    <a:lnTo>
                      <a:pt x="111" y="1305"/>
                    </a:lnTo>
                    <a:lnTo>
                      <a:pt x="105" y="1308"/>
                    </a:lnTo>
                    <a:lnTo>
                      <a:pt x="99" y="1311"/>
                    </a:lnTo>
                    <a:lnTo>
                      <a:pt x="87" y="1321"/>
                    </a:lnTo>
                    <a:lnTo>
                      <a:pt x="76" y="1314"/>
                    </a:lnTo>
                    <a:lnTo>
                      <a:pt x="69" y="1315"/>
                    </a:lnTo>
                    <a:lnTo>
                      <a:pt x="58" y="1303"/>
                    </a:lnTo>
                    <a:lnTo>
                      <a:pt x="49" y="1287"/>
                    </a:lnTo>
                    <a:lnTo>
                      <a:pt x="49" y="1273"/>
                    </a:lnTo>
                    <a:lnTo>
                      <a:pt x="46" y="1261"/>
                    </a:lnTo>
                    <a:lnTo>
                      <a:pt x="45" y="1252"/>
                    </a:lnTo>
                    <a:lnTo>
                      <a:pt x="33" y="1251"/>
                    </a:lnTo>
                    <a:lnTo>
                      <a:pt x="19" y="1252"/>
                    </a:lnTo>
                    <a:lnTo>
                      <a:pt x="12" y="1261"/>
                    </a:lnTo>
                    <a:lnTo>
                      <a:pt x="10" y="1251"/>
                    </a:lnTo>
                    <a:lnTo>
                      <a:pt x="3" y="1243"/>
                    </a:lnTo>
                    <a:lnTo>
                      <a:pt x="0" y="1237"/>
                    </a:lnTo>
                    <a:lnTo>
                      <a:pt x="9" y="1234"/>
                    </a:lnTo>
                    <a:lnTo>
                      <a:pt x="0" y="1204"/>
                    </a:lnTo>
                    <a:lnTo>
                      <a:pt x="6" y="1201"/>
                    </a:lnTo>
                    <a:lnTo>
                      <a:pt x="9" y="1200"/>
                    </a:lnTo>
                    <a:lnTo>
                      <a:pt x="13" y="1195"/>
                    </a:lnTo>
                    <a:lnTo>
                      <a:pt x="22" y="1183"/>
                    </a:lnTo>
                    <a:lnTo>
                      <a:pt x="33" y="1179"/>
                    </a:lnTo>
                    <a:lnTo>
                      <a:pt x="40" y="1179"/>
                    </a:lnTo>
                    <a:lnTo>
                      <a:pt x="43" y="1173"/>
                    </a:lnTo>
                    <a:lnTo>
                      <a:pt x="43" y="1168"/>
                    </a:lnTo>
                    <a:lnTo>
                      <a:pt x="54" y="1168"/>
                    </a:lnTo>
                    <a:lnTo>
                      <a:pt x="54" y="1164"/>
                    </a:lnTo>
                    <a:lnTo>
                      <a:pt x="33" y="1156"/>
                    </a:lnTo>
                    <a:lnTo>
                      <a:pt x="30" y="1156"/>
                    </a:lnTo>
                    <a:lnTo>
                      <a:pt x="19" y="1150"/>
                    </a:lnTo>
                    <a:lnTo>
                      <a:pt x="21" y="1146"/>
                    </a:lnTo>
                    <a:lnTo>
                      <a:pt x="22" y="1140"/>
                    </a:lnTo>
                    <a:lnTo>
                      <a:pt x="25" y="1135"/>
                    </a:lnTo>
                    <a:lnTo>
                      <a:pt x="28" y="1125"/>
                    </a:lnTo>
                    <a:lnTo>
                      <a:pt x="37" y="1120"/>
                    </a:lnTo>
                    <a:lnTo>
                      <a:pt x="37" y="1114"/>
                    </a:lnTo>
                    <a:lnTo>
                      <a:pt x="45" y="1110"/>
                    </a:lnTo>
                    <a:lnTo>
                      <a:pt x="49" y="1116"/>
                    </a:lnTo>
                    <a:lnTo>
                      <a:pt x="51" y="1107"/>
                    </a:lnTo>
                    <a:lnTo>
                      <a:pt x="58" y="1096"/>
                    </a:lnTo>
                    <a:lnTo>
                      <a:pt x="69" y="1092"/>
                    </a:lnTo>
                    <a:lnTo>
                      <a:pt x="73" y="1095"/>
                    </a:lnTo>
                    <a:lnTo>
                      <a:pt x="82" y="1092"/>
                    </a:lnTo>
                    <a:lnTo>
                      <a:pt x="87" y="1089"/>
                    </a:lnTo>
                    <a:lnTo>
                      <a:pt x="90" y="1090"/>
                    </a:lnTo>
                    <a:lnTo>
                      <a:pt x="103" y="1090"/>
                    </a:lnTo>
                    <a:lnTo>
                      <a:pt x="111" y="1083"/>
                    </a:lnTo>
                    <a:lnTo>
                      <a:pt x="111" y="1077"/>
                    </a:lnTo>
                    <a:lnTo>
                      <a:pt x="114" y="1074"/>
                    </a:lnTo>
                    <a:lnTo>
                      <a:pt x="118" y="1071"/>
                    </a:lnTo>
                    <a:lnTo>
                      <a:pt x="117" y="1060"/>
                    </a:lnTo>
                    <a:lnTo>
                      <a:pt x="120" y="1057"/>
                    </a:lnTo>
                    <a:lnTo>
                      <a:pt x="126" y="1053"/>
                    </a:lnTo>
                    <a:lnTo>
                      <a:pt x="127" y="1042"/>
                    </a:lnTo>
                    <a:lnTo>
                      <a:pt x="126" y="1035"/>
                    </a:lnTo>
                    <a:lnTo>
                      <a:pt x="130" y="1032"/>
                    </a:lnTo>
                    <a:lnTo>
                      <a:pt x="133" y="1026"/>
                    </a:lnTo>
                    <a:lnTo>
                      <a:pt x="141" y="1024"/>
                    </a:lnTo>
                    <a:lnTo>
                      <a:pt x="144" y="1018"/>
                    </a:lnTo>
                    <a:lnTo>
                      <a:pt x="150" y="1017"/>
                    </a:lnTo>
                    <a:lnTo>
                      <a:pt x="148" y="1003"/>
                    </a:lnTo>
                    <a:lnTo>
                      <a:pt x="153" y="999"/>
                    </a:lnTo>
                    <a:lnTo>
                      <a:pt x="160" y="996"/>
                    </a:lnTo>
                    <a:lnTo>
                      <a:pt x="160" y="988"/>
                    </a:lnTo>
                    <a:lnTo>
                      <a:pt x="166" y="964"/>
                    </a:lnTo>
                    <a:lnTo>
                      <a:pt x="163" y="958"/>
                    </a:lnTo>
                    <a:lnTo>
                      <a:pt x="154" y="951"/>
                    </a:lnTo>
                    <a:lnTo>
                      <a:pt x="159" y="945"/>
                    </a:lnTo>
                    <a:lnTo>
                      <a:pt x="172" y="942"/>
                    </a:lnTo>
                    <a:lnTo>
                      <a:pt x="177" y="936"/>
                    </a:lnTo>
                    <a:lnTo>
                      <a:pt x="175" y="931"/>
                    </a:lnTo>
                    <a:lnTo>
                      <a:pt x="181" y="930"/>
                    </a:lnTo>
                    <a:lnTo>
                      <a:pt x="175" y="915"/>
                    </a:lnTo>
                    <a:lnTo>
                      <a:pt x="184" y="906"/>
                    </a:lnTo>
                    <a:lnTo>
                      <a:pt x="187" y="892"/>
                    </a:lnTo>
                    <a:lnTo>
                      <a:pt x="181" y="885"/>
                    </a:lnTo>
                    <a:lnTo>
                      <a:pt x="189" y="871"/>
                    </a:lnTo>
                    <a:lnTo>
                      <a:pt x="187" y="847"/>
                    </a:lnTo>
                    <a:lnTo>
                      <a:pt x="202" y="852"/>
                    </a:lnTo>
                    <a:lnTo>
                      <a:pt x="204" y="841"/>
                    </a:lnTo>
                    <a:lnTo>
                      <a:pt x="208" y="831"/>
                    </a:lnTo>
                    <a:lnTo>
                      <a:pt x="195" y="822"/>
                    </a:lnTo>
                    <a:lnTo>
                      <a:pt x="189" y="820"/>
                    </a:lnTo>
                    <a:lnTo>
                      <a:pt x="177" y="820"/>
                    </a:lnTo>
                    <a:lnTo>
                      <a:pt x="171" y="816"/>
                    </a:lnTo>
                    <a:lnTo>
                      <a:pt x="175" y="796"/>
                    </a:lnTo>
                    <a:lnTo>
                      <a:pt x="186" y="795"/>
                    </a:lnTo>
                    <a:lnTo>
                      <a:pt x="189" y="781"/>
                    </a:lnTo>
                    <a:lnTo>
                      <a:pt x="187" y="769"/>
                    </a:lnTo>
                    <a:lnTo>
                      <a:pt x="186" y="763"/>
                    </a:lnTo>
                    <a:lnTo>
                      <a:pt x="184" y="754"/>
                    </a:lnTo>
                    <a:lnTo>
                      <a:pt x="189" y="747"/>
                    </a:lnTo>
                    <a:lnTo>
                      <a:pt x="190" y="736"/>
                    </a:lnTo>
                    <a:lnTo>
                      <a:pt x="178" y="727"/>
                    </a:lnTo>
                    <a:lnTo>
                      <a:pt x="171" y="735"/>
                    </a:lnTo>
                    <a:lnTo>
                      <a:pt x="165" y="735"/>
                    </a:lnTo>
                    <a:lnTo>
                      <a:pt x="154" y="730"/>
                    </a:lnTo>
                    <a:lnTo>
                      <a:pt x="145" y="720"/>
                    </a:lnTo>
                    <a:lnTo>
                      <a:pt x="151" y="715"/>
                    </a:lnTo>
                    <a:lnTo>
                      <a:pt x="154" y="711"/>
                    </a:lnTo>
                    <a:lnTo>
                      <a:pt x="147" y="696"/>
                    </a:lnTo>
                    <a:lnTo>
                      <a:pt x="144" y="685"/>
                    </a:lnTo>
                    <a:lnTo>
                      <a:pt x="144" y="679"/>
                    </a:lnTo>
                    <a:lnTo>
                      <a:pt x="150" y="663"/>
                    </a:lnTo>
                    <a:lnTo>
                      <a:pt x="138" y="658"/>
                    </a:lnTo>
                    <a:lnTo>
                      <a:pt x="135" y="649"/>
                    </a:lnTo>
                    <a:lnTo>
                      <a:pt x="132" y="648"/>
                    </a:lnTo>
                    <a:lnTo>
                      <a:pt x="115" y="657"/>
                    </a:lnTo>
                    <a:lnTo>
                      <a:pt x="105" y="651"/>
                    </a:lnTo>
                    <a:lnTo>
                      <a:pt x="96" y="642"/>
                    </a:lnTo>
                    <a:lnTo>
                      <a:pt x="96" y="636"/>
                    </a:lnTo>
                    <a:lnTo>
                      <a:pt x="114" y="637"/>
                    </a:lnTo>
                    <a:lnTo>
                      <a:pt x="126" y="628"/>
                    </a:lnTo>
                    <a:lnTo>
                      <a:pt x="124" y="627"/>
                    </a:lnTo>
                    <a:lnTo>
                      <a:pt x="118" y="625"/>
                    </a:lnTo>
                    <a:lnTo>
                      <a:pt x="117" y="621"/>
                    </a:lnTo>
                    <a:lnTo>
                      <a:pt x="118" y="613"/>
                    </a:lnTo>
                    <a:lnTo>
                      <a:pt x="124" y="606"/>
                    </a:lnTo>
                    <a:lnTo>
                      <a:pt x="135" y="600"/>
                    </a:lnTo>
                    <a:lnTo>
                      <a:pt x="147" y="601"/>
                    </a:lnTo>
                    <a:lnTo>
                      <a:pt x="145" y="609"/>
                    </a:lnTo>
                    <a:lnTo>
                      <a:pt x="154" y="607"/>
                    </a:lnTo>
                    <a:lnTo>
                      <a:pt x="162" y="595"/>
                    </a:lnTo>
                    <a:lnTo>
                      <a:pt x="171" y="576"/>
                    </a:lnTo>
                    <a:lnTo>
                      <a:pt x="177" y="571"/>
                    </a:lnTo>
                    <a:lnTo>
                      <a:pt x="184" y="571"/>
                    </a:lnTo>
                    <a:lnTo>
                      <a:pt x="187" y="561"/>
                    </a:lnTo>
                    <a:lnTo>
                      <a:pt x="190" y="550"/>
                    </a:lnTo>
                    <a:lnTo>
                      <a:pt x="190" y="541"/>
                    </a:lnTo>
                    <a:lnTo>
                      <a:pt x="189" y="531"/>
                    </a:lnTo>
                    <a:lnTo>
                      <a:pt x="177" y="526"/>
                    </a:lnTo>
                    <a:lnTo>
                      <a:pt x="183" y="510"/>
                    </a:lnTo>
                    <a:lnTo>
                      <a:pt x="177" y="481"/>
                    </a:lnTo>
                    <a:lnTo>
                      <a:pt x="168" y="474"/>
                    </a:lnTo>
                    <a:lnTo>
                      <a:pt x="154" y="462"/>
                    </a:lnTo>
                    <a:lnTo>
                      <a:pt x="142" y="448"/>
                    </a:lnTo>
                    <a:lnTo>
                      <a:pt x="133" y="450"/>
                    </a:lnTo>
                    <a:lnTo>
                      <a:pt x="126" y="460"/>
                    </a:lnTo>
                    <a:lnTo>
                      <a:pt x="118" y="481"/>
                    </a:lnTo>
                    <a:lnTo>
                      <a:pt x="112" y="486"/>
                    </a:lnTo>
                    <a:lnTo>
                      <a:pt x="109" y="483"/>
                    </a:lnTo>
                    <a:lnTo>
                      <a:pt x="93" y="480"/>
                    </a:lnTo>
                    <a:lnTo>
                      <a:pt x="94" y="472"/>
                    </a:lnTo>
                    <a:lnTo>
                      <a:pt x="94" y="463"/>
                    </a:lnTo>
                    <a:lnTo>
                      <a:pt x="106" y="447"/>
                    </a:lnTo>
                    <a:lnTo>
                      <a:pt x="111" y="436"/>
                    </a:lnTo>
                    <a:lnTo>
                      <a:pt x="123" y="426"/>
                    </a:lnTo>
                    <a:lnTo>
                      <a:pt x="115" y="424"/>
                    </a:lnTo>
                    <a:lnTo>
                      <a:pt x="117" y="420"/>
                    </a:lnTo>
                    <a:lnTo>
                      <a:pt x="123" y="397"/>
                    </a:lnTo>
                    <a:lnTo>
                      <a:pt x="132" y="393"/>
                    </a:lnTo>
                    <a:lnTo>
                      <a:pt x="139" y="394"/>
                    </a:lnTo>
                    <a:lnTo>
                      <a:pt x="145" y="400"/>
                    </a:lnTo>
                    <a:lnTo>
                      <a:pt x="151" y="397"/>
                    </a:lnTo>
                    <a:lnTo>
                      <a:pt x="156" y="399"/>
                    </a:lnTo>
                    <a:lnTo>
                      <a:pt x="163" y="396"/>
                    </a:lnTo>
                    <a:lnTo>
                      <a:pt x="174" y="394"/>
                    </a:lnTo>
                    <a:lnTo>
                      <a:pt x="178" y="387"/>
                    </a:lnTo>
                    <a:lnTo>
                      <a:pt x="184" y="384"/>
                    </a:lnTo>
                    <a:lnTo>
                      <a:pt x="190" y="388"/>
                    </a:lnTo>
                    <a:lnTo>
                      <a:pt x="199" y="391"/>
                    </a:lnTo>
                    <a:lnTo>
                      <a:pt x="205" y="397"/>
                    </a:lnTo>
                    <a:lnTo>
                      <a:pt x="222" y="396"/>
                    </a:lnTo>
                    <a:lnTo>
                      <a:pt x="226" y="390"/>
                    </a:lnTo>
                    <a:lnTo>
                      <a:pt x="237" y="373"/>
                    </a:lnTo>
                    <a:lnTo>
                      <a:pt x="244" y="369"/>
                    </a:lnTo>
                    <a:lnTo>
                      <a:pt x="250" y="358"/>
                    </a:lnTo>
                    <a:lnTo>
                      <a:pt x="264" y="369"/>
                    </a:lnTo>
                    <a:lnTo>
                      <a:pt x="264" y="379"/>
                    </a:lnTo>
                    <a:lnTo>
                      <a:pt x="270" y="382"/>
                    </a:lnTo>
                    <a:lnTo>
                      <a:pt x="268" y="390"/>
                    </a:lnTo>
                    <a:lnTo>
                      <a:pt x="271" y="400"/>
                    </a:lnTo>
                    <a:lnTo>
                      <a:pt x="280" y="393"/>
                    </a:lnTo>
                    <a:lnTo>
                      <a:pt x="288" y="397"/>
                    </a:lnTo>
                    <a:lnTo>
                      <a:pt x="297" y="393"/>
                    </a:lnTo>
                    <a:lnTo>
                      <a:pt x="309" y="393"/>
                    </a:lnTo>
                    <a:lnTo>
                      <a:pt x="315" y="396"/>
                    </a:lnTo>
                    <a:lnTo>
                      <a:pt x="321" y="388"/>
                    </a:lnTo>
                    <a:lnTo>
                      <a:pt x="321" y="382"/>
                    </a:lnTo>
                    <a:lnTo>
                      <a:pt x="328" y="382"/>
                    </a:lnTo>
                    <a:lnTo>
                      <a:pt x="330" y="384"/>
                    </a:lnTo>
                    <a:lnTo>
                      <a:pt x="334" y="387"/>
                    </a:lnTo>
                    <a:lnTo>
                      <a:pt x="340" y="382"/>
                    </a:lnTo>
                    <a:lnTo>
                      <a:pt x="343" y="387"/>
                    </a:lnTo>
                    <a:lnTo>
                      <a:pt x="351" y="382"/>
                    </a:lnTo>
                    <a:lnTo>
                      <a:pt x="351" y="376"/>
                    </a:lnTo>
                    <a:lnTo>
                      <a:pt x="348" y="369"/>
                    </a:lnTo>
                    <a:lnTo>
                      <a:pt x="348" y="361"/>
                    </a:lnTo>
                    <a:lnTo>
                      <a:pt x="343" y="354"/>
                    </a:lnTo>
                    <a:lnTo>
                      <a:pt x="345" y="351"/>
                    </a:lnTo>
                    <a:lnTo>
                      <a:pt x="342" y="349"/>
                    </a:lnTo>
                    <a:lnTo>
                      <a:pt x="345" y="343"/>
                    </a:lnTo>
                    <a:lnTo>
                      <a:pt x="340" y="343"/>
                    </a:lnTo>
                    <a:lnTo>
                      <a:pt x="351" y="339"/>
                    </a:lnTo>
                    <a:lnTo>
                      <a:pt x="351" y="334"/>
                    </a:lnTo>
                    <a:lnTo>
                      <a:pt x="345" y="333"/>
                    </a:lnTo>
                    <a:lnTo>
                      <a:pt x="345" y="327"/>
                    </a:lnTo>
                    <a:lnTo>
                      <a:pt x="351" y="322"/>
                    </a:lnTo>
                    <a:lnTo>
                      <a:pt x="361" y="316"/>
                    </a:lnTo>
                    <a:lnTo>
                      <a:pt x="363" y="310"/>
                    </a:lnTo>
                    <a:lnTo>
                      <a:pt x="358" y="306"/>
                    </a:lnTo>
                    <a:lnTo>
                      <a:pt x="361" y="300"/>
                    </a:lnTo>
                    <a:lnTo>
                      <a:pt x="360" y="295"/>
                    </a:lnTo>
                    <a:lnTo>
                      <a:pt x="363" y="291"/>
                    </a:lnTo>
                    <a:lnTo>
                      <a:pt x="355" y="288"/>
                    </a:lnTo>
                    <a:lnTo>
                      <a:pt x="343" y="291"/>
                    </a:lnTo>
                    <a:lnTo>
                      <a:pt x="340" y="289"/>
                    </a:lnTo>
                    <a:lnTo>
                      <a:pt x="342" y="282"/>
                    </a:lnTo>
                    <a:lnTo>
                      <a:pt x="339" y="279"/>
                    </a:lnTo>
                    <a:lnTo>
                      <a:pt x="334" y="274"/>
                    </a:lnTo>
                    <a:lnTo>
                      <a:pt x="339" y="258"/>
                    </a:lnTo>
                    <a:lnTo>
                      <a:pt x="342" y="238"/>
                    </a:lnTo>
                    <a:lnTo>
                      <a:pt x="348" y="226"/>
                    </a:lnTo>
                    <a:lnTo>
                      <a:pt x="355" y="225"/>
                    </a:lnTo>
                    <a:lnTo>
                      <a:pt x="363" y="228"/>
                    </a:lnTo>
                    <a:lnTo>
                      <a:pt x="366" y="229"/>
                    </a:lnTo>
                    <a:lnTo>
                      <a:pt x="369" y="226"/>
                    </a:lnTo>
                    <a:lnTo>
                      <a:pt x="375" y="228"/>
                    </a:lnTo>
                    <a:lnTo>
                      <a:pt x="379" y="232"/>
                    </a:lnTo>
                    <a:lnTo>
                      <a:pt x="385" y="229"/>
                    </a:lnTo>
                    <a:lnTo>
                      <a:pt x="388" y="223"/>
                    </a:lnTo>
                    <a:lnTo>
                      <a:pt x="388" y="216"/>
                    </a:lnTo>
                    <a:lnTo>
                      <a:pt x="391" y="208"/>
                    </a:lnTo>
                    <a:lnTo>
                      <a:pt x="388" y="198"/>
                    </a:lnTo>
                    <a:lnTo>
                      <a:pt x="393" y="193"/>
                    </a:lnTo>
                    <a:lnTo>
                      <a:pt x="399" y="195"/>
                    </a:lnTo>
                    <a:lnTo>
                      <a:pt x="400" y="186"/>
                    </a:lnTo>
                    <a:lnTo>
                      <a:pt x="403" y="184"/>
                    </a:lnTo>
                    <a:lnTo>
                      <a:pt x="408" y="187"/>
                    </a:lnTo>
                    <a:lnTo>
                      <a:pt x="414" y="184"/>
                    </a:lnTo>
                    <a:lnTo>
                      <a:pt x="423" y="189"/>
                    </a:lnTo>
                    <a:lnTo>
                      <a:pt x="430" y="189"/>
                    </a:lnTo>
                    <a:lnTo>
                      <a:pt x="429" y="195"/>
                    </a:lnTo>
                    <a:lnTo>
                      <a:pt x="436" y="198"/>
                    </a:lnTo>
                    <a:lnTo>
                      <a:pt x="442" y="198"/>
                    </a:lnTo>
                    <a:lnTo>
                      <a:pt x="456" y="190"/>
                    </a:lnTo>
                    <a:lnTo>
                      <a:pt x="454" y="187"/>
                    </a:lnTo>
                    <a:lnTo>
                      <a:pt x="447" y="192"/>
                    </a:lnTo>
                    <a:lnTo>
                      <a:pt x="445" y="187"/>
                    </a:lnTo>
                    <a:lnTo>
                      <a:pt x="450" y="183"/>
                    </a:lnTo>
                    <a:lnTo>
                      <a:pt x="453" y="175"/>
                    </a:lnTo>
                    <a:lnTo>
                      <a:pt x="448" y="171"/>
                    </a:lnTo>
                    <a:lnTo>
                      <a:pt x="454" y="162"/>
                    </a:lnTo>
                    <a:lnTo>
                      <a:pt x="460" y="154"/>
                    </a:lnTo>
                    <a:lnTo>
                      <a:pt x="459" y="148"/>
                    </a:lnTo>
                    <a:lnTo>
                      <a:pt x="469" y="139"/>
                    </a:lnTo>
                    <a:lnTo>
                      <a:pt x="469" y="129"/>
                    </a:lnTo>
                    <a:lnTo>
                      <a:pt x="472" y="127"/>
                    </a:lnTo>
                    <a:lnTo>
                      <a:pt x="480" y="132"/>
                    </a:lnTo>
                    <a:lnTo>
                      <a:pt x="484" y="132"/>
                    </a:lnTo>
                    <a:lnTo>
                      <a:pt x="498" y="133"/>
                    </a:lnTo>
                    <a:lnTo>
                      <a:pt x="499" y="127"/>
                    </a:lnTo>
                    <a:lnTo>
                      <a:pt x="502" y="120"/>
                    </a:lnTo>
                    <a:lnTo>
                      <a:pt x="498" y="117"/>
                    </a:lnTo>
                    <a:lnTo>
                      <a:pt x="499" y="111"/>
                    </a:lnTo>
                    <a:lnTo>
                      <a:pt x="504" y="112"/>
                    </a:lnTo>
                    <a:lnTo>
                      <a:pt x="511" y="103"/>
                    </a:lnTo>
                    <a:lnTo>
                      <a:pt x="507" y="96"/>
                    </a:lnTo>
                    <a:lnTo>
                      <a:pt x="516" y="85"/>
                    </a:lnTo>
                    <a:lnTo>
                      <a:pt x="526" y="82"/>
                    </a:lnTo>
                    <a:lnTo>
                      <a:pt x="528" y="61"/>
                    </a:lnTo>
                    <a:lnTo>
                      <a:pt x="529" y="60"/>
                    </a:lnTo>
                    <a:lnTo>
                      <a:pt x="537" y="52"/>
                    </a:lnTo>
                    <a:lnTo>
                      <a:pt x="546" y="51"/>
                    </a:lnTo>
                    <a:lnTo>
                      <a:pt x="549" y="58"/>
                    </a:lnTo>
                    <a:lnTo>
                      <a:pt x="555" y="61"/>
                    </a:lnTo>
                    <a:lnTo>
                      <a:pt x="555" y="67"/>
                    </a:lnTo>
                    <a:lnTo>
                      <a:pt x="553" y="70"/>
                    </a:lnTo>
                    <a:lnTo>
                      <a:pt x="546" y="75"/>
                    </a:lnTo>
                    <a:lnTo>
                      <a:pt x="537" y="87"/>
                    </a:lnTo>
                    <a:lnTo>
                      <a:pt x="532" y="93"/>
                    </a:lnTo>
                    <a:lnTo>
                      <a:pt x="531" y="99"/>
                    </a:lnTo>
                    <a:lnTo>
                      <a:pt x="538" y="100"/>
                    </a:lnTo>
                    <a:lnTo>
                      <a:pt x="544" y="99"/>
                    </a:lnTo>
                    <a:lnTo>
                      <a:pt x="549" y="99"/>
                    </a:lnTo>
                    <a:lnTo>
                      <a:pt x="558" y="97"/>
                    </a:lnTo>
                    <a:lnTo>
                      <a:pt x="559" y="90"/>
                    </a:lnTo>
                    <a:lnTo>
                      <a:pt x="565" y="82"/>
                    </a:lnTo>
                    <a:lnTo>
                      <a:pt x="571" y="78"/>
                    </a:lnTo>
                    <a:lnTo>
                      <a:pt x="574" y="73"/>
                    </a:lnTo>
                    <a:lnTo>
                      <a:pt x="580" y="78"/>
                    </a:lnTo>
                    <a:lnTo>
                      <a:pt x="586" y="75"/>
                    </a:lnTo>
                    <a:lnTo>
                      <a:pt x="592" y="76"/>
                    </a:lnTo>
                    <a:lnTo>
                      <a:pt x="597" y="75"/>
                    </a:lnTo>
                    <a:lnTo>
                      <a:pt x="600" y="66"/>
                    </a:lnTo>
                    <a:lnTo>
                      <a:pt x="601" y="61"/>
                    </a:lnTo>
                    <a:lnTo>
                      <a:pt x="606" y="58"/>
                    </a:lnTo>
                    <a:lnTo>
                      <a:pt x="609" y="49"/>
                    </a:lnTo>
                    <a:lnTo>
                      <a:pt x="606" y="42"/>
                    </a:lnTo>
                    <a:lnTo>
                      <a:pt x="612" y="40"/>
                    </a:lnTo>
                    <a:lnTo>
                      <a:pt x="615" y="33"/>
                    </a:lnTo>
                    <a:lnTo>
                      <a:pt x="621" y="19"/>
                    </a:lnTo>
                    <a:lnTo>
                      <a:pt x="631" y="15"/>
                    </a:lnTo>
                    <a:lnTo>
                      <a:pt x="651" y="7"/>
                    </a:lnTo>
                    <a:lnTo>
                      <a:pt x="657" y="9"/>
                    </a:lnTo>
                    <a:lnTo>
                      <a:pt x="661" y="7"/>
                    </a:lnTo>
                    <a:lnTo>
                      <a:pt x="664" y="7"/>
                    </a:lnTo>
                    <a:lnTo>
                      <a:pt x="679" y="9"/>
                    </a:lnTo>
                    <a:lnTo>
                      <a:pt x="687" y="1"/>
                    </a:lnTo>
                    <a:lnTo>
                      <a:pt x="691" y="0"/>
                    </a:lnTo>
                    <a:lnTo>
                      <a:pt x="702" y="7"/>
                    </a:lnTo>
                    <a:lnTo>
                      <a:pt x="709" y="15"/>
                    </a:lnTo>
                    <a:lnTo>
                      <a:pt x="711" y="18"/>
                    </a:lnTo>
                    <a:lnTo>
                      <a:pt x="708" y="28"/>
                    </a:lnTo>
                    <a:lnTo>
                      <a:pt x="706" y="33"/>
                    </a:lnTo>
                    <a:lnTo>
                      <a:pt x="715" y="37"/>
                    </a:lnTo>
                    <a:lnTo>
                      <a:pt x="711" y="45"/>
                    </a:lnTo>
                    <a:lnTo>
                      <a:pt x="712" y="51"/>
                    </a:lnTo>
                    <a:lnTo>
                      <a:pt x="703" y="58"/>
                    </a:lnTo>
                    <a:lnTo>
                      <a:pt x="708" y="69"/>
                    </a:lnTo>
                    <a:lnTo>
                      <a:pt x="715" y="66"/>
                    </a:lnTo>
                    <a:lnTo>
                      <a:pt x="717" y="73"/>
                    </a:lnTo>
                    <a:lnTo>
                      <a:pt x="724" y="82"/>
                    </a:lnTo>
                    <a:lnTo>
                      <a:pt x="735" y="78"/>
                    </a:lnTo>
                    <a:lnTo>
                      <a:pt x="741" y="79"/>
                    </a:lnTo>
                    <a:lnTo>
                      <a:pt x="744" y="87"/>
                    </a:lnTo>
                    <a:lnTo>
                      <a:pt x="747" y="90"/>
                    </a:lnTo>
                    <a:lnTo>
                      <a:pt x="750" y="88"/>
                    </a:lnTo>
                    <a:lnTo>
                      <a:pt x="750" y="105"/>
                    </a:lnTo>
                    <a:lnTo>
                      <a:pt x="760" y="105"/>
                    </a:lnTo>
                    <a:lnTo>
                      <a:pt x="765" y="100"/>
                    </a:lnTo>
                    <a:lnTo>
                      <a:pt x="775" y="105"/>
                    </a:lnTo>
                    <a:lnTo>
                      <a:pt x="784" y="103"/>
                    </a:lnTo>
                    <a:lnTo>
                      <a:pt x="783" y="93"/>
                    </a:lnTo>
                    <a:lnTo>
                      <a:pt x="789" y="93"/>
                    </a:lnTo>
                    <a:lnTo>
                      <a:pt x="796" y="88"/>
                    </a:lnTo>
                    <a:lnTo>
                      <a:pt x="810" y="79"/>
                    </a:lnTo>
                    <a:lnTo>
                      <a:pt x="820" y="75"/>
                    </a:lnTo>
                    <a:lnTo>
                      <a:pt x="829" y="75"/>
                    </a:lnTo>
                    <a:lnTo>
                      <a:pt x="840" y="84"/>
                    </a:lnTo>
                    <a:lnTo>
                      <a:pt x="849" y="82"/>
                    </a:lnTo>
                    <a:lnTo>
                      <a:pt x="852" y="78"/>
                    </a:lnTo>
                    <a:lnTo>
                      <a:pt x="859" y="76"/>
                    </a:lnTo>
                    <a:lnTo>
                      <a:pt x="864" y="76"/>
                    </a:lnTo>
                    <a:lnTo>
                      <a:pt x="868" y="70"/>
                    </a:lnTo>
                    <a:lnTo>
                      <a:pt x="874" y="72"/>
                    </a:lnTo>
                    <a:lnTo>
                      <a:pt x="877" y="69"/>
                    </a:lnTo>
                    <a:lnTo>
                      <a:pt x="885" y="70"/>
                    </a:lnTo>
                    <a:lnTo>
                      <a:pt x="892" y="70"/>
                    </a:lnTo>
                    <a:lnTo>
                      <a:pt x="901" y="70"/>
                    </a:lnTo>
                    <a:lnTo>
                      <a:pt x="904" y="75"/>
                    </a:lnTo>
                    <a:lnTo>
                      <a:pt x="915" y="76"/>
                    </a:lnTo>
                    <a:lnTo>
                      <a:pt x="913" y="93"/>
                    </a:lnTo>
                    <a:lnTo>
                      <a:pt x="934" y="88"/>
                    </a:lnTo>
                    <a:lnTo>
                      <a:pt x="943" y="102"/>
                    </a:lnTo>
                    <a:lnTo>
                      <a:pt x="949" y="114"/>
                    </a:lnTo>
                    <a:lnTo>
                      <a:pt x="955" y="115"/>
                    </a:lnTo>
                    <a:lnTo>
                      <a:pt x="955" y="129"/>
                    </a:lnTo>
                    <a:lnTo>
                      <a:pt x="960" y="141"/>
                    </a:lnTo>
                    <a:lnTo>
                      <a:pt x="967" y="159"/>
                    </a:lnTo>
                    <a:lnTo>
                      <a:pt x="999" y="141"/>
                    </a:lnTo>
                    <a:lnTo>
                      <a:pt x="1020" y="136"/>
                    </a:lnTo>
                    <a:lnTo>
                      <a:pt x="1024" y="130"/>
                    </a:lnTo>
                    <a:lnTo>
                      <a:pt x="1029" y="126"/>
                    </a:lnTo>
                    <a:lnTo>
                      <a:pt x="1033" y="115"/>
                    </a:lnTo>
                    <a:lnTo>
                      <a:pt x="1035" y="111"/>
                    </a:lnTo>
                    <a:lnTo>
                      <a:pt x="1038" y="102"/>
                    </a:lnTo>
                    <a:lnTo>
                      <a:pt x="1048" y="94"/>
                    </a:lnTo>
                    <a:lnTo>
                      <a:pt x="1057" y="91"/>
                    </a:lnTo>
                    <a:lnTo>
                      <a:pt x="1063" y="88"/>
                    </a:lnTo>
                    <a:lnTo>
                      <a:pt x="1071" y="85"/>
                    </a:lnTo>
                    <a:lnTo>
                      <a:pt x="1078" y="96"/>
                    </a:lnTo>
                    <a:lnTo>
                      <a:pt x="1083" y="102"/>
                    </a:lnTo>
                    <a:lnTo>
                      <a:pt x="1090" y="103"/>
                    </a:lnTo>
                    <a:lnTo>
                      <a:pt x="1090" y="111"/>
                    </a:lnTo>
                    <a:lnTo>
                      <a:pt x="1095" y="114"/>
                    </a:lnTo>
                    <a:lnTo>
                      <a:pt x="1099" y="115"/>
                    </a:lnTo>
                    <a:lnTo>
                      <a:pt x="1096" y="124"/>
                    </a:lnTo>
                    <a:lnTo>
                      <a:pt x="1102" y="135"/>
                    </a:lnTo>
                    <a:lnTo>
                      <a:pt x="1113" y="139"/>
                    </a:lnTo>
                    <a:lnTo>
                      <a:pt x="1119" y="145"/>
                    </a:lnTo>
                    <a:lnTo>
                      <a:pt x="1122" y="145"/>
                    </a:lnTo>
                    <a:lnTo>
                      <a:pt x="1125" y="148"/>
                    </a:lnTo>
                    <a:lnTo>
                      <a:pt x="1132" y="148"/>
                    </a:lnTo>
                    <a:lnTo>
                      <a:pt x="1137" y="154"/>
                    </a:lnTo>
                    <a:lnTo>
                      <a:pt x="1150" y="163"/>
                    </a:lnTo>
                    <a:lnTo>
                      <a:pt x="1152" y="174"/>
                    </a:lnTo>
                    <a:lnTo>
                      <a:pt x="1161" y="174"/>
                    </a:lnTo>
                    <a:lnTo>
                      <a:pt x="1167" y="181"/>
                    </a:lnTo>
                    <a:lnTo>
                      <a:pt x="1173" y="180"/>
                    </a:lnTo>
                    <a:lnTo>
                      <a:pt x="1180" y="186"/>
                    </a:lnTo>
                    <a:lnTo>
                      <a:pt x="1183" y="187"/>
                    </a:lnTo>
                    <a:lnTo>
                      <a:pt x="1191" y="186"/>
                    </a:lnTo>
                    <a:lnTo>
                      <a:pt x="1201" y="195"/>
                    </a:lnTo>
                    <a:lnTo>
                      <a:pt x="1213" y="196"/>
                    </a:lnTo>
                    <a:lnTo>
                      <a:pt x="1218" y="202"/>
                    </a:lnTo>
                    <a:lnTo>
                      <a:pt x="1215" y="216"/>
                    </a:lnTo>
                    <a:lnTo>
                      <a:pt x="1216" y="219"/>
                    </a:lnTo>
                    <a:lnTo>
                      <a:pt x="1222" y="219"/>
                    </a:lnTo>
                    <a:lnTo>
                      <a:pt x="1225" y="225"/>
                    </a:lnTo>
                    <a:lnTo>
                      <a:pt x="1233" y="232"/>
                    </a:lnTo>
                    <a:lnTo>
                      <a:pt x="1239" y="231"/>
                    </a:lnTo>
                    <a:lnTo>
                      <a:pt x="1242" y="235"/>
                    </a:lnTo>
                    <a:lnTo>
                      <a:pt x="1248" y="234"/>
                    </a:lnTo>
                    <a:lnTo>
                      <a:pt x="1249" y="228"/>
                    </a:lnTo>
                    <a:lnTo>
                      <a:pt x="1252" y="223"/>
                    </a:lnTo>
                    <a:lnTo>
                      <a:pt x="1257" y="226"/>
                    </a:lnTo>
                    <a:lnTo>
                      <a:pt x="1255" y="231"/>
                    </a:lnTo>
                    <a:lnTo>
                      <a:pt x="1257" y="240"/>
                    </a:lnTo>
                    <a:lnTo>
                      <a:pt x="1261" y="246"/>
                    </a:lnTo>
                    <a:lnTo>
                      <a:pt x="1260" y="249"/>
                    </a:lnTo>
                    <a:lnTo>
                      <a:pt x="1266" y="258"/>
                    </a:lnTo>
                    <a:lnTo>
                      <a:pt x="1270" y="261"/>
                    </a:lnTo>
                    <a:lnTo>
                      <a:pt x="1270" y="265"/>
                    </a:lnTo>
                    <a:lnTo>
                      <a:pt x="1273" y="271"/>
                    </a:lnTo>
                    <a:lnTo>
                      <a:pt x="1278" y="276"/>
                    </a:lnTo>
                    <a:lnTo>
                      <a:pt x="1288" y="276"/>
                    </a:lnTo>
                    <a:lnTo>
                      <a:pt x="1297" y="280"/>
                    </a:lnTo>
                    <a:lnTo>
                      <a:pt x="1303" y="280"/>
                    </a:lnTo>
                    <a:lnTo>
                      <a:pt x="1309" y="279"/>
                    </a:lnTo>
                    <a:lnTo>
                      <a:pt x="1314" y="283"/>
                    </a:lnTo>
                    <a:lnTo>
                      <a:pt x="1320" y="289"/>
                    </a:lnTo>
                    <a:lnTo>
                      <a:pt x="1330" y="291"/>
                    </a:lnTo>
                    <a:lnTo>
                      <a:pt x="1336" y="289"/>
                    </a:lnTo>
                    <a:lnTo>
                      <a:pt x="1341" y="295"/>
                    </a:lnTo>
                    <a:lnTo>
                      <a:pt x="1344" y="298"/>
                    </a:lnTo>
                    <a:lnTo>
                      <a:pt x="1351" y="301"/>
                    </a:lnTo>
                    <a:lnTo>
                      <a:pt x="1359" y="309"/>
                    </a:lnTo>
                    <a:lnTo>
                      <a:pt x="1365" y="309"/>
                    </a:lnTo>
                    <a:lnTo>
                      <a:pt x="1369" y="312"/>
                    </a:lnTo>
                    <a:lnTo>
                      <a:pt x="1380" y="316"/>
                    </a:lnTo>
                    <a:lnTo>
                      <a:pt x="1390" y="321"/>
                    </a:lnTo>
                    <a:lnTo>
                      <a:pt x="1393" y="321"/>
                    </a:lnTo>
                    <a:lnTo>
                      <a:pt x="1398" y="330"/>
                    </a:lnTo>
                    <a:lnTo>
                      <a:pt x="1402" y="336"/>
                    </a:lnTo>
                    <a:lnTo>
                      <a:pt x="1407" y="339"/>
                    </a:lnTo>
                    <a:lnTo>
                      <a:pt x="1410" y="342"/>
                    </a:lnTo>
                    <a:lnTo>
                      <a:pt x="1410" y="348"/>
                    </a:lnTo>
                    <a:lnTo>
                      <a:pt x="1402" y="363"/>
                    </a:lnTo>
                    <a:lnTo>
                      <a:pt x="1402" y="366"/>
                    </a:lnTo>
                    <a:lnTo>
                      <a:pt x="1408" y="370"/>
                    </a:lnTo>
                    <a:lnTo>
                      <a:pt x="1408" y="375"/>
                    </a:lnTo>
                    <a:lnTo>
                      <a:pt x="1411" y="375"/>
                    </a:lnTo>
                    <a:lnTo>
                      <a:pt x="1411" y="378"/>
                    </a:lnTo>
                    <a:lnTo>
                      <a:pt x="1413" y="384"/>
                    </a:lnTo>
                    <a:lnTo>
                      <a:pt x="1416" y="387"/>
                    </a:lnTo>
                    <a:lnTo>
                      <a:pt x="1419" y="387"/>
                    </a:lnTo>
                    <a:lnTo>
                      <a:pt x="1419" y="390"/>
                    </a:lnTo>
                    <a:lnTo>
                      <a:pt x="1417" y="391"/>
                    </a:lnTo>
                    <a:lnTo>
                      <a:pt x="1416" y="394"/>
                    </a:lnTo>
                    <a:lnTo>
                      <a:pt x="1413" y="393"/>
                    </a:lnTo>
                    <a:lnTo>
                      <a:pt x="1411" y="399"/>
                    </a:lnTo>
                    <a:lnTo>
                      <a:pt x="1417" y="402"/>
                    </a:lnTo>
                    <a:lnTo>
                      <a:pt x="1419" y="405"/>
                    </a:lnTo>
                    <a:lnTo>
                      <a:pt x="1411" y="412"/>
                    </a:lnTo>
                    <a:lnTo>
                      <a:pt x="1413" y="426"/>
                    </a:lnTo>
                    <a:lnTo>
                      <a:pt x="1402" y="429"/>
                    </a:lnTo>
                    <a:lnTo>
                      <a:pt x="1398" y="429"/>
                    </a:lnTo>
                    <a:lnTo>
                      <a:pt x="1396" y="433"/>
                    </a:lnTo>
                    <a:lnTo>
                      <a:pt x="1398" y="436"/>
                    </a:lnTo>
                    <a:lnTo>
                      <a:pt x="1393" y="441"/>
                    </a:lnTo>
                    <a:lnTo>
                      <a:pt x="1395" y="444"/>
                    </a:lnTo>
                    <a:lnTo>
                      <a:pt x="1395" y="450"/>
                    </a:lnTo>
                    <a:lnTo>
                      <a:pt x="1396" y="453"/>
                    </a:lnTo>
                    <a:lnTo>
                      <a:pt x="1395" y="456"/>
                    </a:lnTo>
                    <a:lnTo>
                      <a:pt x="1390" y="451"/>
                    </a:lnTo>
                    <a:lnTo>
                      <a:pt x="1387" y="453"/>
                    </a:lnTo>
                    <a:lnTo>
                      <a:pt x="1389" y="462"/>
                    </a:lnTo>
                    <a:lnTo>
                      <a:pt x="1387" y="466"/>
                    </a:lnTo>
                    <a:lnTo>
                      <a:pt x="1390" y="469"/>
                    </a:lnTo>
                    <a:lnTo>
                      <a:pt x="1389" y="474"/>
                    </a:lnTo>
                    <a:lnTo>
                      <a:pt x="1390" y="475"/>
                    </a:lnTo>
                    <a:lnTo>
                      <a:pt x="1389" y="480"/>
                    </a:lnTo>
                    <a:lnTo>
                      <a:pt x="1392" y="481"/>
                    </a:lnTo>
                    <a:lnTo>
                      <a:pt x="1389" y="486"/>
                    </a:lnTo>
                    <a:lnTo>
                      <a:pt x="1390" y="487"/>
                    </a:lnTo>
                    <a:lnTo>
                      <a:pt x="1393" y="487"/>
                    </a:lnTo>
                    <a:lnTo>
                      <a:pt x="1399" y="493"/>
                    </a:lnTo>
                    <a:lnTo>
                      <a:pt x="1396" y="496"/>
                    </a:lnTo>
                    <a:lnTo>
                      <a:pt x="1399" y="499"/>
                    </a:lnTo>
                    <a:lnTo>
                      <a:pt x="1402" y="501"/>
                    </a:lnTo>
                    <a:lnTo>
                      <a:pt x="1404" y="493"/>
                    </a:lnTo>
                    <a:lnTo>
                      <a:pt x="1410" y="493"/>
                    </a:lnTo>
                    <a:lnTo>
                      <a:pt x="1416" y="486"/>
                    </a:lnTo>
                    <a:lnTo>
                      <a:pt x="1422" y="487"/>
                    </a:lnTo>
                    <a:lnTo>
                      <a:pt x="1425" y="487"/>
                    </a:lnTo>
                    <a:lnTo>
                      <a:pt x="1428" y="487"/>
                    </a:lnTo>
                    <a:lnTo>
                      <a:pt x="1434" y="484"/>
                    </a:lnTo>
                    <a:lnTo>
                      <a:pt x="1437" y="486"/>
                    </a:lnTo>
                    <a:lnTo>
                      <a:pt x="1438" y="486"/>
                    </a:lnTo>
                    <a:lnTo>
                      <a:pt x="1438" y="489"/>
                    </a:lnTo>
                    <a:lnTo>
                      <a:pt x="1441" y="490"/>
                    </a:lnTo>
                    <a:lnTo>
                      <a:pt x="1443" y="487"/>
                    </a:lnTo>
                    <a:lnTo>
                      <a:pt x="1447" y="490"/>
                    </a:lnTo>
                    <a:lnTo>
                      <a:pt x="1450" y="493"/>
                    </a:lnTo>
                    <a:lnTo>
                      <a:pt x="1452" y="496"/>
                    </a:lnTo>
                    <a:lnTo>
                      <a:pt x="1452" y="504"/>
                    </a:lnTo>
                    <a:lnTo>
                      <a:pt x="1453" y="505"/>
                    </a:lnTo>
                    <a:lnTo>
                      <a:pt x="1455" y="511"/>
                    </a:lnTo>
                    <a:lnTo>
                      <a:pt x="1458" y="517"/>
                    </a:lnTo>
                    <a:lnTo>
                      <a:pt x="1462" y="519"/>
                    </a:lnTo>
                    <a:lnTo>
                      <a:pt x="1470" y="529"/>
                    </a:lnTo>
                    <a:lnTo>
                      <a:pt x="1468" y="538"/>
                    </a:lnTo>
                    <a:lnTo>
                      <a:pt x="1470" y="541"/>
                    </a:lnTo>
                    <a:lnTo>
                      <a:pt x="1468" y="543"/>
                    </a:lnTo>
                    <a:lnTo>
                      <a:pt x="1471" y="546"/>
                    </a:lnTo>
                    <a:lnTo>
                      <a:pt x="1477" y="547"/>
                    </a:lnTo>
                    <a:lnTo>
                      <a:pt x="1480" y="550"/>
                    </a:lnTo>
                    <a:lnTo>
                      <a:pt x="1488" y="558"/>
                    </a:lnTo>
                    <a:lnTo>
                      <a:pt x="1489" y="562"/>
                    </a:lnTo>
                    <a:lnTo>
                      <a:pt x="1492" y="570"/>
                    </a:lnTo>
                    <a:lnTo>
                      <a:pt x="1495" y="574"/>
                    </a:lnTo>
                    <a:lnTo>
                      <a:pt x="1494" y="579"/>
                    </a:lnTo>
                    <a:lnTo>
                      <a:pt x="1494" y="585"/>
                    </a:lnTo>
                    <a:lnTo>
                      <a:pt x="1489" y="600"/>
                    </a:lnTo>
                    <a:lnTo>
                      <a:pt x="1483" y="600"/>
                    </a:lnTo>
                    <a:lnTo>
                      <a:pt x="1479" y="607"/>
                    </a:lnTo>
                    <a:lnTo>
                      <a:pt x="1470" y="610"/>
                    </a:lnTo>
                    <a:lnTo>
                      <a:pt x="1462" y="609"/>
                    </a:lnTo>
                    <a:lnTo>
                      <a:pt x="1455" y="612"/>
                    </a:lnTo>
                    <a:lnTo>
                      <a:pt x="1449" y="618"/>
                    </a:lnTo>
                    <a:lnTo>
                      <a:pt x="1444" y="616"/>
                    </a:lnTo>
                    <a:lnTo>
                      <a:pt x="1441" y="612"/>
                    </a:lnTo>
                    <a:lnTo>
                      <a:pt x="1432" y="610"/>
                    </a:lnTo>
                    <a:lnTo>
                      <a:pt x="1420" y="607"/>
                    </a:lnTo>
                    <a:lnTo>
                      <a:pt x="1416" y="607"/>
                    </a:lnTo>
                    <a:lnTo>
                      <a:pt x="1404" y="600"/>
                    </a:lnTo>
                    <a:lnTo>
                      <a:pt x="1392" y="603"/>
                    </a:lnTo>
                    <a:lnTo>
                      <a:pt x="1374" y="612"/>
                    </a:lnTo>
                    <a:lnTo>
                      <a:pt x="1377" y="624"/>
                    </a:lnTo>
                    <a:lnTo>
                      <a:pt x="1375" y="631"/>
                    </a:lnTo>
                    <a:lnTo>
                      <a:pt x="1377" y="636"/>
                    </a:lnTo>
                    <a:lnTo>
                      <a:pt x="1381" y="639"/>
                    </a:lnTo>
                    <a:lnTo>
                      <a:pt x="1380" y="645"/>
                    </a:lnTo>
                    <a:lnTo>
                      <a:pt x="1386" y="643"/>
                    </a:lnTo>
                    <a:lnTo>
                      <a:pt x="1386" y="651"/>
                    </a:lnTo>
                    <a:lnTo>
                      <a:pt x="1384" y="655"/>
                    </a:lnTo>
                    <a:lnTo>
                      <a:pt x="1389" y="660"/>
                    </a:lnTo>
                    <a:lnTo>
                      <a:pt x="1384" y="664"/>
                    </a:lnTo>
                    <a:lnTo>
                      <a:pt x="1377" y="667"/>
                    </a:lnTo>
                    <a:lnTo>
                      <a:pt x="1371" y="664"/>
                    </a:lnTo>
                    <a:lnTo>
                      <a:pt x="1363" y="667"/>
                    </a:lnTo>
                    <a:lnTo>
                      <a:pt x="1360" y="679"/>
                    </a:lnTo>
                    <a:lnTo>
                      <a:pt x="1354" y="682"/>
                    </a:lnTo>
                    <a:lnTo>
                      <a:pt x="1338" y="684"/>
                    </a:lnTo>
                    <a:close/>
                  </a:path>
                </a:pathLst>
              </a:custGeom>
              <a:no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7" name="Freeform 332">
                <a:extLst>
                  <a:ext uri="{FF2B5EF4-FFF2-40B4-BE49-F238E27FC236}">
                    <a16:creationId xmlns:a16="http://schemas.microsoft.com/office/drawing/2014/main" id="{11A08528-6008-3D39-0D45-A904CB0A2801}"/>
                  </a:ext>
                </a:extLst>
              </p:cNvPr>
              <p:cNvSpPr>
                <a:spLocks/>
              </p:cNvSpPr>
              <p:nvPr/>
            </p:nvSpPr>
            <p:spPr bwMode="auto">
              <a:xfrm>
                <a:off x="5014" y="3174"/>
                <a:ext cx="272" cy="636"/>
              </a:xfrm>
              <a:custGeom>
                <a:avLst/>
                <a:gdLst>
                  <a:gd name="T0" fmla="*/ 0 w 815"/>
                  <a:gd name="T1" fmla="*/ 0 h 1907"/>
                  <a:gd name="T2" fmla="*/ 0 w 815"/>
                  <a:gd name="T3" fmla="*/ 0 h 1907"/>
                  <a:gd name="T4" fmla="*/ 0 w 815"/>
                  <a:gd name="T5" fmla="*/ 0 h 1907"/>
                  <a:gd name="T6" fmla="*/ 0 w 815"/>
                  <a:gd name="T7" fmla="*/ 0 h 1907"/>
                  <a:gd name="T8" fmla="*/ 0 w 815"/>
                  <a:gd name="T9" fmla="*/ 0 h 1907"/>
                  <a:gd name="T10" fmla="*/ 0 w 815"/>
                  <a:gd name="T11" fmla="*/ 0 h 1907"/>
                  <a:gd name="T12" fmla="*/ 0 w 815"/>
                  <a:gd name="T13" fmla="*/ 0 h 1907"/>
                  <a:gd name="T14" fmla="*/ 0 w 815"/>
                  <a:gd name="T15" fmla="*/ 0 h 1907"/>
                  <a:gd name="T16" fmla="*/ 0 w 815"/>
                  <a:gd name="T17" fmla="*/ 0 h 1907"/>
                  <a:gd name="T18" fmla="*/ 0 w 815"/>
                  <a:gd name="T19" fmla="*/ 0 h 1907"/>
                  <a:gd name="T20" fmla="*/ 0 w 815"/>
                  <a:gd name="T21" fmla="*/ 0 h 1907"/>
                  <a:gd name="T22" fmla="*/ 0 w 815"/>
                  <a:gd name="T23" fmla="*/ 0 h 1907"/>
                  <a:gd name="T24" fmla="*/ 0 w 815"/>
                  <a:gd name="T25" fmla="*/ 0 h 1907"/>
                  <a:gd name="T26" fmla="*/ 0 w 815"/>
                  <a:gd name="T27" fmla="*/ 0 h 1907"/>
                  <a:gd name="T28" fmla="*/ 0 w 815"/>
                  <a:gd name="T29" fmla="*/ 0 h 1907"/>
                  <a:gd name="T30" fmla="*/ 0 w 815"/>
                  <a:gd name="T31" fmla="*/ 0 h 1907"/>
                  <a:gd name="T32" fmla="*/ 0 w 815"/>
                  <a:gd name="T33" fmla="*/ 0 h 1907"/>
                  <a:gd name="T34" fmla="*/ 0 w 815"/>
                  <a:gd name="T35" fmla="*/ 0 h 1907"/>
                  <a:gd name="T36" fmla="*/ 0 w 815"/>
                  <a:gd name="T37" fmla="*/ 0 h 1907"/>
                  <a:gd name="T38" fmla="*/ 0 w 815"/>
                  <a:gd name="T39" fmla="*/ 0 h 1907"/>
                  <a:gd name="T40" fmla="*/ 0 w 815"/>
                  <a:gd name="T41" fmla="*/ 0 h 1907"/>
                  <a:gd name="T42" fmla="*/ 0 w 815"/>
                  <a:gd name="T43" fmla="*/ 0 h 1907"/>
                  <a:gd name="T44" fmla="*/ 0 w 815"/>
                  <a:gd name="T45" fmla="*/ 0 h 1907"/>
                  <a:gd name="T46" fmla="*/ 0 w 815"/>
                  <a:gd name="T47" fmla="*/ 0 h 1907"/>
                  <a:gd name="T48" fmla="*/ 0 w 815"/>
                  <a:gd name="T49" fmla="*/ 0 h 1907"/>
                  <a:gd name="T50" fmla="*/ 0 w 815"/>
                  <a:gd name="T51" fmla="*/ 0 h 1907"/>
                  <a:gd name="T52" fmla="*/ 0 w 815"/>
                  <a:gd name="T53" fmla="*/ 0 h 1907"/>
                  <a:gd name="T54" fmla="*/ 0 w 815"/>
                  <a:gd name="T55" fmla="*/ 0 h 1907"/>
                  <a:gd name="T56" fmla="*/ 0 w 815"/>
                  <a:gd name="T57" fmla="*/ 0 h 1907"/>
                  <a:gd name="T58" fmla="*/ 0 w 815"/>
                  <a:gd name="T59" fmla="*/ 0 h 1907"/>
                  <a:gd name="T60" fmla="*/ 0 w 815"/>
                  <a:gd name="T61" fmla="*/ 0 h 1907"/>
                  <a:gd name="T62" fmla="*/ 0 w 815"/>
                  <a:gd name="T63" fmla="*/ 0 h 1907"/>
                  <a:gd name="T64" fmla="*/ 0 w 815"/>
                  <a:gd name="T65" fmla="*/ 0 h 1907"/>
                  <a:gd name="T66" fmla="*/ 0 w 815"/>
                  <a:gd name="T67" fmla="*/ 0 h 1907"/>
                  <a:gd name="T68" fmla="*/ 0 w 815"/>
                  <a:gd name="T69" fmla="*/ 0 h 1907"/>
                  <a:gd name="T70" fmla="*/ 0 w 815"/>
                  <a:gd name="T71" fmla="*/ 0 h 1907"/>
                  <a:gd name="T72" fmla="*/ 0 w 815"/>
                  <a:gd name="T73" fmla="*/ 0 h 1907"/>
                  <a:gd name="T74" fmla="*/ 0 w 815"/>
                  <a:gd name="T75" fmla="*/ 0 h 1907"/>
                  <a:gd name="T76" fmla="*/ 0 w 815"/>
                  <a:gd name="T77" fmla="*/ 0 h 1907"/>
                  <a:gd name="T78" fmla="*/ 0 w 815"/>
                  <a:gd name="T79" fmla="*/ 0 h 1907"/>
                  <a:gd name="T80" fmla="*/ 0 w 815"/>
                  <a:gd name="T81" fmla="*/ 0 h 1907"/>
                  <a:gd name="T82" fmla="*/ 0 w 815"/>
                  <a:gd name="T83" fmla="*/ 0 h 1907"/>
                  <a:gd name="T84" fmla="*/ 0 w 815"/>
                  <a:gd name="T85" fmla="*/ 0 h 1907"/>
                  <a:gd name="T86" fmla="*/ 0 w 815"/>
                  <a:gd name="T87" fmla="*/ 0 h 1907"/>
                  <a:gd name="T88" fmla="*/ 0 w 815"/>
                  <a:gd name="T89" fmla="*/ 0 h 1907"/>
                  <a:gd name="T90" fmla="*/ 0 w 815"/>
                  <a:gd name="T91" fmla="*/ 0 h 1907"/>
                  <a:gd name="T92" fmla="*/ 0 w 815"/>
                  <a:gd name="T93" fmla="*/ 0 h 1907"/>
                  <a:gd name="T94" fmla="*/ 0 w 815"/>
                  <a:gd name="T95" fmla="*/ 0 h 1907"/>
                  <a:gd name="T96" fmla="*/ 0 w 815"/>
                  <a:gd name="T97" fmla="*/ 0 h 1907"/>
                  <a:gd name="T98" fmla="*/ 0 w 815"/>
                  <a:gd name="T99" fmla="*/ 0 h 1907"/>
                  <a:gd name="T100" fmla="*/ 0 w 815"/>
                  <a:gd name="T101" fmla="*/ 0 h 1907"/>
                  <a:gd name="T102" fmla="*/ 0 w 815"/>
                  <a:gd name="T103" fmla="*/ 0 h 1907"/>
                  <a:gd name="T104" fmla="*/ 0 w 815"/>
                  <a:gd name="T105" fmla="*/ 0 h 1907"/>
                  <a:gd name="T106" fmla="*/ 0 w 815"/>
                  <a:gd name="T107" fmla="*/ 0 h 1907"/>
                  <a:gd name="T108" fmla="*/ 0 w 815"/>
                  <a:gd name="T109" fmla="*/ 0 h 1907"/>
                  <a:gd name="T110" fmla="*/ 0 w 815"/>
                  <a:gd name="T111" fmla="*/ 0 h 1907"/>
                  <a:gd name="T112" fmla="*/ 0 w 815"/>
                  <a:gd name="T113" fmla="*/ 0 h 1907"/>
                  <a:gd name="T114" fmla="*/ 0 w 815"/>
                  <a:gd name="T115" fmla="*/ 0 h 1907"/>
                  <a:gd name="T116" fmla="*/ 0 w 815"/>
                  <a:gd name="T117" fmla="*/ 0 h 1907"/>
                  <a:gd name="T118" fmla="*/ 0 w 815"/>
                  <a:gd name="T119" fmla="*/ 0 h 19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15" h="1907">
                    <a:moveTo>
                      <a:pt x="693" y="1493"/>
                    </a:moveTo>
                    <a:lnTo>
                      <a:pt x="693" y="1499"/>
                    </a:lnTo>
                    <a:lnTo>
                      <a:pt x="693" y="1509"/>
                    </a:lnTo>
                    <a:lnTo>
                      <a:pt x="692" y="1523"/>
                    </a:lnTo>
                    <a:lnTo>
                      <a:pt x="692" y="1527"/>
                    </a:lnTo>
                    <a:lnTo>
                      <a:pt x="686" y="1530"/>
                    </a:lnTo>
                    <a:lnTo>
                      <a:pt x="678" y="1533"/>
                    </a:lnTo>
                    <a:lnTo>
                      <a:pt x="675" y="1539"/>
                    </a:lnTo>
                    <a:lnTo>
                      <a:pt x="675" y="1547"/>
                    </a:lnTo>
                    <a:lnTo>
                      <a:pt x="683" y="1547"/>
                    </a:lnTo>
                    <a:lnTo>
                      <a:pt x="687" y="1545"/>
                    </a:lnTo>
                    <a:lnTo>
                      <a:pt x="690" y="1550"/>
                    </a:lnTo>
                    <a:lnTo>
                      <a:pt x="687" y="1559"/>
                    </a:lnTo>
                    <a:lnTo>
                      <a:pt x="683" y="1565"/>
                    </a:lnTo>
                    <a:lnTo>
                      <a:pt x="681" y="1577"/>
                    </a:lnTo>
                    <a:lnTo>
                      <a:pt x="677" y="1583"/>
                    </a:lnTo>
                    <a:lnTo>
                      <a:pt x="671" y="1587"/>
                    </a:lnTo>
                    <a:lnTo>
                      <a:pt x="666" y="1589"/>
                    </a:lnTo>
                    <a:lnTo>
                      <a:pt x="669" y="1595"/>
                    </a:lnTo>
                    <a:lnTo>
                      <a:pt x="668" y="1599"/>
                    </a:lnTo>
                    <a:lnTo>
                      <a:pt x="663" y="1601"/>
                    </a:lnTo>
                    <a:lnTo>
                      <a:pt x="657" y="1604"/>
                    </a:lnTo>
                    <a:lnTo>
                      <a:pt x="659" y="1611"/>
                    </a:lnTo>
                    <a:lnTo>
                      <a:pt x="654" y="1614"/>
                    </a:lnTo>
                    <a:lnTo>
                      <a:pt x="641" y="1614"/>
                    </a:lnTo>
                    <a:lnTo>
                      <a:pt x="635" y="1613"/>
                    </a:lnTo>
                    <a:lnTo>
                      <a:pt x="632" y="1620"/>
                    </a:lnTo>
                    <a:lnTo>
                      <a:pt x="633" y="1625"/>
                    </a:lnTo>
                    <a:lnTo>
                      <a:pt x="639" y="1629"/>
                    </a:lnTo>
                    <a:lnTo>
                      <a:pt x="645" y="1631"/>
                    </a:lnTo>
                    <a:lnTo>
                      <a:pt x="647" y="1635"/>
                    </a:lnTo>
                    <a:lnTo>
                      <a:pt x="656" y="1637"/>
                    </a:lnTo>
                    <a:lnTo>
                      <a:pt x="663" y="1635"/>
                    </a:lnTo>
                    <a:lnTo>
                      <a:pt x="666" y="1641"/>
                    </a:lnTo>
                    <a:lnTo>
                      <a:pt x="663" y="1646"/>
                    </a:lnTo>
                    <a:lnTo>
                      <a:pt x="654" y="1655"/>
                    </a:lnTo>
                    <a:lnTo>
                      <a:pt x="648" y="1662"/>
                    </a:lnTo>
                    <a:lnTo>
                      <a:pt x="648" y="1671"/>
                    </a:lnTo>
                    <a:lnTo>
                      <a:pt x="645" y="1679"/>
                    </a:lnTo>
                    <a:lnTo>
                      <a:pt x="639" y="1682"/>
                    </a:lnTo>
                    <a:lnTo>
                      <a:pt x="630" y="1682"/>
                    </a:lnTo>
                    <a:lnTo>
                      <a:pt x="624" y="1688"/>
                    </a:lnTo>
                    <a:lnTo>
                      <a:pt x="623" y="1692"/>
                    </a:lnTo>
                    <a:lnTo>
                      <a:pt x="614" y="1697"/>
                    </a:lnTo>
                    <a:lnTo>
                      <a:pt x="605" y="1706"/>
                    </a:lnTo>
                    <a:lnTo>
                      <a:pt x="599" y="1715"/>
                    </a:lnTo>
                    <a:lnTo>
                      <a:pt x="591" y="1718"/>
                    </a:lnTo>
                    <a:lnTo>
                      <a:pt x="594" y="1728"/>
                    </a:lnTo>
                    <a:lnTo>
                      <a:pt x="593" y="1737"/>
                    </a:lnTo>
                    <a:lnTo>
                      <a:pt x="587" y="1745"/>
                    </a:lnTo>
                    <a:lnTo>
                      <a:pt x="587" y="1749"/>
                    </a:lnTo>
                    <a:lnTo>
                      <a:pt x="593" y="1746"/>
                    </a:lnTo>
                    <a:lnTo>
                      <a:pt x="596" y="1749"/>
                    </a:lnTo>
                    <a:lnTo>
                      <a:pt x="597" y="1763"/>
                    </a:lnTo>
                    <a:lnTo>
                      <a:pt x="596" y="1766"/>
                    </a:lnTo>
                    <a:lnTo>
                      <a:pt x="596" y="1775"/>
                    </a:lnTo>
                    <a:lnTo>
                      <a:pt x="588" y="1784"/>
                    </a:lnTo>
                    <a:lnTo>
                      <a:pt x="590" y="1790"/>
                    </a:lnTo>
                    <a:lnTo>
                      <a:pt x="590" y="1794"/>
                    </a:lnTo>
                    <a:lnTo>
                      <a:pt x="585" y="1796"/>
                    </a:lnTo>
                    <a:lnTo>
                      <a:pt x="581" y="1793"/>
                    </a:lnTo>
                    <a:lnTo>
                      <a:pt x="573" y="1802"/>
                    </a:lnTo>
                    <a:lnTo>
                      <a:pt x="560" y="1812"/>
                    </a:lnTo>
                    <a:lnTo>
                      <a:pt x="551" y="1821"/>
                    </a:lnTo>
                    <a:lnTo>
                      <a:pt x="549" y="1832"/>
                    </a:lnTo>
                    <a:lnTo>
                      <a:pt x="554" y="1839"/>
                    </a:lnTo>
                    <a:lnTo>
                      <a:pt x="561" y="1838"/>
                    </a:lnTo>
                    <a:lnTo>
                      <a:pt x="569" y="1830"/>
                    </a:lnTo>
                    <a:lnTo>
                      <a:pt x="576" y="1827"/>
                    </a:lnTo>
                    <a:lnTo>
                      <a:pt x="581" y="1829"/>
                    </a:lnTo>
                    <a:lnTo>
                      <a:pt x="578" y="1839"/>
                    </a:lnTo>
                    <a:lnTo>
                      <a:pt x="569" y="1857"/>
                    </a:lnTo>
                    <a:lnTo>
                      <a:pt x="558" y="1871"/>
                    </a:lnTo>
                    <a:lnTo>
                      <a:pt x="551" y="1886"/>
                    </a:lnTo>
                    <a:lnTo>
                      <a:pt x="554" y="1895"/>
                    </a:lnTo>
                    <a:lnTo>
                      <a:pt x="549" y="1901"/>
                    </a:lnTo>
                    <a:lnTo>
                      <a:pt x="545" y="1904"/>
                    </a:lnTo>
                    <a:lnTo>
                      <a:pt x="539" y="1904"/>
                    </a:lnTo>
                    <a:lnTo>
                      <a:pt x="527" y="1907"/>
                    </a:lnTo>
                    <a:lnTo>
                      <a:pt x="509" y="1905"/>
                    </a:lnTo>
                    <a:lnTo>
                      <a:pt x="503" y="1892"/>
                    </a:lnTo>
                    <a:lnTo>
                      <a:pt x="501" y="1883"/>
                    </a:lnTo>
                    <a:lnTo>
                      <a:pt x="491" y="1883"/>
                    </a:lnTo>
                    <a:lnTo>
                      <a:pt x="479" y="1880"/>
                    </a:lnTo>
                    <a:lnTo>
                      <a:pt x="468" y="1871"/>
                    </a:lnTo>
                    <a:lnTo>
                      <a:pt x="464" y="1868"/>
                    </a:lnTo>
                    <a:lnTo>
                      <a:pt x="453" y="1874"/>
                    </a:lnTo>
                    <a:lnTo>
                      <a:pt x="446" y="1875"/>
                    </a:lnTo>
                    <a:lnTo>
                      <a:pt x="440" y="1871"/>
                    </a:lnTo>
                    <a:lnTo>
                      <a:pt x="440" y="1854"/>
                    </a:lnTo>
                    <a:lnTo>
                      <a:pt x="447" y="1842"/>
                    </a:lnTo>
                    <a:lnTo>
                      <a:pt x="449" y="1835"/>
                    </a:lnTo>
                    <a:lnTo>
                      <a:pt x="458" y="1823"/>
                    </a:lnTo>
                    <a:lnTo>
                      <a:pt x="452" y="1818"/>
                    </a:lnTo>
                    <a:lnTo>
                      <a:pt x="446" y="1814"/>
                    </a:lnTo>
                    <a:lnTo>
                      <a:pt x="440" y="1818"/>
                    </a:lnTo>
                    <a:lnTo>
                      <a:pt x="434" y="1820"/>
                    </a:lnTo>
                    <a:lnTo>
                      <a:pt x="425" y="1815"/>
                    </a:lnTo>
                    <a:lnTo>
                      <a:pt x="420" y="1806"/>
                    </a:lnTo>
                    <a:lnTo>
                      <a:pt x="420" y="1796"/>
                    </a:lnTo>
                    <a:lnTo>
                      <a:pt x="416" y="1796"/>
                    </a:lnTo>
                    <a:lnTo>
                      <a:pt x="411" y="1800"/>
                    </a:lnTo>
                    <a:lnTo>
                      <a:pt x="399" y="1802"/>
                    </a:lnTo>
                    <a:lnTo>
                      <a:pt x="398" y="1796"/>
                    </a:lnTo>
                    <a:lnTo>
                      <a:pt x="398" y="1793"/>
                    </a:lnTo>
                    <a:lnTo>
                      <a:pt x="393" y="1791"/>
                    </a:lnTo>
                    <a:lnTo>
                      <a:pt x="392" y="1797"/>
                    </a:lnTo>
                    <a:lnTo>
                      <a:pt x="384" y="1791"/>
                    </a:lnTo>
                    <a:lnTo>
                      <a:pt x="380" y="1782"/>
                    </a:lnTo>
                    <a:lnTo>
                      <a:pt x="371" y="1779"/>
                    </a:lnTo>
                    <a:lnTo>
                      <a:pt x="363" y="1773"/>
                    </a:lnTo>
                    <a:lnTo>
                      <a:pt x="359" y="1782"/>
                    </a:lnTo>
                    <a:lnTo>
                      <a:pt x="353" y="1781"/>
                    </a:lnTo>
                    <a:lnTo>
                      <a:pt x="348" y="1775"/>
                    </a:lnTo>
                    <a:lnTo>
                      <a:pt x="342" y="1772"/>
                    </a:lnTo>
                    <a:lnTo>
                      <a:pt x="338" y="1766"/>
                    </a:lnTo>
                    <a:lnTo>
                      <a:pt x="326" y="1763"/>
                    </a:lnTo>
                    <a:lnTo>
                      <a:pt x="318" y="1761"/>
                    </a:lnTo>
                    <a:lnTo>
                      <a:pt x="308" y="1763"/>
                    </a:lnTo>
                    <a:lnTo>
                      <a:pt x="305" y="1761"/>
                    </a:lnTo>
                    <a:lnTo>
                      <a:pt x="303" y="1751"/>
                    </a:lnTo>
                    <a:lnTo>
                      <a:pt x="300" y="1746"/>
                    </a:lnTo>
                    <a:lnTo>
                      <a:pt x="290" y="1745"/>
                    </a:lnTo>
                    <a:lnTo>
                      <a:pt x="285" y="1746"/>
                    </a:lnTo>
                    <a:lnTo>
                      <a:pt x="281" y="1749"/>
                    </a:lnTo>
                    <a:lnTo>
                      <a:pt x="275" y="1745"/>
                    </a:lnTo>
                    <a:lnTo>
                      <a:pt x="275" y="1737"/>
                    </a:lnTo>
                    <a:lnTo>
                      <a:pt x="276" y="1731"/>
                    </a:lnTo>
                    <a:lnTo>
                      <a:pt x="273" y="1728"/>
                    </a:lnTo>
                    <a:lnTo>
                      <a:pt x="269" y="1727"/>
                    </a:lnTo>
                    <a:lnTo>
                      <a:pt x="263" y="1731"/>
                    </a:lnTo>
                    <a:lnTo>
                      <a:pt x="248" y="1734"/>
                    </a:lnTo>
                    <a:lnTo>
                      <a:pt x="243" y="1730"/>
                    </a:lnTo>
                    <a:lnTo>
                      <a:pt x="242" y="1724"/>
                    </a:lnTo>
                    <a:lnTo>
                      <a:pt x="243" y="1715"/>
                    </a:lnTo>
                    <a:lnTo>
                      <a:pt x="248" y="1710"/>
                    </a:lnTo>
                    <a:lnTo>
                      <a:pt x="249" y="1709"/>
                    </a:lnTo>
                    <a:lnTo>
                      <a:pt x="245" y="1709"/>
                    </a:lnTo>
                    <a:lnTo>
                      <a:pt x="243" y="1707"/>
                    </a:lnTo>
                    <a:lnTo>
                      <a:pt x="242" y="1703"/>
                    </a:lnTo>
                    <a:lnTo>
                      <a:pt x="239" y="1700"/>
                    </a:lnTo>
                    <a:lnTo>
                      <a:pt x="233" y="1703"/>
                    </a:lnTo>
                    <a:lnTo>
                      <a:pt x="228" y="1703"/>
                    </a:lnTo>
                    <a:lnTo>
                      <a:pt x="224" y="1698"/>
                    </a:lnTo>
                    <a:lnTo>
                      <a:pt x="221" y="1692"/>
                    </a:lnTo>
                    <a:lnTo>
                      <a:pt x="218" y="1689"/>
                    </a:lnTo>
                    <a:lnTo>
                      <a:pt x="201" y="1689"/>
                    </a:lnTo>
                    <a:lnTo>
                      <a:pt x="197" y="1683"/>
                    </a:lnTo>
                    <a:lnTo>
                      <a:pt x="195" y="1674"/>
                    </a:lnTo>
                    <a:lnTo>
                      <a:pt x="197" y="1670"/>
                    </a:lnTo>
                    <a:lnTo>
                      <a:pt x="203" y="1671"/>
                    </a:lnTo>
                    <a:lnTo>
                      <a:pt x="206" y="1668"/>
                    </a:lnTo>
                    <a:lnTo>
                      <a:pt x="206" y="1664"/>
                    </a:lnTo>
                    <a:lnTo>
                      <a:pt x="200" y="1658"/>
                    </a:lnTo>
                    <a:lnTo>
                      <a:pt x="201" y="1656"/>
                    </a:lnTo>
                    <a:lnTo>
                      <a:pt x="203" y="1655"/>
                    </a:lnTo>
                    <a:lnTo>
                      <a:pt x="203" y="1650"/>
                    </a:lnTo>
                    <a:lnTo>
                      <a:pt x="198" y="1652"/>
                    </a:lnTo>
                    <a:lnTo>
                      <a:pt x="197" y="1653"/>
                    </a:lnTo>
                    <a:lnTo>
                      <a:pt x="192" y="1649"/>
                    </a:lnTo>
                    <a:lnTo>
                      <a:pt x="189" y="1644"/>
                    </a:lnTo>
                    <a:lnTo>
                      <a:pt x="189" y="1640"/>
                    </a:lnTo>
                    <a:lnTo>
                      <a:pt x="191" y="1637"/>
                    </a:lnTo>
                    <a:lnTo>
                      <a:pt x="197" y="1635"/>
                    </a:lnTo>
                    <a:lnTo>
                      <a:pt x="198" y="1634"/>
                    </a:lnTo>
                    <a:lnTo>
                      <a:pt x="200" y="1628"/>
                    </a:lnTo>
                    <a:lnTo>
                      <a:pt x="201" y="1625"/>
                    </a:lnTo>
                    <a:lnTo>
                      <a:pt x="203" y="1622"/>
                    </a:lnTo>
                    <a:lnTo>
                      <a:pt x="198" y="1613"/>
                    </a:lnTo>
                    <a:lnTo>
                      <a:pt x="200" y="1608"/>
                    </a:lnTo>
                    <a:lnTo>
                      <a:pt x="203" y="1605"/>
                    </a:lnTo>
                    <a:lnTo>
                      <a:pt x="203" y="1599"/>
                    </a:lnTo>
                    <a:lnTo>
                      <a:pt x="209" y="1593"/>
                    </a:lnTo>
                    <a:lnTo>
                      <a:pt x="212" y="1589"/>
                    </a:lnTo>
                    <a:lnTo>
                      <a:pt x="210" y="1586"/>
                    </a:lnTo>
                    <a:lnTo>
                      <a:pt x="212" y="1583"/>
                    </a:lnTo>
                    <a:lnTo>
                      <a:pt x="218" y="1581"/>
                    </a:lnTo>
                    <a:lnTo>
                      <a:pt x="221" y="1583"/>
                    </a:lnTo>
                    <a:lnTo>
                      <a:pt x="222" y="1593"/>
                    </a:lnTo>
                    <a:lnTo>
                      <a:pt x="227" y="1595"/>
                    </a:lnTo>
                    <a:lnTo>
                      <a:pt x="230" y="1592"/>
                    </a:lnTo>
                    <a:lnTo>
                      <a:pt x="236" y="1586"/>
                    </a:lnTo>
                    <a:lnTo>
                      <a:pt x="248" y="1578"/>
                    </a:lnTo>
                    <a:lnTo>
                      <a:pt x="254" y="1574"/>
                    </a:lnTo>
                    <a:lnTo>
                      <a:pt x="263" y="1574"/>
                    </a:lnTo>
                    <a:lnTo>
                      <a:pt x="266" y="1577"/>
                    </a:lnTo>
                    <a:lnTo>
                      <a:pt x="270" y="1571"/>
                    </a:lnTo>
                    <a:lnTo>
                      <a:pt x="272" y="1556"/>
                    </a:lnTo>
                    <a:lnTo>
                      <a:pt x="275" y="1547"/>
                    </a:lnTo>
                    <a:lnTo>
                      <a:pt x="282" y="1547"/>
                    </a:lnTo>
                    <a:lnTo>
                      <a:pt x="285" y="1538"/>
                    </a:lnTo>
                    <a:lnTo>
                      <a:pt x="290" y="1539"/>
                    </a:lnTo>
                    <a:lnTo>
                      <a:pt x="291" y="1542"/>
                    </a:lnTo>
                    <a:lnTo>
                      <a:pt x="300" y="1539"/>
                    </a:lnTo>
                    <a:lnTo>
                      <a:pt x="303" y="1535"/>
                    </a:lnTo>
                    <a:lnTo>
                      <a:pt x="300" y="1530"/>
                    </a:lnTo>
                    <a:lnTo>
                      <a:pt x="293" y="1532"/>
                    </a:lnTo>
                    <a:lnTo>
                      <a:pt x="287" y="1533"/>
                    </a:lnTo>
                    <a:lnTo>
                      <a:pt x="279" y="1530"/>
                    </a:lnTo>
                    <a:lnTo>
                      <a:pt x="273" y="1526"/>
                    </a:lnTo>
                    <a:lnTo>
                      <a:pt x="267" y="1526"/>
                    </a:lnTo>
                    <a:lnTo>
                      <a:pt x="260" y="1527"/>
                    </a:lnTo>
                    <a:lnTo>
                      <a:pt x="258" y="1523"/>
                    </a:lnTo>
                    <a:lnTo>
                      <a:pt x="248" y="1524"/>
                    </a:lnTo>
                    <a:lnTo>
                      <a:pt x="240" y="1520"/>
                    </a:lnTo>
                    <a:lnTo>
                      <a:pt x="236" y="1515"/>
                    </a:lnTo>
                    <a:lnTo>
                      <a:pt x="233" y="1512"/>
                    </a:lnTo>
                    <a:lnTo>
                      <a:pt x="227" y="1503"/>
                    </a:lnTo>
                    <a:lnTo>
                      <a:pt x="215" y="1506"/>
                    </a:lnTo>
                    <a:lnTo>
                      <a:pt x="213" y="1506"/>
                    </a:lnTo>
                    <a:lnTo>
                      <a:pt x="210" y="1514"/>
                    </a:lnTo>
                    <a:lnTo>
                      <a:pt x="203" y="1520"/>
                    </a:lnTo>
                    <a:lnTo>
                      <a:pt x="197" y="1518"/>
                    </a:lnTo>
                    <a:lnTo>
                      <a:pt x="197" y="1512"/>
                    </a:lnTo>
                    <a:lnTo>
                      <a:pt x="201" y="1509"/>
                    </a:lnTo>
                    <a:lnTo>
                      <a:pt x="200" y="1505"/>
                    </a:lnTo>
                    <a:lnTo>
                      <a:pt x="191" y="1506"/>
                    </a:lnTo>
                    <a:lnTo>
                      <a:pt x="188" y="1499"/>
                    </a:lnTo>
                    <a:lnTo>
                      <a:pt x="191" y="1490"/>
                    </a:lnTo>
                    <a:lnTo>
                      <a:pt x="198" y="1484"/>
                    </a:lnTo>
                    <a:lnTo>
                      <a:pt x="198" y="1478"/>
                    </a:lnTo>
                    <a:lnTo>
                      <a:pt x="194" y="1470"/>
                    </a:lnTo>
                    <a:lnTo>
                      <a:pt x="183" y="1473"/>
                    </a:lnTo>
                    <a:lnTo>
                      <a:pt x="165" y="1484"/>
                    </a:lnTo>
                    <a:lnTo>
                      <a:pt x="153" y="1488"/>
                    </a:lnTo>
                    <a:lnTo>
                      <a:pt x="149" y="1491"/>
                    </a:lnTo>
                    <a:lnTo>
                      <a:pt x="137" y="1491"/>
                    </a:lnTo>
                    <a:lnTo>
                      <a:pt x="134" y="1488"/>
                    </a:lnTo>
                    <a:lnTo>
                      <a:pt x="137" y="1479"/>
                    </a:lnTo>
                    <a:lnTo>
                      <a:pt x="135" y="1472"/>
                    </a:lnTo>
                    <a:lnTo>
                      <a:pt x="123" y="1472"/>
                    </a:lnTo>
                    <a:lnTo>
                      <a:pt x="117" y="1472"/>
                    </a:lnTo>
                    <a:lnTo>
                      <a:pt x="113" y="1467"/>
                    </a:lnTo>
                    <a:lnTo>
                      <a:pt x="108" y="1467"/>
                    </a:lnTo>
                    <a:lnTo>
                      <a:pt x="104" y="1475"/>
                    </a:lnTo>
                    <a:lnTo>
                      <a:pt x="99" y="1470"/>
                    </a:lnTo>
                    <a:lnTo>
                      <a:pt x="99" y="1460"/>
                    </a:lnTo>
                    <a:lnTo>
                      <a:pt x="104" y="1452"/>
                    </a:lnTo>
                    <a:lnTo>
                      <a:pt x="113" y="1452"/>
                    </a:lnTo>
                    <a:lnTo>
                      <a:pt x="123" y="1455"/>
                    </a:lnTo>
                    <a:lnTo>
                      <a:pt x="132" y="1451"/>
                    </a:lnTo>
                    <a:lnTo>
                      <a:pt x="138" y="1446"/>
                    </a:lnTo>
                    <a:lnTo>
                      <a:pt x="143" y="1439"/>
                    </a:lnTo>
                    <a:lnTo>
                      <a:pt x="153" y="1428"/>
                    </a:lnTo>
                    <a:lnTo>
                      <a:pt x="155" y="1422"/>
                    </a:lnTo>
                    <a:lnTo>
                      <a:pt x="150" y="1416"/>
                    </a:lnTo>
                    <a:lnTo>
                      <a:pt x="146" y="1412"/>
                    </a:lnTo>
                    <a:lnTo>
                      <a:pt x="146" y="1409"/>
                    </a:lnTo>
                    <a:lnTo>
                      <a:pt x="138" y="1407"/>
                    </a:lnTo>
                    <a:lnTo>
                      <a:pt x="138" y="1401"/>
                    </a:lnTo>
                    <a:lnTo>
                      <a:pt x="144" y="1395"/>
                    </a:lnTo>
                    <a:lnTo>
                      <a:pt x="150" y="1394"/>
                    </a:lnTo>
                    <a:lnTo>
                      <a:pt x="150" y="1401"/>
                    </a:lnTo>
                    <a:lnTo>
                      <a:pt x="164" y="1401"/>
                    </a:lnTo>
                    <a:lnTo>
                      <a:pt x="165" y="1392"/>
                    </a:lnTo>
                    <a:lnTo>
                      <a:pt x="173" y="1383"/>
                    </a:lnTo>
                    <a:lnTo>
                      <a:pt x="179" y="1383"/>
                    </a:lnTo>
                    <a:lnTo>
                      <a:pt x="180" y="1389"/>
                    </a:lnTo>
                    <a:lnTo>
                      <a:pt x="188" y="1388"/>
                    </a:lnTo>
                    <a:lnTo>
                      <a:pt x="189" y="1373"/>
                    </a:lnTo>
                    <a:lnTo>
                      <a:pt x="197" y="1364"/>
                    </a:lnTo>
                    <a:lnTo>
                      <a:pt x="191" y="1362"/>
                    </a:lnTo>
                    <a:lnTo>
                      <a:pt x="186" y="1358"/>
                    </a:lnTo>
                    <a:lnTo>
                      <a:pt x="180" y="1353"/>
                    </a:lnTo>
                    <a:lnTo>
                      <a:pt x="173" y="1353"/>
                    </a:lnTo>
                    <a:lnTo>
                      <a:pt x="173" y="1344"/>
                    </a:lnTo>
                    <a:lnTo>
                      <a:pt x="179" y="1343"/>
                    </a:lnTo>
                    <a:lnTo>
                      <a:pt x="186" y="1346"/>
                    </a:lnTo>
                    <a:lnTo>
                      <a:pt x="198" y="1343"/>
                    </a:lnTo>
                    <a:lnTo>
                      <a:pt x="203" y="1335"/>
                    </a:lnTo>
                    <a:lnTo>
                      <a:pt x="201" y="1326"/>
                    </a:lnTo>
                    <a:lnTo>
                      <a:pt x="195" y="1313"/>
                    </a:lnTo>
                    <a:lnTo>
                      <a:pt x="197" y="1307"/>
                    </a:lnTo>
                    <a:lnTo>
                      <a:pt x="194" y="1302"/>
                    </a:lnTo>
                    <a:lnTo>
                      <a:pt x="203" y="1301"/>
                    </a:lnTo>
                    <a:lnTo>
                      <a:pt x="210" y="1296"/>
                    </a:lnTo>
                    <a:lnTo>
                      <a:pt x="215" y="1290"/>
                    </a:lnTo>
                    <a:lnTo>
                      <a:pt x="209" y="1278"/>
                    </a:lnTo>
                    <a:lnTo>
                      <a:pt x="206" y="1271"/>
                    </a:lnTo>
                    <a:lnTo>
                      <a:pt x="201" y="1262"/>
                    </a:lnTo>
                    <a:lnTo>
                      <a:pt x="195" y="1257"/>
                    </a:lnTo>
                    <a:lnTo>
                      <a:pt x="191" y="1254"/>
                    </a:lnTo>
                    <a:lnTo>
                      <a:pt x="185" y="1254"/>
                    </a:lnTo>
                    <a:lnTo>
                      <a:pt x="185" y="1260"/>
                    </a:lnTo>
                    <a:lnTo>
                      <a:pt x="182" y="1262"/>
                    </a:lnTo>
                    <a:lnTo>
                      <a:pt x="180" y="1256"/>
                    </a:lnTo>
                    <a:lnTo>
                      <a:pt x="177" y="1250"/>
                    </a:lnTo>
                    <a:lnTo>
                      <a:pt x="171" y="1248"/>
                    </a:lnTo>
                    <a:lnTo>
                      <a:pt x="167" y="1251"/>
                    </a:lnTo>
                    <a:lnTo>
                      <a:pt x="165" y="1257"/>
                    </a:lnTo>
                    <a:lnTo>
                      <a:pt x="167" y="1265"/>
                    </a:lnTo>
                    <a:lnTo>
                      <a:pt x="161" y="1266"/>
                    </a:lnTo>
                    <a:lnTo>
                      <a:pt x="156" y="1268"/>
                    </a:lnTo>
                    <a:lnTo>
                      <a:pt x="152" y="1272"/>
                    </a:lnTo>
                    <a:lnTo>
                      <a:pt x="141" y="1275"/>
                    </a:lnTo>
                    <a:lnTo>
                      <a:pt x="131" y="1274"/>
                    </a:lnTo>
                    <a:lnTo>
                      <a:pt x="119" y="1275"/>
                    </a:lnTo>
                    <a:lnTo>
                      <a:pt x="113" y="1278"/>
                    </a:lnTo>
                    <a:lnTo>
                      <a:pt x="107" y="1275"/>
                    </a:lnTo>
                    <a:lnTo>
                      <a:pt x="101" y="1275"/>
                    </a:lnTo>
                    <a:lnTo>
                      <a:pt x="90" y="1271"/>
                    </a:lnTo>
                    <a:lnTo>
                      <a:pt x="81" y="1274"/>
                    </a:lnTo>
                    <a:lnTo>
                      <a:pt x="75" y="1280"/>
                    </a:lnTo>
                    <a:lnTo>
                      <a:pt x="71" y="1280"/>
                    </a:lnTo>
                    <a:lnTo>
                      <a:pt x="63" y="1289"/>
                    </a:lnTo>
                    <a:lnTo>
                      <a:pt x="60" y="1289"/>
                    </a:lnTo>
                    <a:lnTo>
                      <a:pt x="65" y="1281"/>
                    </a:lnTo>
                    <a:lnTo>
                      <a:pt x="66" y="1278"/>
                    </a:lnTo>
                    <a:lnTo>
                      <a:pt x="63" y="1274"/>
                    </a:lnTo>
                    <a:lnTo>
                      <a:pt x="63" y="1268"/>
                    </a:lnTo>
                    <a:lnTo>
                      <a:pt x="66" y="1263"/>
                    </a:lnTo>
                    <a:lnTo>
                      <a:pt x="66" y="1257"/>
                    </a:lnTo>
                    <a:lnTo>
                      <a:pt x="71" y="1253"/>
                    </a:lnTo>
                    <a:lnTo>
                      <a:pt x="72" y="1247"/>
                    </a:lnTo>
                    <a:lnTo>
                      <a:pt x="72" y="1241"/>
                    </a:lnTo>
                    <a:lnTo>
                      <a:pt x="71" y="1238"/>
                    </a:lnTo>
                    <a:lnTo>
                      <a:pt x="68" y="1235"/>
                    </a:lnTo>
                    <a:lnTo>
                      <a:pt x="60" y="1235"/>
                    </a:lnTo>
                    <a:lnTo>
                      <a:pt x="60" y="1230"/>
                    </a:lnTo>
                    <a:lnTo>
                      <a:pt x="59" y="1224"/>
                    </a:lnTo>
                    <a:lnTo>
                      <a:pt x="56" y="1221"/>
                    </a:lnTo>
                    <a:lnTo>
                      <a:pt x="50" y="1221"/>
                    </a:lnTo>
                    <a:lnTo>
                      <a:pt x="51" y="1217"/>
                    </a:lnTo>
                    <a:lnTo>
                      <a:pt x="51" y="1212"/>
                    </a:lnTo>
                    <a:lnTo>
                      <a:pt x="47" y="1212"/>
                    </a:lnTo>
                    <a:lnTo>
                      <a:pt x="47" y="1208"/>
                    </a:lnTo>
                    <a:lnTo>
                      <a:pt x="50" y="1206"/>
                    </a:lnTo>
                    <a:lnTo>
                      <a:pt x="57" y="1205"/>
                    </a:lnTo>
                    <a:lnTo>
                      <a:pt x="62" y="1205"/>
                    </a:lnTo>
                    <a:lnTo>
                      <a:pt x="62" y="1200"/>
                    </a:lnTo>
                    <a:lnTo>
                      <a:pt x="71" y="1200"/>
                    </a:lnTo>
                    <a:lnTo>
                      <a:pt x="75" y="1200"/>
                    </a:lnTo>
                    <a:lnTo>
                      <a:pt x="78" y="1205"/>
                    </a:lnTo>
                    <a:lnTo>
                      <a:pt x="90" y="1205"/>
                    </a:lnTo>
                    <a:lnTo>
                      <a:pt x="95" y="1203"/>
                    </a:lnTo>
                    <a:lnTo>
                      <a:pt x="98" y="1199"/>
                    </a:lnTo>
                    <a:lnTo>
                      <a:pt x="104" y="1193"/>
                    </a:lnTo>
                    <a:lnTo>
                      <a:pt x="108" y="1190"/>
                    </a:lnTo>
                    <a:lnTo>
                      <a:pt x="110" y="1179"/>
                    </a:lnTo>
                    <a:lnTo>
                      <a:pt x="108" y="1175"/>
                    </a:lnTo>
                    <a:lnTo>
                      <a:pt x="105" y="1173"/>
                    </a:lnTo>
                    <a:lnTo>
                      <a:pt x="102" y="1175"/>
                    </a:lnTo>
                    <a:lnTo>
                      <a:pt x="101" y="1173"/>
                    </a:lnTo>
                    <a:lnTo>
                      <a:pt x="99" y="1170"/>
                    </a:lnTo>
                    <a:lnTo>
                      <a:pt x="98" y="1166"/>
                    </a:lnTo>
                    <a:lnTo>
                      <a:pt x="101" y="1161"/>
                    </a:lnTo>
                    <a:lnTo>
                      <a:pt x="101" y="1157"/>
                    </a:lnTo>
                    <a:lnTo>
                      <a:pt x="111" y="1143"/>
                    </a:lnTo>
                    <a:lnTo>
                      <a:pt x="120" y="1142"/>
                    </a:lnTo>
                    <a:lnTo>
                      <a:pt x="122" y="1136"/>
                    </a:lnTo>
                    <a:lnTo>
                      <a:pt x="131" y="1134"/>
                    </a:lnTo>
                    <a:lnTo>
                      <a:pt x="135" y="1137"/>
                    </a:lnTo>
                    <a:lnTo>
                      <a:pt x="152" y="1130"/>
                    </a:lnTo>
                    <a:lnTo>
                      <a:pt x="153" y="1125"/>
                    </a:lnTo>
                    <a:lnTo>
                      <a:pt x="153" y="1118"/>
                    </a:lnTo>
                    <a:lnTo>
                      <a:pt x="162" y="1121"/>
                    </a:lnTo>
                    <a:lnTo>
                      <a:pt x="168" y="1116"/>
                    </a:lnTo>
                    <a:lnTo>
                      <a:pt x="168" y="1109"/>
                    </a:lnTo>
                    <a:lnTo>
                      <a:pt x="168" y="1098"/>
                    </a:lnTo>
                    <a:lnTo>
                      <a:pt x="164" y="1094"/>
                    </a:lnTo>
                    <a:lnTo>
                      <a:pt x="162" y="1091"/>
                    </a:lnTo>
                    <a:lnTo>
                      <a:pt x="153" y="1094"/>
                    </a:lnTo>
                    <a:lnTo>
                      <a:pt x="149" y="1094"/>
                    </a:lnTo>
                    <a:lnTo>
                      <a:pt x="150" y="1088"/>
                    </a:lnTo>
                    <a:lnTo>
                      <a:pt x="150" y="1082"/>
                    </a:lnTo>
                    <a:lnTo>
                      <a:pt x="149" y="1076"/>
                    </a:lnTo>
                    <a:lnTo>
                      <a:pt x="143" y="1068"/>
                    </a:lnTo>
                    <a:lnTo>
                      <a:pt x="138" y="1068"/>
                    </a:lnTo>
                    <a:lnTo>
                      <a:pt x="140" y="1059"/>
                    </a:lnTo>
                    <a:lnTo>
                      <a:pt x="141" y="1055"/>
                    </a:lnTo>
                    <a:lnTo>
                      <a:pt x="137" y="1049"/>
                    </a:lnTo>
                    <a:lnTo>
                      <a:pt x="134" y="1046"/>
                    </a:lnTo>
                    <a:lnTo>
                      <a:pt x="137" y="1038"/>
                    </a:lnTo>
                    <a:lnTo>
                      <a:pt x="134" y="1040"/>
                    </a:lnTo>
                    <a:lnTo>
                      <a:pt x="132" y="1035"/>
                    </a:lnTo>
                    <a:lnTo>
                      <a:pt x="128" y="1034"/>
                    </a:lnTo>
                    <a:lnTo>
                      <a:pt x="126" y="1034"/>
                    </a:lnTo>
                    <a:lnTo>
                      <a:pt x="123" y="1038"/>
                    </a:lnTo>
                    <a:lnTo>
                      <a:pt x="123" y="1041"/>
                    </a:lnTo>
                    <a:lnTo>
                      <a:pt x="119" y="1044"/>
                    </a:lnTo>
                    <a:lnTo>
                      <a:pt x="117" y="1047"/>
                    </a:lnTo>
                    <a:lnTo>
                      <a:pt x="113" y="1046"/>
                    </a:lnTo>
                    <a:lnTo>
                      <a:pt x="111" y="1044"/>
                    </a:lnTo>
                    <a:lnTo>
                      <a:pt x="105" y="1044"/>
                    </a:lnTo>
                    <a:lnTo>
                      <a:pt x="105" y="1046"/>
                    </a:lnTo>
                    <a:lnTo>
                      <a:pt x="104" y="1049"/>
                    </a:lnTo>
                    <a:lnTo>
                      <a:pt x="99" y="1050"/>
                    </a:lnTo>
                    <a:lnTo>
                      <a:pt x="99" y="1044"/>
                    </a:lnTo>
                    <a:lnTo>
                      <a:pt x="98" y="1040"/>
                    </a:lnTo>
                    <a:lnTo>
                      <a:pt x="95" y="1037"/>
                    </a:lnTo>
                    <a:lnTo>
                      <a:pt x="95" y="1032"/>
                    </a:lnTo>
                    <a:lnTo>
                      <a:pt x="92" y="1029"/>
                    </a:lnTo>
                    <a:lnTo>
                      <a:pt x="87" y="1026"/>
                    </a:lnTo>
                    <a:lnTo>
                      <a:pt x="81" y="1031"/>
                    </a:lnTo>
                    <a:lnTo>
                      <a:pt x="80" y="1023"/>
                    </a:lnTo>
                    <a:lnTo>
                      <a:pt x="72" y="1025"/>
                    </a:lnTo>
                    <a:lnTo>
                      <a:pt x="66" y="1022"/>
                    </a:lnTo>
                    <a:lnTo>
                      <a:pt x="66" y="1013"/>
                    </a:lnTo>
                    <a:lnTo>
                      <a:pt x="60" y="1011"/>
                    </a:lnTo>
                    <a:lnTo>
                      <a:pt x="57" y="1014"/>
                    </a:lnTo>
                    <a:lnTo>
                      <a:pt x="50" y="1014"/>
                    </a:lnTo>
                    <a:lnTo>
                      <a:pt x="48" y="1019"/>
                    </a:lnTo>
                    <a:lnTo>
                      <a:pt x="38" y="1017"/>
                    </a:lnTo>
                    <a:lnTo>
                      <a:pt x="38" y="1011"/>
                    </a:lnTo>
                    <a:lnTo>
                      <a:pt x="45" y="1005"/>
                    </a:lnTo>
                    <a:lnTo>
                      <a:pt x="47" y="999"/>
                    </a:lnTo>
                    <a:lnTo>
                      <a:pt x="42" y="993"/>
                    </a:lnTo>
                    <a:lnTo>
                      <a:pt x="36" y="990"/>
                    </a:lnTo>
                    <a:lnTo>
                      <a:pt x="30" y="992"/>
                    </a:lnTo>
                    <a:lnTo>
                      <a:pt x="27" y="995"/>
                    </a:lnTo>
                    <a:lnTo>
                      <a:pt x="23" y="998"/>
                    </a:lnTo>
                    <a:lnTo>
                      <a:pt x="18" y="999"/>
                    </a:lnTo>
                    <a:lnTo>
                      <a:pt x="20" y="992"/>
                    </a:lnTo>
                    <a:lnTo>
                      <a:pt x="30" y="986"/>
                    </a:lnTo>
                    <a:lnTo>
                      <a:pt x="38" y="984"/>
                    </a:lnTo>
                    <a:lnTo>
                      <a:pt x="39" y="978"/>
                    </a:lnTo>
                    <a:lnTo>
                      <a:pt x="47" y="975"/>
                    </a:lnTo>
                    <a:lnTo>
                      <a:pt x="45" y="971"/>
                    </a:lnTo>
                    <a:lnTo>
                      <a:pt x="41" y="969"/>
                    </a:lnTo>
                    <a:lnTo>
                      <a:pt x="35" y="971"/>
                    </a:lnTo>
                    <a:lnTo>
                      <a:pt x="29" y="971"/>
                    </a:lnTo>
                    <a:lnTo>
                      <a:pt x="24" y="968"/>
                    </a:lnTo>
                    <a:lnTo>
                      <a:pt x="23" y="965"/>
                    </a:lnTo>
                    <a:lnTo>
                      <a:pt x="26" y="962"/>
                    </a:lnTo>
                    <a:lnTo>
                      <a:pt x="32" y="962"/>
                    </a:lnTo>
                    <a:lnTo>
                      <a:pt x="35" y="960"/>
                    </a:lnTo>
                    <a:lnTo>
                      <a:pt x="41" y="960"/>
                    </a:lnTo>
                    <a:lnTo>
                      <a:pt x="41" y="957"/>
                    </a:lnTo>
                    <a:lnTo>
                      <a:pt x="39" y="954"/>
                    </a:lnTo>
                    <a:lnTo>
                      <a:pt x="36" y="947"/>
                    </a:lnTo>
                    <a:lnTo>
                      <a:pt x="35" y="941"/>
                    </a:lnTo>
                    <a:lnTo>
                      <a:pt x="38" y="938"/>
                    </a:lnTo>
                    <a:lnTo>
                      <a:pt x="38" y="927"/>
                    </a:lnTo>
                    <a:lnTo>
                      <a:pt x="33" y="927"/>
                    </a:lnTo>
                    <a:lnTo>
                      <a:pt x="29" y="930"/>
                    </a:lnTo>
                    <a:lnTo>
                      <a:pt x="26" y="930"/>
                    </a:lnTo>
                    <a:lnTo>
                      <a:pt x="29" y="927"/>
                    </a:lnTo>
                    <a:lnTo>
                      <a:pt x="30" y="920"/>
                    </a:lnTo>
                    <a:lnTo>
                      <a:pt x="33" y="921"/>
                    </a:lnTo>
                    <a:lnTo>
                      <a:pt x="36" y="920"/>
                    </a:lnTo>
                    <a:lnTo>
                      <a:pt x="32" y="917"/>
                    </a:lnTo>
                    <a:lnTo>
                      <a:pt x="27" y="914"/>
                    </a:lnTo>
                    <a:lnTo>
                      <a:pt x="30" y="909"/>
                    </a:lnTo>
                    <a:lnTo>
                      <a:pt x="33" y="903"/>
                    </a:lnTo>
                    <a:lnTo>
                      <a:pt x="30" y="902"/>
                    </a:lnTo>
                    <a:lnTo>
                      <a:pt x="23" y="900"/>
                    </a:lnTo>
                    <a:lnTo>
                      <a:pt x="21" y="899"/>
                    </a:lnTo>
                    <a:lnTo>
                      <a:pt x="15" y="905"/>
                    </a:lnTo>
                    <a:lnTo>
                      <a:pt x="11" y="902"/>
                    </a:lnTo>
                    <a:lnTo>
                      <a:pt x="11" y="899"/>
                    </a:lnTo>
                    <a:lnTo>
                      <a:pt x="8" y="897"/>
                    </a:lnTo>
                    <a:lnTo>
                      <a:pt x="5" y="894"/>
                    </a:lnTo>
                    <a:lnTo>
                      <a:pt x="11" y="890"/>
                    </a:lnTo>
                    <a:lnTo>
                      <a:pt x="15" y="890"/>
                    </a:lnTo>
                    <a:lnTo>
                      <a:pt x="18" y="894"/>
                    </a:lnTo>
                    <a:lnTo>
                      <a:pt x="23" y="893"/>
                    </a:lnTo>
                    <a:lnTo>
                      <a:pt x="29" y="890"/>
                    </a:lnTo>
                    <a:lnTo>
                      <a:pt x="35" y="891"/>
                    </a:lnTo>
                    <a:lnTo>
                      <a:pt x="36" y="885"/>
                    </a:lnTo>
                    <a:lnTo>
                      <a:pt x="39" y="885"/>
                    </a:lnTo>
                    <a:lnTo>
                      <a:pt x="39" y="887"/>
                    </a:lnTo>
                    <a:lnTo>
                      <a:pt x="42" y="885"/>
                    </a:lnTo>
                    <a:lnTo>
                      <a:pt x="54" y="879"/>
                    </a:lnTo>
                    <a:lnTo>
                      <a:pt x="60" y="876"/>
                    </a:lnTo>
                    <a:lnTo>
                      <a:pt x="62" y="876"/>
                    </a:lnTo>
                    <a:lnTo>
                      <a:pt x="63" y="873"/>
                    </a:lnTo>
                    <a:lnTo>
                      <a:pt x="66" y="873"/>
                    </a:lnTo>
                    <a:lnTo>
                      <a:pt x="66" y="869"/>
                    </a:lnTo>
                    <a:lnTo>
                      <a:pt x="71" y="870"/>
                    </a:lnTo>
                    <a:lnTo>
                      <a:pt x="74" y="875"/>
                    </a:lnTo>
                    <a:lnTo>
                      <a:pt x="77" y="873"/>
                    </a:lnTo>
                    <a:lnTo>
                      <a:pt x="86" y="872"/>
                    </a:lnTo>
                    <a:lnTo>
                      <a:pt x="87" y="870"/>
                    </a:lnTo>
                    <a:lnTo>
                      <a:pt x="96" y="869"/>
                    </a:lnTo>
                    <a:lnTo>
                      <a:pt x="101" y="866"/>
                    </a:lnTo>
                    <a:lnTo>
                      <a:pt x="108" y="866"/>
                    </a:lnTo>
                    <a:lnTo>
                      <a:pt x="113" y="863"/>
                    </a:lnTo>
                    <a:lnTo>
                      <a:pt x="117" y="863"/>
                    </a:lnTo>
                    <a:lnTo>
                      <a:pt x="125" y="863"/>
                    </a:lnTo>
                    <a:lnTo>
                      <a:pt x="125" y="864"/>
                    </a:lnTo>
                    <a:lnTo>
                      <a:pt x="125" y="863"/>
                    </a:lnTo>
                    <a:lnTo>
                      <a:pt x="129" y="857"/>
                    </a:lnTo>
                    <a:lnTo>
                      <a:pt x="128" y="855"/>
                    </a:lnTo>
                    <a:lnTo>
                      <a:pt x="126" y="851"/>
                    </a:lnTo>
                    <a:lnTo>
                      <a:pt x="128" y="846"/>
                    </a:lnTo>
                    <a:lnTo>
                      <a:pt x="125" y="842"/>
                    </a:lnTo>
                    <a:lnTo>
                      <a:pt x="120" y="842"/>
                    </a:lnTo>
                    <a:lnTo>
                      <a:pt x="117" y="843"/>
                    </a:lnTo>
                    <a:lnTo>
                      <a:pt x="113" y="839"/>
                    </a:lnTo>
                    <a:lnTo>
                      <a:pt x="116" y="836"/>
                    </a:lnTo>
                    <a:lnTo>
                      <a:pt x="113" y="833"/>
                    </a:lnTo>
                    <a:lnTo>
                      <a:pt x="116" y="830"/>
                    </a:lnTo>
                    <a:lnTo>
                      <a:pt x="111" y="825"/>
                    </a:lnTo>
                    <a:lnTo>
                      <a:pt x="110" y="827"/>
                    </a:lnTo>
                    <a:lnTo>
                      <a:pt x="105" y="822"/>
                    </a:lnTo>
                    <a:lnTo>
                      <a:pt x="104" y="822"/>
                    </a:lnTo>
                    <a:lnTo>
                      <a:pt x="104" y="818"/>
                    </a:lnTo>
                    <a:lnTo>
                      <a:pt x="98" y="818"/>
                    </a:lnTo>
                    <a:lnTo>
                      <a:pt x="95" y="819"/>
                    </a:lnTo>
                    <a:lnTo>
                      <a:pt x="92" y="816"/>
                    </a:lnTo>
                    <a:lnTo>
                      <a:pt x="86" y="818"/>
                    </a:lnTo>
                    <a:lnTo>
                      <a:pt x="81" y="813"/>
                    </a:lnTo>
                    <a:lnTo>
                      <a:pt x="77" y="813"/>
                    </a:lnTo>
                    <a:lnTo>
                      <a:pt x="78" y="807"/>
                    </a:lnTo>
                    <a:lnTo>
                      <a:pt x="75" y="803"/>
                    </a:lnTo>
                    <a:lnTo>
                      <a:pt x="68" y="806"/>
                    </a:lnTo>
                    <a:lnTo>
                      <a:pt x="60" y="810"/>
                    </a:lnTo>
                    <a:lnTo>
                      <a:pt x="59" y="812"/>
                    </a:lnTo>
                    <a:lnTo>
                      <a:pt x="54" y="806"/>
                    </a:lnTo>
                    <a:lnTo>
                      <a:pt x="56" y="803"/>
                    </a:lnTo>
                    <a:lnTo>
                      <a:pt x="50" y="797"/>
                    </a:lnTo>
                    <a:lnTo>
                      <a:pt x="54" y="794"/>
                    </a:lnTo>
                    <a:lnTo>
                      <a:pt x="71" y="786"/>
                    </a:lnTo>
                    <a:lnTo>
                      <a:pt x="75" y="782"/>
                    </a:lnTo>
                    <a:lnTo>
                      <a:pt x="75" y="779"/>
                    </a:lnTo>
                    <a:lnTo>
                      <a:pt x="77" y="773"/>
                    </a:lnTo>
                    <a:lnTo>
                      <a:pt x="71" y="773"/>
                    </a:lnTo>
                    <a:lnTo>
                      <a:pt x="68" y="770"/>
                    </a:lnTo>
                    <a:lnTo>
                      <a:pt x="68" y="765"/>
                    </a:lnTo>
                    <a:lnTo>
                      <a:pt x="66" y="761"/>
                    </a:lnTo>
                    <a:lnTo>
                      <a:pt x="62" y="762"/>
                    </a:lnTo>
                    <a:lnTo>
                      <a:pt x="57" y="761"/>
                    </a:lnTo>
                    <a:lnTo>
                      <a:pt x="56" y="758"/>
                    </a:lnTo>
                    <a:lnTo>
                      <a:pt x="45" y="759"/>
                    </a:lnTo>
                    <a:lnTo>
                      <a:pt x="32" y="773"/>
                    </a:lnTo>
                    <a:lnTo>
                      <a:pt x="24" y="779"/>
                    </a:lnTo>
                    <a:lnTo>
                      <a:pt x="18" y="779"/>
                    </a:lnTo>
                    <a:lnTo>
                      <a:pt x="14" y="776"/>
                    </a:lnTo>
                    <a:lnTo>
                      <a:pt x="21" y="765"/>
                    </a:lnTo>
                    <a:lnTo>
                      <a:pt x="14" y="767"/>
                    </a:lnTo>
                    <a:lnTo>
                      <a:pt x="14" y="761"/>
                    </a:lnTo>
                    <a:lnTo>
                      <a:pt x="17" y="756"/>
                    </a:lnTo>
                    <a:lnTo>
                      <a:pt x="12" y="752"/>
                    </a:lnTo>
                    <a:lnTo>
                      <a:pt x="18" y="749"/>
                    </a:lnTo>
                    <a:lnTo>
                      <a:pt x="15" y="743"/>
                    </a:lnTo>
                    <a:lnTo>
                      <a:pt x="9" y="743"/>
                    </a:lnTo>
                    <a:lnTo>
                      <a:pt x="5" y="743"/>
                    </a:lnTo>
                    <a:lnTo>
                      <a:pt x="0" y="735"/>
                    </a:lnTo>
                    <a:lnTo>
                      <a:pt x="3" y="732"/>
                    </a:lnTo>
                    <a:lnTo>
                      <a:pt x="9" y="737"/>
                    </a:lnTo>
                    <a:lnTo>
                      <a:pt x="9" y="728"/>
                    </a:lnTo>
                    <a:lnTo>
                      <a:pt x="14" y="726"/>
                    </a:lnTo>
                    <a:lnTo>
                      <a:pt x="20" y="731"/>
                    </a:lnTo>
                    <a:lnTo>
                      <a:pt x="26" y="735"/>
                    </a:lnTo>
                    <a:lnTo>
                      <a:pt x="33" y="732"/>
                    </a:lnTo>
                    <a:lnTo>
                      <a:pt x="35" y="728"/>
                    </a:lnTo>
                    <a:lnTo>
                      <a:pt x="33" y="722"/>
                    </a:lnTo>
                    <a:lnTo>
                      <a:pt x="42" y="719"/>
                    </a:lnTo>
                    <a:lnTo>
                      <a:pt x="53" y="720"/>
                    </a:lnTo>
                    <a:lnTo>
                      <a:pt x="56" y="717"/>
                    </a:lnTo>
                    <a:lnTo>
                      <a:pt x="60" y="717"/>
                    </a:lnTo>
                    <a:lnTo>
                      <a:pt x="62" y="713"/>
                    </a:lnTo>
                    <a:lnTo>
                      <a:pt x="57" y="707"/>
                    </a:lnTo>
                    <a:lnTo>
                      <a:pt x="56" y="704"/>
                    </a:lnTo>
                    <a:lnTo>
                      <a:pt x="65" y="699"/>
                    </a:lnTo>
                    <a:lnTo>
                      <a:pt x="62" y="695"/>
                    </a:lnTo>
                    <a:lnTo>
                      <a:pt x="53" y="693"/>
                    </a:lnTo>
                    <a:lnTo>
                      <a:pt x="59" y="690"/>
                    </a:lnTo>
                    <a:lnTo>
                      <a:pt x="60" y="687"/>
                    </a:lnTo>
                    <a:lnTo>
                      <a:pt x="57" y="684"/>
                    </a:lnTo>
                    <a:lnTo>
                      <a:pt x="68" y="684"/>
                    </a:lnTo>
                    <a:lnTo>
                      <a:pt x="71" y="681"/>
                    </a:lnTo>
                    <a:lnTo>
                      <a:pt x="72" y="678"/>
                    </a:lnTo>
                    <a:lnTo>
                      <a:pt x="81" y="681"/>
                    </a:lnTo>
                    <a:lnTo>
                      <a:pt x="87" y="683"/>
                    </a:lnTo>
                    <a:lnTo>
                      <a:pt x="90" y="686"/>
                    </a:lnTo>
                    <a:lnTo>
                      <a:pt x="90" y="687"/>
                    </a:lnTo>
                    <a:lnTo>
                      <a:pt x="98" y="686"/>
                    </a:lnTo>
                    <a:lnTo>
                      <a:pt x="104" y="675"/>
                    </a:lnTo>
                    <a:lnTo>
                      <a:pt x="105" y="665"/>
                    </a:lnTo>
                    <a:lnTo>
                      <a:pt x="102" y="662"/>
                    </a:lnTo>
                    <a:lnTo>
                      <a:pt x="98" y="660"/>
                    </a:lnTo>
                    <a:lnTo>
                      <a:pt x="95" y="656"/>
                    </a:lnTo>
                    <a:lnTo>
                      <a:pt x="95" y="653"/>
                    </a:lnTo>
                    <a:lnTo>
                      <a:pt x="102" y="651"/>
                    </a:lnTo>
                    <a:lnTo>
                      <a:pt x="108" y="653"/>
                    </a:lnTo>
                    <a:lnTo>
                      <a:pt x="110" y="653"/>
                    </a:lnTo>
                    <a:lnTo>
                      <a:pt x="110" y="647"/>
                    </a:lnTo>
                    <a:lnTo>
                      <a:pt x="107" y="639"/>
                    </a:lnTo>
                    <a:lnTo>
                      <a:pt x="110" y="635"/>
                    </a:lnTo>
                    <a:lnTo>
                      <a:pt x="114" y="630"/>
                    </a:lnTo>
                    <a:lnTo>
                      <a:pt x="117" y="627"/>
                    </a:lnTo>
                    <a:lnTo>
                      <a:pt x="117" y="618"/>
                    </a:lnTo>
                    <a:lnTo>
                      <a:pt x="111" y="615"/>
                    </a:lnTo>
                    <a:lnTo>
                      <a:pt x="102" y="617"/>
                    </a:lnTo>
                    <a:lnTo>
                      <a:pt x="95" y="617"/>
                    </a:lnTo>
                    <a:lnTo>
                      <a:pt x="93" y="612"/>
                    </a:lnTo>
                    <a:lnTo>
                      <a:pt x="104" y="600"/>
                    </a:lnTo>
                    <a:lnTo>
                      <a:pt x="108" y="594"/>
                    </a:lnTo>
                    <a:lnTo>
                      <a:pt x="108" y="572"/>
                    </a:lnTo>
                    <a:lnTo>
                      <a:pt x="113" y="567"/>
                    </a:lnTo>
                    <a:lnTo>
                      <a:pt x="120" y="569"/>
                    </a:lnTo>
                    <a:lnTo>
                      <a:pt x="122" y="572"/>
                    </a:lnTo>
                    <a:lnTo>
                      <a:pt x="132" y="566"/>
                    </a:lnTo>
                    <a:lnTo>
                      <a:pt x="132" y="560"/>
                    </a:lnTo>
                    <a:lnTo>
                      <a:pt x="140" y="560"/>
                    </a:lnTo>
                    <a:lnTo>
                      <a:pt x="141" y="564"/>
                    </a:lnTo>
                    <a:lnTo>
                      <a:pt x="149" y="561"/>
                    </a:lnTo>
                    <a:lnTo>
                      <a:pt x="150" y="558"/>
                    </a:lnTo>
                    <a:lnTo>
                      <a:pt x="147" y="552"/>
                    </a:lnTo>
                    <a:lnTo>
                      <a:pt x="144" y="549"/>
                    </a:lnTo>
                    <a:lnTo>
                      <a:pt x="144" y="545"/>
                    </a:lnTo>
                    <a:lnTo>
                      <a:pt x="150" y="543"/>
                    </a:lnTo>
                    <a:lnTo>
                      <a:pt x="150" y="539"/>
                    </a:lnTo>
                    <a:lnTo>
                      <a:pt x="153" y="537"/>
                    </a:lnTo>
                    <a:lnTo>
                      <a:pt x="149" y="533"/>
                    </a:lnTo>
                    <a:lnTo>
                      <a:pt x="153" y="527"/>
                    </a:lnTo>
                    <a:lnTo>
                      <a:pt x="149" y="518"/>
                    </a:lnTo>
                    <a:lnTo>
                      <a:pt x="149" y="509"/>
                    </a:lnTo>
                    <a:lnTo>
                      <a:pt x="146" y="509"/>
                    </a:lnTo>
                    <a:lnTo>
                      <a:pt x="143" y="510"/>
                    </a:lnTo>
                    <a:lnTo>
                      <a:pt x="140" y="509"/>
                    </a:lnTo>
                    <a:lnTo>
                      <a:pt x="144" y="503"/>
                    </a:lnTo>
                    <a:lnTo>
                      <a:pt x="144" y="501"/>
                    </a:lnTo>
                    <a:lnTo>
                      <a:pt x="155" y="492"/>
                    </a:lnTo>
                    <a:lnTo>
                      <a:pt x="155" y="501"/>
                    </a:lnTo>
                    <a:lnTo>
                      <a:pt x="158" y="506"/>
                    </a:lnTo>
                    <a:lnTo>
                      <a:pt x="156" y="519"/>
                    </a:lnTo>
                    <a:lnTo>
                      <a:pt x="164" y="515"/>
                    </a:lnTo>
                    <a:lnTo>
                      <a:pt x="165" y="512"/>
                    </a:lnTo>
                    <a:lnTo>
                      <a:pt x="171" y="512"/>
                    </a:lnTo>
                    <a:lnTo>
                      <a:pt x="179" y="507"/>
                    </a:lnTo>
                    <a:lnTo>
                      <a:pt x="183" y="509"/>
                    </a:lnTo>
                    <a:lnTo>
                      <a:pt x="179" y="515"/>
                    </a:lnTo>
                    <a:lnTo>
                      <a:pt x="180" y="521"/>
                    </a:lnTo>
                    <a:lnTo>
                      <a:pt x="186" y="527"/>
                    </a:lnTo>
                    <a:lnTo>
                      <a:pt x="195" y="527"/>
                    </a:lnTo>
                    <a:lnTo>
                      <a:pt x="206" y="521"/>
                    </a:lnTo>
                    <a:lnTo>
                      <a:pt x="210" y="515"/>
                    </a:lnTo>
                    <a:lnTo>
                      <a:pt x="219" y="504"/>
                    </a:lnTo>
                    <a:lnTo>
                      <a:pt x="212" y="494"/>
                    </a:lnTo>
                    <a:lnTo>
                      <a:pt x="218" y="491"/>
                    </a:lnTo>
                    <a:lnTo>
                      <a:pt x="218" y="488"/>
                    </a:lnTo>
                    <a:lnTo>
                      <a:pt x="222" y="488"/>
                    </a:lnTo>
                    <a:lnTo>
                      <a:pt x="222" y="477"/>
                    </a:lnTo>
                    <a:lnTo>
                      <a:pt x="216" y="473"/>
                    </a:lnTo>
                    <a:lnTo>
                      <a:pt x="216" y="471"/>
                    </a:lnTo>
                    <a:lnTo>
                      <a:pt x="225" y="470"/>
                    </a:lnTo>
                    <a:lnTo>
                      <a:pt x="228" y="470"/>
                    </a:lnTo>
                    <a:lnTo>
                      <a:pt x="234" y="468"/>
                    </a:lnTo>
                    <a:lnTo>
                      <a:pt x="236" y="473"/>
                    </a:lnTo>
                    <a:lnTo>
                      <a:pt x="242" y="473"/>
                    </a:lnTo>
                    <a:lnTo>
                      <a:pt x="243" y="470"/>
                    </a:lnTo>
                    <a:lnTo>
                      <a:pt x="246" y="465"/>
                    </a:lnTo>
                    <a:lnTo>
                      <a:pt x="249" y="464"/>
                    </a:lnTo>
                    <a:lnTo>
                      <a:pt x="254" y="461"/>
                    </a:lnTo>
                    <a:lnTo>
                      <a:pt x="257" y="464"/>
                    </a:lnTo>
                    <a:lnTo>
                      <a:pt x="263" y="464"/>
                    </a:lnTo>
                    <a:lnTo>
                      <a:pt x="267" y="465"/>
                    </a:lnTo>
                    <a:lnTo>
                      <a:pt x="270" y="462"/>
                    </a:lnTo>
                    <a:lnTo>
                      <a:pt x="272" y="459"/>
                    </a:lnTo>
                    <a:lnTo>
                      <a:pt x="273" y="452"/>
                    </a:lnTo>
                    <a:lnTo>
                      <a:pt x="278" y="450"/>
                    </a:lnTo>
                    <a:lnTo>
                      <a:pt x="276" y="441"/>
                    </a:lnTo>
                    <a:lnTo>
                      <a:pt x="284" y="441"/>
                    </a:lnTo>
                    <a:lnTo>
                      <a:pt x="297" y="443"/>
                    </a:lnTo>
                    <a:lnTo>
                      <a:pt x="302" y="440"/>
                    </a:lnTo>
                    <a:lnTo>
                      <a:pt x="308" y="431"/>
                    </a:lnTo>
                    <a:lnTo>
                      <a:pt x="309" y="431"/>
                    </a:lnTo>
                    <a:lnTo>
                      <a:pt x="317" y="431"/>
                    </a:lnTo>
                    <a:lnTo>
                      <a:pt x="315" y="423"/>
                    </a:lnTo>
                    <a:lnTo>
                      <a:pt x="321" y="426"/>
                    </a:lnTo>
                    <a:lnTo>
                      <a:pt x="321" y="432"/>
                    </a:lnTo>
                    <a:lnTo>
                      <a:pt x="326" y="435"/>
                    </a:lnTo>
                    <a:lnTo>
                      <a:pt x="336" y="435"/>
                    </a:lnTo>
                    <a:lnTo>
                      <a:pt x="344" y="432"/>
                    </a:lnTo>
                    <a:lnTo>
                      <a:pt x="351" y="428"/>
                    </a:lnTo>
                    <a:lnTo>
                      <a:pt x="357" y="428"/>
                    </a:lnTo>
                    <a:lnTo>
                      <a:pt x="363" y="426"/>
                    </a:lnTo>
                    <a:lnTo>
                      <a:pt x="371" y="428"/>
                    </a:lnTo>
                    <a:lnTo>
                      <a:pt x="371" y="425"/>
                    </a:lnTo>
                    <a:lnTo>
                      <a:pt x="377" y="422"/>
                    </a:lnTo>
                    <a:lnTo>
                      <a:pt x="383" y="423"/>
                    </a:lnTo>
                    <a:lnTo>
                      <a:pt x="392" y="414"/>
                    </a:lnTo>
                    <a:lnTo>
                      <a:pt x="407" y="407"/>
                    </a:lnTo>
                    <a:lnTo>
                      <a:pt x="420" y="401"/>
                    </a:lnTo>
                    <a:lnTo>
                      <a:pt x="420" y="396"/>
                    </a:lnTo>
                    <a:lnTo>
                      <a:pt x="416" y="392"/>
                    </a:lnTo>
                    <a:lnTo>
                      <a:pt x="419" y="389"/>
                    </a:lnTo>
                    <a:lnTo>
                      <a:pt x="416" y="386"/>
                    </a:lnTo>
                    <a:lnTo>
                      <a:pt x="414" y="377"/>
                    </a:lnTo>
                    <a:lnTo>
                      <a:pt x="420" y="375"/>
                    </a:lnTo>
                    <a:lnTo>
                      <a:pt x="416" y="369"/>
                    </a:lnTo>
                    <a:lnTo>
                      <a:pt x="417" y="362"/>
                    </a:lnTo>
                    <a:lnTo>
                      <a:pt x="425" y="368"/>
                    </a:lnTo>
                    <a:lnTo>
                      <a:pt x="431" y="362"/>
                    </a:lnTo>
                    <a:lnTo>
                      <a:pt x="432" y="357"/>
                    </a:lnTo>
                    <a:lnTo>
                      <a:pt x="438" y="354"/>
                    </a:lnTo>
                    <a:lnTo>
                      <a:pt x="438" y="350"/>
                    </a:lnTo>
                    <a:lnTo>
                      <a:pt x="437" y="348"/>
                    </a:lnTo>
                    <a:lnTo>
                      <a:pt x="440" y="341"/>
                    </a:lnTo>
                    <a:lnTo>
                      <a:pt x="447" y="341"/>
                    </a:lnTo>
                    <a:lnTo>
                      <a:pt x="450" y="339"/>
                    </a:lnTo>
                    <a:lnTo>
                      <a:pt x="456" y="332"/>
                    </a:lnTo>
                    <a:lnTo>
                      <a:pt x="459" y="332"/>
                    </a:lnTo>
                    <a:lnTo>
                      <a:pt x="462" y="327"/>
                    </a:lnTo>
                    <a:lnTo>
                      <a:pt x="465" y="332"/>
                    </a:lnTo>
                    <a:lnTo>
                      <a:pt x="467" y="324"/>
                    </a:lnTo>
                    <a:lnTo>
                      <a:pt x="473" y="323"/>
                    </a:lnTo>
                    <a:lnTo>
                      <a:pt x="479" y="327"/>
                    </a:lnTo>
                    <a:lnTo>
                      <a:pt x="482" y="324"/>
                    </a:lnTo>
                    <a:lnTo>
                      <a:pt x="485" y="320"/>
                    </a:lnTo>
                    <a:lnTo>
                      <a:pt x="489" y="323"/>
                    </a:lnTo>
                    <a:lnTo>
                      <a:pt x="491" y="321"/>
                    </a:lnTo>
                    <a:lnTo>
                      <a:pt x="494" y="318"/>
                    </a:lnTo>
                    <a:lnTo>
                      <a:pt x="497" y="318"/>
                    </a:lnTo>
                    <a:lnTo>
                      <a:pt x="506" y="318"/>
                    </a:lnTo>
                    <a:lnTo>
                      <a:pt x="506" y="321"/>
                    </a:lnTo>
                    <a:lnTo>
                      <a:pt x="515" y="326"/>
                    </a:lnTo>
                    <a:lnTo>
                      <a:pt x="528" y="332"/>
                    </a:lnTo>
                    <a:lnTo>
                      <a:pt x="536" y="329"/>
                    </a:lnTo>
                    <a:lnTo>
                      <a:pt x="540" y="323"/>
                    </a:lnTo>
                    <a:lnTo>
                      <a:pt x="548" y="321"/>
                    </a:lnTo>
                    <a:lnTo>
                      <a:pt x="551" y="326"/>
                    </a:lnTo>
                    <a:lnTo>
                      <a:pt x="551" y="329"/>
                    </a:lnTo>
                    <a:lnTo>
                      <a:pt x="557" y="335"/>
                    </a:lnTo>
                    <a:lnTo>
                      <a:pt x="557" y="336"/>
                    </a:lnTo>
                    <a:lnTo>
                      <a:pt x="561" y="338"/>
                    </a:lnTo>
                    <a:lnTo>
                      <a:pt x="564" y="339"/>
                    </a:lnTo>
                    <a:lnTo>
                      <a:pt x="567" y="336"/>
                    </a:lnTo>
                    <a:lnTo>
                      <a:pt x="570" y="339"/>
                    </a:lnTo>
                    <a:lnTo>
                      <a:pt x="576" y="339"/>
                    </a:lnTo>
                    <a:lnTo>
                      <a:pt x="575" y="345"/>
                    </a:lnTo>
                    <a:lnTo>
                      <a:pt x="573" y="356"/>
                    </a:lnTo>
                    <a:lnTo>
                      <a:pt x="578" y="360"/>
                    </a:lnTo>
                    <a:lnTo>
                      <a:pt x="587" y="360"/>
                    </a:lnTo>
                    <a:lnTo>
                      <a:pt x="585" y="365"/>
                    </a:lnTo>
                    <a:lnTo>
                      <a:pt x="591" y="369"/>
                    </a:lnTo>
                    <a:lnTo>
                      <a:pt x="591" y="375"/>
                    </a:lnTo>
                    <a:lnTo>
                      <a:pt x="594" y="375"/>
                    </a:lnTo>
                    <a:lnTo>
                      <a:pt x="594" y="381"/>
                    </a:lnTo>
                    <a:lnTo>
                      <a:pt x="600" y="390"/>
                    </a:lnTo>
                    <a:lnTo>
                      <a:pt x="606" y="390"/>
                    </a:lnTo>
                    <a:lnTo>
                      <a:pt x="612" y="390"/>
                    </a:lnTo>
                    <a:lnTo>
                      <a:pt x="614" y="384"/>
                    </a:lnTo>
                    <a:lnTo>
                      <a:pt x="609" y="383"/>
                    </a:lnTo>
                    <a:lnTo>
                      <a:pt x="618" y="377"/>
                    </a:lnTo>
                    <a:lnTo>
                      <a:pt x="626" y="369"/>
                    </a:lnTo>
                    <a:lnTo>
                      <a:pt x="627" y="365"/>
                    </a:lnTo>
                    <a:lnTo>
                      <a:pt x="627" y="351"/>
                    </a:lnTo>
                    <a:lnTo>
                      <a:pt x="627" y="341"/>
                    </a:lnTo>
                    <a:lnTo>
                      <a:pt x="632" y="339"/>
                    </a:lnTo>
                    <a:lnTo>
                      <a:pt x="636" y="341"/>
                    </a:lnTo>
                    <a:lnTo>
                      <a:pt x="638" y="332"/>
                    </a:lnTo>
                    <a:lnTo>
                      <a:pt x="642" y="329"/>
                    </a:lnTo>
                    <a:lnTo>
                      <a:pt x="647" y="317"/>
                    </a:lnTo>
                    <a:lnTo>
                      <a:pt x="647" y="305"/>
                    </a:lnTo>
                    <a:lnTo>
                      <a:pt x="642" y="291"/>
                    </a:lnTo>
                    <a:lnTo>
                      <a:pt x="641" y="288"/>
                    </a:lnTo>
                    <a:lnTo>
                      <a:pt x="644" y="282"/>
                    </a:lnTo>
                    <a:lnTo>
                      <a:pt x="639" y="276"/>
                    </a:lnTo>
                    <a:lnTo>
                      <a:pt x="642" y="270"/>
                    </a:lnTo>
                    <a:lnTo>
                      <a:pt x="641" y="266"/>
                    </a:lnTo>
                    <a:lnTo>
                      <a:pt x="645" y="257"/>
                    </a:lnTo>
                    <a:lnTo>
                      <a:pt x="642" y="248"/>
                    </a:lnTo>
                    <a:lnTo>
                      <a:pt x="642" y="245"/>
                    </a:lnTo>
                    <a:lnTo>
                      <a:pt x="638" y="239"/>
                    </a:lnTo>
                    <a:lnTo>
                      <a:pt x="633" y="234"/>
                    </a:lnTo>
                    <a:lnTo>
                      <a:pt x="630" y="231"/>
                    </a:lnTo>
                    <a:lnTo>
                      <a:pt x="627" y="219"/>
                    </a:lnTo>
                    <a:lnTo>
                      <a:pt x="620" y="210"/>
                    </a:lnTo>
                    <a:lnTo>
                      <a:pt x="620" y="204"/>
                    </a:lnTo>
                    <a:lnTo>
                      <a:pt x="624" y="200"/>
                    </a:lnTo>
                    <a:lnTo>
                      <a:pt x="626" y="195"/>
                    </a:lnTo>
                    <a:lnTo>
                      <a:pt x="633" y="185"/>
                    </a:lnTo>
                    <a:lnTo>
                      <a:pt x="636" y="176"/>
                    </a:lnTo>
                    <a:lnTo>
                      <a:pt x="638" y="171"/>
                    </a:lnTo>
                    <a:lnTo>
                      <a:pt x="641" y="170"/>
                    </a:lnTo>
                    <a:lnTo>
                      <a:pt x="632" y="159"/>
                    </a:lnTo>
                    <a:lnTo>
                      <a:pt x="633" y="147"/>
                    </a:lnTo>
                    <a:lnTo>
                      <a:pt x="632" y="141"/>
                    </a:lnTo>
                    <a:lnTo>
                      <a:pt x="627" y="140"/>
                    </a:lnTo>
                    <a:lnTo>
                      <a:pt x="630" y="129"/>
                    </a:lnTo>
                    <a:lnTo>
                      <a:pt x="653" y="110"/>
                    </a:lnTo>
                    <a:lnTo>
                      <a:pt x="657" y="101"/>
                    </a:lnTo>
                    <a:lnTo>
                      <a:pt x="650" y="98"/>
                    </a:lnTo>
                    <a:lnTo>
                      <a:pt x="650" y="92"/>
                    </a:lnTo>
                    <a:lnTo>
                      <a:pt x="656" y="84"/>
                    </a:lnTo>
                    <a:lnTo>
                      <a:pt x="656" y="77"/>
                    </a:lnTo>
                    <a:lnTo>
                      <a:pt x="653" y="71"/>
                    </a:lnTo>
                    <a:lnTo>
                      <a:pt x="647" y="69"/>
                    </a:lnTo>
                    <a:lnTo>
                      <a:pt x="647" y="62"/>
                    </a:lnTo>
                    <a:lnTo>
                      <a:pt x="653" y="59"/>
                    </a:lnTo>
                    <a:lnTo>
                      <a:pt x="645" y="57"/>
                    </a:lnTo>
                    <a:lnTo>
                      <a:pt x="650" y="54"/>
                    </a:lnTo>
                    <a:lnTo>
                      <a:pt x="650" y="44"/>
                    </a:lnTo>
                    <a:lnTo>
                      <a:pt x="644" y="38"/>
                    </a:lnTo>
                    <a:lnTo>
                      <a:pt x="645" y="32"/>
                    </a:lnTo>
                    <a:lnTo>
                      <a:pt x="644" y="29"/>
                    </a:lnTo>
                    <a:lnTo>
                      <a:pt x="644" y="21"/>
                    </a:lnTo>
                    <a:lnTo>
                      <a:pt x="647" y="14"/>
                    </a:lnTo>
                    <a:lnTo>
                      <a:pt x="653" y="14"/>
                    </a:lnTo>
                    <a:lnTo>
                      <a:pt x="657" y="6"/>
                    </a:lnTo>
                    <a:lnTo>
                      <a:pt x="660" y="6"/>
                    </a:lnTo>
                    <a:lnTo>
                      <a:pt x="659" y="9"/>
                    </a:lnTo>
                    <a:lnTo>
                      <a:pt x="671" y="9"/>
                    </a:lnTo>
                    <a:lnTo>
                      <a:pt x="675" y="3"/>
                    </a:lnTo>
                    <a:lnTo>
                      <a:pt x="678" y="3"/>
                    </a:lnTo>
                    <a:lnTo>
                      <a:pt x="681" y="8"/>
                    </a:lnTo>
                    <a:lnTo>
                      <a:pt x="689" y="8"/>
                    </a:lnTo>
                    <a:lnTo>
                      <a:pt x="690" y="5"/>
                    </a:lnTo>
                    <a:lnTo>
                      <a:pt x="695" y="8"/>
                    </a:lnTo>
                    <a:lnTo>
                      <a:pt x="702" y="8"/>
                    </a:lnTo>
                    <a:lnTo>
                      <a:pt x="705" y="0"/>
                    </a:lnTo>
                    <a:lnTo>
                      <a:pt x="710" y="2"/>
                    </a:lnTo>
                    <a:lnTo>
                      <a:pt x="710" y="3"/>
                    </a:lnTo>
                    <a:lnTo>
                      <a:pt x="714" y="5"/>
                    </a:lnTo>
                    <a:lnTo>
                      <a:pt x="716" y="12"/>
                    </a:lnTo>
                    <a:lnTo>
                      <a:pt x="719" y="14"/>
                    </a:lnTo>
                    <a:lnTo>
                      <a:pt x="725" y="14"/>
                    </a:lnTo>
                    <a:lnTo>
                      <a:pt x="728" y="23"/>
                    </a:lnTo>
                    <a:lnTo>
                      <a:pt x="732" y="27"/>
                    </a:lnTo>
                    <a:lnTo>
                      <a:pt x="741" y="29"/>
                    </a:lnTo>
                    <a:lnTo>
                      <a:pt x="740" y="33"/>
                    </a:lnTo>
                    <a:lnTo>
                      <a:pt x="738" y="41"/>
                    </a:lnTo>
                    <a:lnTo>
                      <a:pt x="734" y="42"/>
                    </a:lnTo>
                    <a:lnTo>
                      <a:pt x="732" y="50"/>
                    </a:lnTo>
                    <a:lnTo>
                      <a:pt x="735" y="54"/>
                    </a:lnTo>
                    <a:lnTo>
                      <a:pt x="731" y="56"/>
                    </a:lnTo>
                    <a:lnTo>
                      <a:pt x="732" y="65"/>
                    </a:lnTo>
                    <a:lnTo>
                      <a:pt x="738" y="78"/>
                    </a:lnTo>
                    <a:lnTo>
                      <a:pt x="744" y="89"/>
                    </a:lnTo>
                    <a:lnTo>
                      <a:pt x="741" y="92"/>
                    </a:lnTo>
                    <a:lnTo>
                      <a:pt x="743" y="96"/>
                    </a:lnTo>
                    <a:lnTo>
                      <a:pt x="741" y="101"/>
                    </a:lnTo>
                    <a:lnTo>
                      <a:pt x="746" y="104"/>
                    </a:lnTo>
                    <a:lnTo>
                      <a:pt x="746" y="120"/>
                    </a:lnTo>
                    <a:lnTo>
                      <a:pt x="743" y="125"/>
                    </a:lnTo>
                    <a:lnTo>
                      <a:pt x="747" y="129"/>
                    </a:lnTo>
                    <a:lnTo>
                      <a:pt x="746" y="137"/>
                    </a:lnTo>
                    <a:lnTo>
                      <a:pt x="749" y="146"/>
                    </a:lnTo>
                    <a:lnTo>
                      <a:pt x="750" y="152"/>
                    </a:lnTo>
                    <a:lnTo>
                      <a:pt x="750" y="158"/>
                    </a:lnTo>
                    <a:lnTo>
                      <a:pt x="746" y="159"/>
                    </a:lnTo>
                    <a:lnTo>
                      <a:pt x="747" y="164"/>
                    </a:lnTo>
                    <a:lnTo>
                      <a:pt x="750" y="164"/>
                    </a:lnTo>
                    <a:lnTo>
                      <a:pt x="752" y="176"/>
                    </a:lnTo>
                    <a:lnTo>
                      <a:pt x="753" y="182"/>
                    </a:lnTo>
                    <a:lnTo>
                      <a:pt x="756" y="188"/>
                    </a:lnTo>
                    <a:lnTo>
                      <a:pt x="753" y="192"/>
                    </a:lnTo>
                    <a:lnTo>
                      <a:pt x="753" y="198"/>
                    </a:lnTo>
                    <a:lnTo>
                      <a:pt x="752" y="204"/>
                    </a:lnTo>
                    <a:lnTo>
                      <a:pt x="753" y="207"/>
                    </a:lnTo>
                    <a:lnTo>
                      <a:pt x="756" y="209"/>
                    </a:lnTo>
                    <a:lnTo>
                      <a:pt x="755" y="216"/>
                    </a:lnTo>
                    <a:lnTo>
                      <a:pt x="759" y="230"/>
                    </a:lnTo>
                    <a:lnTo>
                      <a:pt x="761" y="237"/>
                    </a:lnTo>
                    <a:lnTo>
                      <a:pt x="762" y="237"/>
                    </a:lnTo>
                    <a:lnTo>
                      <a:pt x="761" y="251"/>
                    </a:lnTo>
                    <a:lnTo>
                      <a:pt x="758" y="260"/>
                    </a:lnTo>
                    <a:lnTo>
                      <a:pt x="753" y="267"/>
                    </a:lnTo>
                    <a:lnTo>
                      <a:pt x="750" y="273"/>
                    </a:lnTo>
                    <a:lnTo>
                      <a:pt x="750" y="278"/>
                    </a:lnTo>
                    <a:lnTo>
                      <a:pt x="746" y="281"/>
                    </a:lnTo>
                    <a:lnTo>
                      <a:pt x="741" y="296"/>
                    </a:lnTo>
                    <a:lnTo>
                      <a:pt x="741" y="299"/>
                    </a:lnTo>
                    <a:lnTo>
                      <a:pt x="743" y="299"/>
                    </a:lnTo>
                    <a:lnTo>
                      <a:pt x="744" y="302"/>
                    </a:lnTo>
                    <a:lnTo>
                      <a:pt x="741" y="306"/>
                    </a:lnTo>
                    <a:lnTo>
                      <a:pt x="740" y="312"/>
                    </a:lnTo>
                    <a:lnTo>
                      <a:pt x="738" y="327"/>
                    </a:lnTo>
                    <a:lnTo>
                      <a:pt x="738" y="330"/>
                    </a:lnTo>
                    <a:lnTo>
                      <a:pt x="732" y="341"/>
                    </a:lnTo>
                    <a:lnTo>
                      <a:pt x="734" y="345"/>
                    </a:lnTo>
                    <a:lnTo>
                      <a:pt x="734" y="354"/>
                    </a:lnTo>
                    <a:lnTo>
                      <a:pt x="734" y="359"/>
                    </a:lnTo>
                    <a:lnTo>
                      <a:pt x="732" y="360"/>
                    </a:lnTo>
                    <a:lnTo>
                      <a:pt x="732" y="369"/>
                    </a:lnTo>
                    <a:lnTo>
                      <a:pt x="731" y="372"/>
                    </a:lnTo>
                    <a:lnTo>
                      <a:pt x="728" y="374"/>
                    </a:lnTo>
                    <a:lnTo>
                      <a:pt x="728" y="384"/>
                    </a:lnTo>
                    <a:lnTo>
                      <a:pt x="729" y="405"/>
                    </a:lnTo>
                    <a:lnTo>
                      <a:pt x="732" y="416"/>
                    </a:lnTo>
                    <a:lnTo>
                      <a:pt x="740" y="428"/>
                    </a:lnTo>
                    <a:lnTo>
                      <a:pt x="740" y="432"/>
                    </a:lnTo>
                    <a:lnTo>
                      <a:pt x="750" y="446"/>
                    </a:lnTo>
                    <a:lnTo>
                      <a:pt x="758" y="461"/>
                    </a:lnTo>
                    <a:lnTo>
                      <a:pt x="765" y="471"/>
                    </a:lnTo>
                    <a:lnTo>
                      <a:pt x="777" y="486"/>
                    </a:lnTo>
                    <a:lnTo>
                      <a:pt x="786" y="501"/>
                    </a:lnTo>
                    <a:lnTo>
                      <a:pt x="792" y="518"/>
                    </a:lnTo>
                    <a:lnTo>
                      <a:pt x="794" y="531"/>
                    </a:lnTo>
                    <a:lnTo>
                      <a:pt x="798" y="548"/>
                    </a:lnTo>
                    <a:lnTo>
                      <a:pt x="797" y="567"/>
                    </a:lnTo>
                    <a:lnTo>
                      <a:pt x="797" y="578"/>
                    </a:lnTo>
                    <a:lnTo>
                      <a:pt x="794" y="587"/>
                    </a:lnTo>
                    <a:lnTo>
                      <a:pt x="794" y="597"/>
                    </a:lnTo>
                    <a:lnTo>
                      <a:pt x="794" y="606"/>
                    </a:lnTo>
                    <a:lnTo>
                      <a:pt x="794" y="611"/>
                    </a:lnTo>
                    <a:lnTo>
                      <a:pt x="797" y="627"/>
                    </a:lnTo>
                    <a:lnTo>
                      <a:pt x="798" y="627"/>
                    </a:lnTo>
                    <a:lnTo>
                      <a:pt x="801" y="639"/>
                    </a:lnTo>
                    <a:lnTo>
                      <a:pt x="803" y="650"/>
                    </a:lnTo>
                    <a:lnTo>
                      <a:pt x="803" y="660"/>
                    </a:lnTo>
                    <a:lnTo>
                      <a:pt x="803" y="668"/>
                    </a:lnTo>
                    <a:lnTo>
                      <a:pt x="804" y="677"/>
                    </a:lnTo>
                    <a:lnTo>
                      <a:pt x="804" y="680"/>
                    </a:lnTo>
                    <a:lnTo>
                      <a:pt x="804" y="687"/>
                    </a:lnTo>
                    <a:lnTo>
                      <a:pt x="803" y="693"/>
                    </a:lnTo>
                    <a:lnTo>
                      <a:pt x="803" y="695"/>
                    </a:lnTo>
                    <a:lnTo>
                      <a:pt x="801" y="701"/>
                    </a:lnTo>
                    <a:lnTo>
                      <a:pt x="800" y="707"/>
                    </a:lnTo>
                    <a:lnTo>
                      <a:pt x="798" y="716"/>
                    </a:lnTo>
                    <a:lnTo>
                      <a:pt x="797" y="719"/>
                    </a:lnTo>
                    <a:lnTo>
                      <a:pt x="797" y="728"/>
                    </a:lnTo>
                    <a:lnTo>
                      <a:pt x="797" y="735"/>
                    </a:lnTo>
                    <a:lnTo>
                      <a:pt x="795" y="749"/>
                    </a:lnTo>
                    <a:lnTo>
                      <a:pt x="797" y="756"/>
                    </a:lnTo>
                    <a:lnTo>
                      <a:pt x="800" y="776"/>
                    </a:lnTo>
                    <a:lnTo>
                      <a:pt x="801" y="783"/>
                    </a:lnTo>
                    <a:lnTo>
                      <a:pt x="801" y="788"/>
                    </a:lnTo>
                    <a:lnTo>
                      <a:pt x="801" y="791"/>
                    </a:lnTo>
                    <a:lnTo>
                      <a:pt x="804" y="795"/>
                    </a:lnTo>
                    <a:lnTo>
                      <a:pt x="807" y="806"/>
                    </a:lnTo>
                    <a:lnTo>
                      <a:pt x="810" y="812"/>
                    </a:lnTo>
                    <a:lnTo>
                      <a:pt x="810" y="822"/>
                    </a:lnTo>
                    <a:lnTo>
                      <a:pt x="812" y="825"/>
                    </a:lnTo>
                    <a:lnTo>
                      <a:pt x="812" y="833"/>
                    </a:lnTo>
                    <a:lnTo>
                      <a:pt x="813" y="839"/>
                    </a:lnTo>
                    <a:lnTo>
                      <a:pt x="815" y="843"/>
                    </a:lnTo>
                    <a:lnTo>
                      <a:pt x="813" y="854"/>
                    </a:lnTo>
                    <a:lnTo>
                      <a:pt x="812" y="863"/>
                    </a:lnTo>
                    <a:lnTo>
                      <a:pt x="812" y="867"/>
                    </a:lnTo>
                    <a:lnTo>
                      <a:pt x="810" y="879"/>
                    </a:lnTo>
                    <a:lnTo>
                      <a:pt x="809" y="887"/>
                    </a:lnTo>
                    <a:lnTo>
                      <a:pt x="809" y="891"/>
                    </a:lnTo>
                    <a:lnTo>
                      <a:pt x="806" y="905"/>
                    </a:lnTo>
                    <a:lnTo>
                      <a:pt x="809" y="921"/>
                    </a:lnTo>
                    <a:lnTo>
                      <a:pt x="812" y="945"/>
                    </a:lnTo>
                    <a:lnTo>
                      <a:pt x="812" y="954"/>
                    </a:lnTo>
                    <a:lnTo>
                      <a:pt x="807" y="990"/>
                    </a:lnTo>
                    <a:lnTo>
                      <a:pt x="809" y="1004"/>
                    </a:lnTo>
                    <a:lnTo>
                      <a:pt x="810" y="1017"/>
                    </a:lnTo>
                    <a:lnTo>
                      <a:pt x="807" y="1028"/>
                    </a:lnTo>
                    <a:lnTo>
                      <a:pt x="807" y="1040"/>
                    </a:lnTo>
                    <a:lnTo>
                      <a:pt x="804" y="1052"/>
                    </a:lnTo>
                    <a:lnTo>
                      <a:pt x="795" y="1065"/>
                    </a:lnTo>
                    <a:lnTo>
                      <a:pt x="783" y="1080"/>
                    </a:lnTo>
                    <a:lnTo>
                      <a:pt x="774" y="1095"/>
                    </a:lnTo>
                    <a:lnTo>
                      <a:pt x="768" y="1107"/>
                    </a:lnTo>
                    <a:lnTo>
                      <a:pt x="764" y="1115"/>
                    </a:lnTo>
                    <a:lnTo>
                      <a:pt x="756" y="1130"/>
                    </a:lnTo>
                    <a:lnTo>
                      <a:pt x="746" y="1148"/>
                    </a:lnTo>
                    <a:lnTo>
                      <a:pt x="732" y="1169"/>
                    </a:lnTo>
                    <a:lnTo>
                      <a:pt x="722" y="1184"/>
                    </a:lnTo>
                    <a:lnTo>
                      <a:pt x="714" y="1193"/>
                    </a:lnTo>
                    <a:lnTo>
                      <a:pt x="710" y="1200"/>
                    </a:lnTo>
                    <a:lnTo>
                      <a:pt x="704" y="1214"/>
                    </a:lnTo>
                    <a:lnTo>
                      <a:pt x="698" y="1226"/>
                    </a:lnTo>
                    <a:lnTo>
                      <a:pt x="699" y="1247"/>
                    </a:lnTo>
                    <a:lnTo>
                      <a:pt x="698" y="1266"/>
                    </a:lnTo>
                    <a:lnTo>
                      <a:pt x="695" y="1278"/>
                    </a:lnTo>
                    <a:lnTo>
                      <a:pt x="690" y="1290"/>
                    </a:lnTo>
                    <a:lnTo>
                      <a:pt x="687" y="1299"/>
                    </a:lnTo>
                    <a:lnTo>
                      <a:pt x="684" y="1314"/>
                    </a:lnTo>
                    <a:lnTo>
                      <a:pt x="686" y="1329"/>
                    </a:lnTo>
                    <a:lnTo>
                      <a:pt x="687" y="1337"/>
                    </a:lnTo>
                    <a:lnTo>
                      <a:pt x="689" y="1358"/>
                    </a:lnTo>
                    <a:lnTo>
                      <a:pt x="690" y="1376"/>
                    </a:lnTo>
                    <a:lnTo>
                      <a:pt x="690" y="1383"/>
                    </a:lnTo>
                    <a:lnTo>
                      <a:pt x="686" y="1397"/>
                    </a:lnTo>
                    <a:lnTo>
                      <a:pt x="684" y="1407"/>
                    </a:lnTo>
                    <a:lnTo>
                      <a:pt x="687" y="1422"/>
                    </a:lnTo>
                    <a:lnTo>
                      <a:pt x="686" y="1431"/>
                    </a:lnTo>
                    <a:lnTo>
                      <a:pt x="692" y="1436"/>
                    </a:lnTo>
                    <a:lnTo>
                      <a:pt x="693" y="1449"/>
                    </a:lnTo>
                    <a:lnTo>
                      <a:pt x="692" y="1467"/>
                    </a:lnTo>
                    <a:lnTo>
                      <a:pt x="692" y="1482"/>
                    </a:lnTo>
                    <a:lnTo>
                      <a:pt x="692" y="1487"/>
                    </a:lnTo>
                    <a:lnTo>
                      <a:pt x="693" y="1493"/>
                    </a:lnTo>
                    <a:close/>
                  </a:path>
                </a:pathLst>
              </a:custGeom>
              <a:no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8" name="Freeform 314">
                <a:extLst>
                  <a:ext uri="{FF2B5EF4-FFF2-40B4-BE49-F238E27FC236}">
                    <a16:creationId xmlns:a16="http://schemas.microsoft.com/office/drawing/2014/main" id="{4C82177B-C5C9-B1E2-C2A0-47197EAC2CEB}"/>
                  </a:ext>
                </a:extLst>
              </p:cNvPr>
              <p:cNvSpPr>
                <a:spLocks/>
              </p:cNvSpPr>
              <p:nvPr/>
            </p:nvSpPr>
            <p:spPr bwMode="auto">
              <a:xfrm>
                <a:off x="3796" y="2187"/>
                <a:ext cx="444" cy="590"/>
              </a:xfrm>
              <a:custGeom>
                <a:avLst/>
                <a:gdLst>
                  <a:gd name="T0" fmla="*/ 0 w 1329"/>
                  <a:gd name="T1" fmla="*/ 0 h 1769"/>
                  <a:gd name="T2" fmla="*/ 0 w 1329"/>
                  <a:gd name="T3" fmla="*/ 0 h 1769"/>
                  <a:gd name="T4" fmla="*/ 0 w 1329"/>
                  <a:gd name="T5" fmla="*/ 0 h 1769"/>
                  <a:gd name="T6" fmla="*/ 0 w 1329"/>
                  <a:gd name="T7" fmla="*/ 0 h 1769"/>
                  <a:gd name="T8" fmla="*/ 0 w 1329"/>
                  <a:gd name="T9" fmla="*/ 0 h 1769"/>
                  <a:gd name="T10" fmla="*/ 0 w 1329"/>
                  <a:gd name="T11" fmla="*/ 0 h 1769"/>
                  <a:gd name="T12" fmla="*/ 0 w 1329"/>
                  <a:gd name="T13" fmla="*/ 0 h 1769"/>
                  <a:gd name="T14" fmla="*/ 0 w 1329"/>
                  <a:gd name="T15" fmla="*/ 0 h 1769"/>
                  <a:gd name="T16" fmla="*/ 0 w 1329"/>
                  <a:gd name="T17" fmla="*/ 0 h 1769"/>
                  <a:gd name="T18" fmla="*/ 0 w 1329"/>
                  <a:gd name="T19" fmla="*/ 0 h 1769"/>
                  <a:gd name="T20" fmla="*/ 0 w 1329"/>
                  <a:gd name="T21" fmla="*/ 0 h 1769"/>
                  <a:gd name="T22" fmla="*/ 0 w 1329"/>
                  <a:gd name="T23" fmla="*/ 0 h 1769"/>
                  <a:gd name="T24" fmla="*/ 0 w 1329"/>
                  <a:gd name="T25" fmla="*/ 0 h 1769"/>
                  <a:gd name="T26" fmla="*/ 0 w 1329"/>
                  <a:gd name="T27" fmla="*/ 0 h 1769"/>
                  <a:gd name="T28" fmla="*/ 0 w 1329"/>
                  <a:gd name="T29" fmla="*/ 0 h 1769"/>
                  <a:gd name="T30" fmla="*/ 0 w 1329"/>
                  <a:gd name="T31" fmla="*/ 0 h 1769"/>
                  <a:gd name="T32" fmla="*/ 0 w 1329"/>
                  <a:gd name="T33" fmla="*/ 0 h 1769"/>
                  <a:gd name="T34" fmla="*/ 0 w 1329"/>
                  <a:gd name="T35" fmla="*/ 0 h 1769"/>
                  <a:gd name="T36" fmla="*/ 0 w 1329"/>
                  <a:gd name="T37" fmla="*/ 0 h 1769"/>
                  <a:gd name="T38" fmla="*/ 0 w 1329"/>
                  <a:gd name="T39" fmla="*/ 0 h 1769"/>
                  <a:gd name="T40" fmla="*/ 0 w 1329"/>
                  <a:gd name="T41" fmla="*/ 0 h 1769"/>
                  <a:gd name="T42" fmla="*/ 0 w 1329"/>
                  <a:gd name="T43" fmla="*/ 0 h 1769"/>
                  <a:gd name="T44" fmla="*/ 0 w 1329"/>
                  <a:gd name="T45" fmla="*/ 0 h 1769"/>
                  <a:gd name="T46" fmla="*/ 0 w 1329"/>
                  <a:gd name="T47" fmla="*/ 0 h 1769"/>
                  <a:gd name="T48" fmla="*/ 0 w 1329"/>
                  <a:gd name="T49" fmla="*/ 0 h 1769"/>
                  <a:gd name="T50" fmla="*/ 0 w 1329"/>
                  <a:gd name="T51" fmla="*/ 0 h 1769"/>
                  <a:gd name="T52" fmla="*/ 0 w 1329"/>
                  <a:gd name="T53" fmla="*/ 0 h 1769"/>
                  <a:gd name="T54" fmla="*/ 0 w 1329"/>
                  <a:gd name="T55" fmla="*/ 0 h 1769"/>
                  <a:gd name="T56" fmla="*/ 0 w 1329"/>
                  <a:gd name="T57" fmla="*/ 0 h 1769"/>
                  <a:gd name="T58" fmla="*/ 0 w 1329"/>
                  <a:gd name="T59" fmla="*/ 0 h 1769"/>
                  <a:gd name="T60" fmla="*/ 0 w 1329"/>
                  <a:gd name="T61" fmla="*/ 0 h 1769"/>
                  <a:gd name="T62" fmla="*/ 0 w 1329"/>
                  <a:gd name="T63" fmla="*/ 0 h 1769"/>
                  <a:gd name="T64" fmla="*/ 0 w 1329"/>
                  <a:gd name="T65" fmla="*/ 0 h 1769"/>
                  <a:gd name="T66" fmla="*/ 0 w 1329"/>
                  <a:gd name="T67" fmla="*/ 0 h 1769"/>
                  <a:gd name="T68" fmla="*/ 0 w 1329"/>
                  <a:gd name="T69" fmla="*/ 0 h 1769"/>
                  <a:gd name="T70" fmla="*/ 0 w 1329"/>
                  <a:gd name="T71" fmla="*/ 0 h 1769"/>
                  <a:gd name="T72" fmla="*/ 0 w 1329"/>
                  <a:gd name="T73" fmla="*/ 0 h 1769"/>
                  <a:gd name="T74" fmla="*/ 0 w 1329"/>
                  <a:gd name="T75" fmla="*/ 0 h 1769"/>
                  <a:gd name="T76" fmla="*/ 0 w 1329"/>
                  <a:gd name="T77" fmla="*/ 0 h 1769"/>
                  <a:gd name="T78" fmla="*/ 0 w 1329"/>
                  <a:gd name="T79" fmla="*/ 0 h 1769"/>
                  <a:gd name="T80" fmla="*/ 0 w 1329"/>
                  <a:gd name="T81" fmla="*/ 0 h 1769"/>
                  <a:gd name="T82" fmla="*/ 0 w 1329"/>
                  <a:gd name="T83" fmla="*/ 0 h 1769"/>
                  <a:gd name="T84" fmla="*/ 0 w 1329"/>
                  <a:gd name="T85" fmla="*/ 0 h 1769"/>
                  <a:gd name="T86" fmla="*/ 0 w 1329"/>
                  <a:gd name="T87" fmla="*/ 0 h 1769"/>
                  <a:gd name="T88" fmla="*/ 0 w 1329"/>
                  <a:gd name="T89" fmla="*/ 0 h 1769"/>
                  <a:gd name="T90" fmla="*/ 0 w 1329"/>
                  <a:gd name="T91" fmla="*/ 0 h 1769"/>
                  <a:gd name="T92" fmla="*/ 0 w 1329"/>
                  <a:gd name="T93" fmla="*/ 0 h 1769"/>
                  <a:gd name="T94" fmla="*/ 0 w 1329"/>
                  <a:gd name="T95" fmla="*/ 0 h 1769"/>
                  <a:gd name="T96" fmla="*/ 0 w 1329"/>
                  <a:gd name="T97" fmla="*/ 0 h 1769"/>
                  <a:gd name="T98" fmla="*/ 0 w 1329"/>
                  <a:gd name="T99" fmla="*/ 0 h 1769"/>
                  <a:gd name="T100" fmla="*/ 0 w 1329"/>
                  <a:gd name="T101" fmla="*/ 0 h 1769"/>
                  <a:gd name="T102" fmla="*/ 0 w 1329"/>
                  <a:gd name="T103" fmla="*/ 0 h 1769"/>
                  <a:gd name="T104" fmla="*/ 0 w 1329"/>
                  <a:gd name="T105" fmla="*/ 0 h 1769"/>
                  <a:gd name="T106" fmla="*/ 0 w 1329"/>
                  <a:gd name="T107" fmla="*/ 0 h 1769"/>
                  <a:gd name="T108" fmla="*/ 0 w 1329"/>
                  <a:gd name="T109" fmla="*/ 0 h 1769"/>
                  <a:gd name="T110" fmla="*/ 0 w 1329"/>
                  <a:gd name="T111" fmla="*/ 0 h 1769"/>
                  <a:gd name="T112" fmla="*/ 0 w 1329"/>
                  <a:gd name="T113" fmla="*/ 0 h 1769"/>
                  <a:gd name="T114" fmla="*/ 0 w 1329"/>
                  <a:gd name="T115" fmla="*/ 0 h 1769"/>
                  <a:gd name="T116" fmla="*/ 0 w 1329"/>
                  <a:gd name="T117" fmla="*/ 0 h 17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329" h="1769">
                    <a:moveTo>
                      <a:pt x="694" y="1677"/>
                    </a:moveTo>
                    <a:lnTo>
                      <a:pt x="685" y="1682"/>
                    </a:lnTo>
                    <a:lnTo>
                      <a:pt x="681" y="1709"/>
                    </a:lnTo>
                    <a:lnTo>
                      <a:pt x="673" y="1718"/>
                    </a:lnTo>
                    <a:lnTo>
                      <a:pt x="663" y="1736"/>
                    </a:lnTo>
                    <a:lnTo>
                      <a:pt x="667" y="1745"/>
                    </a:lnTo>
                    <a:lnTo>
                      <a:pt x="651" y="1752"/>
                    </a:lnTo>
                    <a:lnTo>
                      <a:pt x="646" y="1757"/>
                    </a:lnTo>
                    <a:lnTo>
                      <a:pt x="646" y="1767"/>
                    </a:lnTo>
                    <a:lnTo>
                      <a:pt x="628" y="1760"/>
                    </a:lnTo>
                    <a:lnTo>
                      <a:pt x="624" y="1769"/>
                    </a:lnTo>
                    <a:lnTo>
                      <a:pt x="600" y="1763"/>
                    </a:lnTo>
                    <a:lnTo>
                      <a:pt x="597" y="1757"/>
                    </a:lnTo>
                    <a:lnTo>
                      <a:pt x="597" y="1752"/>
                    </a:lnTo>
                    <a:lnTo>
                      <a:pt x="598" y="1742"/>
                    </a:lnTo>
                    <a:lnTo>
                      <a:pt x="597" y="1731"/>
                    </a:lnTo>
                    <a:lnTo>
                      <a:pt x="588" y="1734"/>
                    </a:lnTo>
                    <a:lnTo>
                      <a:pt x="580" y="1737"/>
                    </a:lnTo>
                    <a:lnTo>
                      <a:pt x="573" y="1746"/>
                    </a:lnTo>
                    <a:lnTo>
                      <a:pt x="570" y="1749"/>
                    </a:lnTo>
                    <a:lnTo>
                      <a:pt x="565" y="1748"/>
                    </a:lnTo>
                    <a:lnTo>
                      <a:pt x="565" y="1731"/>
                    </a:lnTo>
                    <a:lnTo>
                      <a:pt x="559" y="1722"/>
                    </a:lnTo>
                    <a:lnTo>
                      <a:pt x="550" y="1713"/>
                    </a:lnTo>
                    <a:lnTo>
                      <a:pt x="538" y="1707"/>
                    </a:lnTo>
                    <a:lnTo>
                      <a:pt x="534" y="1703"/>
                    </a:lnTo>
                    <a:lnTo>
                      <a:pt x="532" y="1691"/>
                    </a:lnTo>
                    <a:lnTo>
                      <a:pt x="526" y="1682"/>
                    </a:lnTo>
                    <a:lnTo>
                      <a:pt x="513" y="1676"/>
                    </a:lnTo>
                    <a:lnTo>
                      <a:pt x="495" y="1668"/>
                    </a:lnTo>
                    <a:lnTo>
                      <a:pt x="489" y="1668"/>
                    </a:lnTo>
                    <a:lnTo>
                      <a:pt x="474" y="1674"/>
                    </a:lnTo>
                    <a:lnTo>
                      <a:pt x="466" y="1673"/>
                    </a:lnTo>
                    <a:lnTo>
                      <a:pt x="462" y="1667"/>
                    </a:lnTo>
                    <a:lnTo>
                      <a:pt x="469" y="1653"/>
                    </a:lnTo>
                    <a:lnTo>
                      <a:pt x="468" y="1646"/>
                    </a:lnTo>
                    <a:lnTo>
                      <a:pt x="463" y="1625"/>
                    </a:lnTo>
                    <a:lnTo>
                      <a:pt x="448" y="1617"/>
                    </a:lnTo>
                    <a:lnTo>
                      <a:pt x="432" y="1614"/>
                    </a:lnTo>
                    <a:lnTo>
                      <a:pt x="415" y="1617"/>
                    </a:lnTo>
                    <a:lnTo>
                      <a:pt x="408" y="1617"/>
                    </a:lnTo>
                    <a:lnTo>
                      <a:pt x="402" y="1640"/>
                    </a:lnTo>
                    <a:lnTo>
                      <a:pt x="399" y="1652"/>
                    </a:lnTo>
                    <a:lnTo>
                      <a:pt x="403" y="1668"/>
                    </a:lnTo>
                    <a:lnTo>
                      <a:pt x="394" y="1677"/>
                    </a:lnTo>
                    <a:lnTo>
                      <a:pt x="390" y="1674"/>
                    </a:lnTo>
                    <a:lnTo>
                      <a:pt x="387" y="1668"/>
                    </a:lnTo>
                    <a:lnTo>
                      <a:pt x="382" y="1667"/>
                    </a:lnTo>
                    <a:lnTo>
                      <a:pt x="376" y="1670"/>
                    </a:lnTo>
                    <a:lnTo>
                      <a:pt x="372" y="1677"/>
                    </a:lnTo>
                    <a:lnTo>
                      <a:pt x="366" y="1676"/>
                    </a:lnTo>
                    <a:lnTo>
                      <a:pt x="343" y="1673"/>
                    </a:lnTo>
                    <a:lnTo>
                      <a:pt x="331" y="1676"/>
                    </a:lnTo>
                    <a:lnTo>
                      <a:pt x="325" y="1683"/>
                    </a:lnTo>
                    <a:lnTo>
                      <a:pt x="318" y="1694"/>
                    </a:lnTo>
                    <a:lnTo>
                      <a:pt x="313" y="1695"/>
                    </a:lnTo>
                    <a:lnTo>
                      <a:pt x="307" y="1691"/>
                    </a:lnTo>
                    <a:lnTo>
                      <a:pt x="304" y="1685"/>
                    </a:lnTo>
                    <a:lnTo>
                      <a:pt x="292" y="1674"/>
                    </a:lnTo>
                    <a:lnTo>
                      <a:pt x="291" y="1665"/>
                    </a:lnTo>
                    <a:lnTo>
                      <a:pt x="280" y="1644"/>
                    </a:lnTo>
                    <a:lnTo>
                      <a:pt x="280" y="1631"/>
                    </a:lnTo>
                    <a:lnTo>
                      <a:pt x="277" y="1617"/>
                    </a:lnTo>
                    <a:lnTo>
                      <a:pt x="264" y="1586"/>
                    </a:lnTo>
                    <a:lnTo>
                      <a:pt x="264" y="1565"/>
                    </a:lnTo>
                    <a:lnTo>
                      <a:pt x="262" y="1541"/>
                    </a:lnTo>
                    <a:lnTo>
                      <a:pt x="262" y="1535"/>
                    </a:lnTo>
                    <a:lnTo>
                      <a:pt x="244" y="1527"/>
                    </a:lnTo>
                    <a:lnTo>
                      <a:pt x="240" y="1530"/>
                    </a:lnTo>
                    <a:lnTo>
                      <a:pt x="234" y="1530"/>
                    </a:lnTo>
                    <a:lnTo>
                      <a:pt x="232" y="1520"/>
                    </a:lnTo>
                    <a:lnTo>
                      <a:pt x="228" y="1515"/>
                    </a:lnTo>
                    <a:lnTo>
                      <a:pt x="222" y="1515"/>
                    </a:lnTo>
                    <a:lnTo>
                      <a:pt x="213" y="1511"/>
                    </a:lnTo>
                    <a:lnTo>
                      <a:pt x="207" y="1509"/>
                    </a:lnTo>
                    <a:lnTo>
                      <a:pt x="205" y="1493"/>
                    </a:lnTo>
                    <a:lnTo>
                      <a:pt x="216" y="1490"/>
                    </a:lnTo>
                    <a:lnTo>
                      <a:pt x="222" y="1484"/>
                    </a:lnTo>
                    <a:lnTo>
                      <a:pt x="225" y="1470"/>
                    </a:lnTo>
                    <a:lnTo>
                      <a:pt x="222" y="1469"/>
                    </a:lnTo>
                    <a:lnTo>
                      <a:pt x="219" y="1472"/>
                    </a:lnTo>
                    <a:lnTo>
                      <a:pt x="211" y="1476"/>
                    </a:lnTo>
                    <a:lnTo>
                      <a:pt x="210" y="1464"/>
                    </a:lnTo>
                    <a:lnTo>
                      <a:pt x="207" y="1458"/>
                    </a:lnTo>
                    <a:lnTo>
                      <a:pt x="189" y="1464"/>
                    </a:lnTo>
                    <a:lnTo>
                      <a:pt x="193" y="1455"/>
                    </a:lnTo>
                    <a:lnTo>
                      <a:pt x="199" y="1445"/>
                    </a:lnTo>
                    <a:lnTo>
                      <a:pt x="192" y="1446"/>
                    </a:lnTo>
                    <a:lnTo>
                      <a:pt x="189" y="1442"/>
                    </a:lnTo>
                    <a:lnTo>
                      <a:pt x="184" y="1448"/>
                    </a:lnTo>
                    <a:lnTo>
                      <a:pt x="178" y="1454"/>
                    </a:lnTo>
                    <a:lnTo>
                      <a:pt x="165" y="1434"/>
                    </a:lnTo>
                    <a:lnTo>
                      <a:pt x="171" y="1422"/>
                    </a:lnTo>
                    <a:lnTo>
                      <a:pt x="168" y="1413"/>
                    </a:lnTo>
                    <a:lnTo>
                      <a:pt x="168" y="1407"/>
                    </a:lnTo>
                    <a:lnTo>
                      <a:pt x="174" y="1401"/>
                    </a:lnTo>
                    <a:lnTo>
                      <a:pt x="175" y="1394"/>
                    </a:lnTo>
                    <a:lnTo>
                      <a:pt x="178" y="1391"/>
                    </a:lnTo>
                    <a:lnTo>
                      <a:pt x="180" y="1385"/>
                    </a:lnTo>
                    <a:lnTo>
                      <a:pt x="183" y="1379"/>
                    </a:lnTo>
                    <a:lnTo>
                      <a:pt x="177" y="1377"/>
                    </a:lnTo>
                    <a:lnTo>
                      <a:pt x="171" y="1373"/>
                    </a:lnTo>
                    <a:lnTo>
                      <a:pt x="168" y="1374"/>
                    </a:lnTo>
                    <a:lnTo>
                      <a:pt x="157" y="1374"/>
                    </a:lnTo>
                    <a:lnTo>
                      <a:pt x="160" y="1368"/>
                    </a:lnTo>
                    <a:lnTo>
                      <a:pt x="162" y="1361"/>
                    </a:lnTo>
                    <a:lnTo>
                      <a:pt x="159" y="1359"/>
                    </a:lnTo>
                    <a:lnTo>
                      <a:pt x="157" y="1352"/>
                    </a:lnTo>
                    <a:lnTo>
                      <a:pt x="162" y="1355"/>
                    </a:lnTo>
                    <a:lnTo>
                      <a:pt x="166" y="1355"/>
                    </a:lnTo>
                    <a:lnTo>
                      <a:pt x="172" y="1352"/>
                    </a:lnTo>
                    <a:lnTo>
                      <a:pt x="187" y="1362"/>
                    </a:lnTo>
                    <a:lnTo>
                      <a:pt x="193" y="1365"/>
                    </a:lnTo>
                    <a:lnTo>
                      <a:pt x="198" y="1361"/>
                    </a:lnTo>
                    <a:lnTo>
                      <a:pt x="210" y="1361"/>
                    </a:lnTo>
                    <a:lnTo>
                      <a:pt x="220" y="1361"/>
                    </a:lnTo>
                    <a:lnTo>
                      <a:pt x="219" y="1358"/>
                    </a:lnTo>
                    <a:lnTo>
                      <a:pt x="211" y="1355"/>
                    </a:lnTo>
                    <a:lnTo>
                      <a:pt x="210" y="1349"/>
                    </a:lnTo>
                    <a:lnTo>
                      <a:pt x="199" y="1347"/>
                    </a:lnTo>
                    <a:lnTo>
                      <a:pt x="192" y="1344"/>
                    </a:lnTo>
                    <a:lnTo>
                      <a:pt x="183" y="1343"/>
                    </a:lnTo>
                    <a:lnTo>
                      <a:pt x="178" y="1337"/>
                    </a:lnTo>
                    <a:lnTo>
                      <a:pt x="177" y="1335"/>
                    </a:lnTo>
                    <a:lnTo>
                      <a:pt x="175" y="1332"/>
                    </a:lnTo>
                    <a:lnTo>
                      <a:pt x="168" y="1331"/>
                    </a:lnTo>
                    <a:lnTo>
                      <a:pt x="163" y="1332"/>
                    </a:lnTo>
                    <a:lnTo>
                      <a:pt x="160" y="1335"/>
                    </a:lnTo>
                    <a:lnTo>
                      <a:pt x="157" y="1323"/>
                    </a:lnTo>
                    <a:lnTo>
                      <a:pt x="153" y="1317"/>
                    </a:lnTo>
                    <a:lnTo>
                      <a:pt x="154" y="1314"/>
                    </a:lnTo>
                    <a:lnTo>
                      <a:pt x="151" y="1310"/>
                    </a:lnTo>
                    <a:lnTo>
                      <a:pt x="154" y="1298"/>
                    </a:lnTo>
                    <a:lnTo>
                      <a:pt x="150" y="1299"/>
                    </a:lnTo>
                    <a:lnTo>
                      <a:pt x="147" y="1299"/>
                    </a:lnTo>
                    <a:lnTo>
                      <a:pt x="145" y="1290"/>
                    </a:lnTo>
                    <a:lnTo>
                      <a:pt x="141" y="1286"/>
                    </a:lnTo>
                    <a:lnTo>
                      <a:pt x="144" y="1265"/>
                    </a:lnTo>
                    <a:lnTo>
                      <a:pt x="151" y="1259"/>
                    </a:lnTo>
                    <a:lnTo>
                      <a:pt x="148" y="1254"/>
                    </a:lnTo>
                    <a:lnTo>
                      <a:pt x="150" y="1245"/>
                    </a:lnTo>
                    <a:lnTo>
                      <a:pt x="145" y="1233"/>
                    </a:lnTo>
                    <a:lnTo>
                      <a:pt x="139" y="1238"/>
                    </a:lnTo>
                    <a:lnTo>
                      <a:pt x="135" y="1236"/>
                    </a:lnTo>
                    <a:lnTo>
                      <a:pt x="136" y="1229"/>
                    </a:lnTo>
                    <a:lnTo>
                      <a:pt x="127" y="1229"/>
                    </a:lnTo>
                    <a:lnTo>
                      <a:pt x="121" y="1227"/>
                    </a:lnTo>
                    <a:lnTo>
                      <a:pt x="120" y="1223"/>
                    </a:lnTo>
                    <a:lnTo>
                      <a:pt x="121" y="1211"/>
                    </a:lnTo>
                    <a:lnTo>
                      <a:pt x="120" y="1205"/>
                    </a:lnTo>
                    <a:lnTo>
                      <a:pt x="112" y="1206"/>
                    </a:lnTo>
                    <a:lnTo>
                      <a:pt x="109" y="1200"/>
                    </a:lnTo>
                    <a:lnTo>
                      <a:pt x="112" y="1190"/>
                    </a:lnTo>
                    <a:lnTo>
                      <a:pt x="111" y="1184"/>
                    </a:lnTo>
                    <a:lnTo>
                      <a:pt x="115" y="1175"/>
                    </a:lnTo>
                    <a:lnTo>
                      <a:pt x="112" y="1170"/>
                    </a:lnTo>
                    <a:lnTo>
                      <a:pt x="109" y="1161"/>
                    </a:lnTo>
                    <a:lnTo>
                      <a:pt x="105" y="1160"/>
                    </a:lnTo>
                    <a:lnTo>
                      <a:pt x="102" y="1157"/>
                    </a:lnTo>
                    <a:lnTo>
                      <a:pt x="90" y="1158"/>
                    </a:lnTo>
                    <a:lnTo>
                      <a:pt x="84" y="1161"/>
                    </a:lnTo>
                    <a:lnTo>
                      <a:pt x="73" y="1170"/>
                    </a:lnTo>
                    <a:lnTo>
                      <a:pt x="66" y="1172"/>
                    </a:lnTo>
                    <a:lnTo>
                      <a:pt x="66" y="1167"/>
                    </a:lnTo>
                    <a:lnTo>
                      <a:pt x="70" y="1152"/>
                    </a:lnTo>
                    <a:lnTo>
                      <a:pt x="64" y="1146"/>
                    </a:lnTo>
                    <a:lnTo>
                      <a:pt x="60" y="1140"/>
                    </a:lnTo>
                    <a:lnTo>
                      <a:pt x="57" y="1142"/>
                    </a:lnTo>
                    <a:lnTo>
                      <a:pt x="49" y="1146"/>
                    </a:lnTo>
                    <a:lnTo>
                      <a:pt x="46" y="1146"/>
                    </a:lnTo>
                    <a:lnTo>
                      <a:pt x="39" y="1149"/>
                    </a:lnTo>
                    <a:lnTo>
                      <a:pt x="34" y="1152"/>
                    </a:lnTo>
                    <a:lnTo>
                      <a:pt x="12" y="1143"/>
                    </a:lnTo>
                    <a:lnTo>
                      <a:pt x="9" y="1146"/>
                    </a:lnTo>
                    <a:lnTo>
                      <a:pt x="1" y="1148"/>
                    </a:lnTo>
                    <a:lnTo>
                      <a:pt x="3" y="1139"/>
                    </a:lnTo>
                    <a:lnTo>
                      <a:pt x="0" y="1137"/>
                    </a:lnTo>
                    <a:lnTo>
                      <a:pt x="0" y="1130"/>
                    </a:lnTo>
                    <a:lnTo>
                      <a:pt x="7" y="1131"/>
                    </a:lnTo>
                    <a:lnTo>
                      <a:pt x="19" y="1130"/>
                    </a:lnTo>
                    <a:lnTo>
                      <a:pt x="21" y="1125"/>
                    </a:lnTo>
                    <a:lnTo>
                      <a:pt x="25" y="1122"/>
                    </a:lnTo>
                    <a:lnTo>
                      <a:pt x="15" y="1115"/>
                    </a:lnTo>
                    <a:lnTo>
                      <a:pt x="10" y="1110"/>
                    </a:lnTo>
                    <a:lnTo>
                      <a:pt x="4" y="1104"/>
                    </a:lnTo>
                    <a:lnTo>
                      <a:pt x="6" y="1100"/>
                    </a:lnTo>
                    <a:lnTo>
                      <a:pt x="13" y="1098"/>
                    </a:lnTo>
                    <a:lnTo>
                      <a:pt x="24" y="1101"/>
                    </a:lnTo>
                    <a:lnTo>
                      <a:pt x="25" y="1097"/>
                    </a:lnTo>
                    <a:lnTo>
                      <a:pt x="24" y="1092"/>
                    </a:lnTo>
                    <a:lnTo>
                      <a:pt x="24" y="1083"/>
                    </a:lnTo>
                    <a:lnTo>
                      <a:pt x="19" y="1080"/>
                    </a:lnTo>
                    <a:lnTo>
                      <a:pt x="19" y="1077"/>
                    </a:lnTo>
                    <a:lnTo>
                      <a:pt x="27" y="1071"/>
                    </a:lnTo>
                    <a:lnTo>
                      <a:pt x="34" y="1068"/>
                    </a:lnTo>
                    <a:lnTo>
                      <a:pt x="48" y="1065"/>
                    </a:lnTo>
                    <a:lnTo>
                      <a:pt x="73" y="1065"/>
                    </a:lnTo>
                    <a:lnTo>
                      <a:pt x="72" y="1056"/>
                    </a:lnTo>
                    <a:lnTo>
                      <a:pt x="76" y="1053"/>
                    </a:lnTo>
                    <a:lnTo>
                      <a:pt x="85" y="1055"/>
                    </a:lnTo>
                    <a:lnTo>
                      <a:pt x="87" y="1047"/>
                    </a:lnTo>
                    <a:lnTo>
                      <a:pt x="91" y="1046"/>
                    </a:lnTo>
                    <a:lnTo>
                      <a:pt x="100" y="1050"/>
                    </a:lnTo>
                    <a:lnTo>
                      <a:pt x="105" y="1049"/>
                    </a:lnTo>
                    <a:lnTo>
                      <a:pt x="108" y="1043"/>
                    </a:lnTo>
                    <a:lnTo>
                      <a:pt x="111" y="1037"/>
                    </a:lnTo>
                    <a:lnTo>
                      <a:pt x="114" y="1028"/>
                    </a:lnTo>
                    <a:lnTo>
                      <a:pt x="118" y="1023"/>
                    </a:lnTo>
                    <a:lnTo>
                      <a:pt x="124" y="1019"/>
                    </a:lnTo>
                    <a:lnTo>
                      <a:pt x="130" y="1025"/>
                    </a:lnTo>
                    <a:lnTo>
                      <a:pt x="135" y="1023"/>
                    </a:lnTo>
                    <a:lnTo>
                      <a:pt x="156" y="1013"/>
                    </a:lnTo>
                    <a:lnTo>
                      <a:pt x="162" y="1004"/>
                    </a:lnTo>
                    <a:lnTo>
                      <a:pt x="166" y="993"/>
                    </a:lnTo>
                    <a:lnTo>
                      <a:pt x="172" y="990"/>
                    </a:lnTo>
                    <a:lnTo>
                      <a:pt x="180" y="995"/>
                    </a:lnTo>
                    <a:lnTo>
                      <a:pt x="187" y="1001"/>
                    </a:lnTo>
                    <a:lnTo>
                      <a:pt x="193" y="1014"/>
                    </a:lnTo>
                    <a:lnTo>
                      <a:pt x="198" y="1013"/>
                    </a:lnTo>
                    <a:lnTo>
                      <a:pt x="199" y="998"/>
                    </a:lnTo>
                    <a:lnTo>
                      <a:pt x="205" y="990"/>
                    </a:lnTo>
                    <a:lnTo>
                      <a:pt x="220" y="990"/>
                    </a:lnTo>
                    <a:lnTo>
                      <a:pt x="223" y="999"/>
                    </a:lnTo>
                    <a:lnTo>
                      <a:pt x="234" y="1008"/>
                    </a:lnTo>
                    <a:lnTo>
                      <a:pt x="240" y="1011"/>
                    </a:lnTo>
                    <a:lnTo>
                      <a:pt x="244" y="1010"/>
                    </a:lnTo>
                    <a:lnTo>
                      <a:pt x="249" y="1011"/>
                    </a:lnTo>
                    <a:lnTo>
                      <a:pt x="255" y="1011"/>
                    </a:lnTo>
                    <a:lnTo>
                      <a:pt x="258" y="1008"/>
                    </a:lnTo>
                    <a:lnTo>
                      <a:pt x="265" y="1011"/>
                    </a:lnTo>
                    <a:lnTo>
                      <a:pt x="271" y="1013"/>
                    </a:lnTo>
                    <a:lnTo>
                      <a:pt x="280" y="1010"/>
                    </a:lnTo>
                    <a:lnTo>
                      <a:pt x="291" y="1010"/>
                    </a:lnTo>
                    <a:lnTo>
                      <a:pt x="300" y="1011"/>
                    </a:lnTo>
                    <a:lnTo>
                      <a:pt x="303" y="996"/>
                    </a:lnTo>
                    <a:lnTo>
                      <a:pt x="307" y="995"/>
                    </a:lnTo>
                    <a:lnTo>
                      <a:pt x="318" y="986"/>
                    </a:lnTo>
                    <a:lnTo>
                      <a:pt x="328" y="980"/>
                    </a:lnTo>
                    <a:lnTo>
                      <a:pt x="333" y="984"/>
                    </a:lnTo>
                    <a:lnTo>
                      <a:pt x="336" y="999"/>
                    </a:lnTo>
                    <a:lnTo>
                      <a:pt x="345" y="1002"/>
                    </a:lnTo>
                    <a:lnTo>
                      <a:pt x="351" y="1010"/>
                    </a:lnTo>
                    <a:lnTo>
                      <a:pt x="361" y="1010"/>
                    </a:lnTo>
                    <a:lnTo>
                      <a:pt x="370" y="1013"/>
                    </a:lnTo>
                    <a:lnTo>
                      <a:pt x="373" y="1020"/>
                    </a:lnTo>
                    <a:lnTo>
                      <a:pt x="378" y="1017"/>
                    </a:lnTo>
                    <a:lnTo>
                      <a:pt x="384" y="1008"/>
                    </a:lnTo>
                    <a:lnTo>
                      <a:pt x="387" y="1019"/>
                    </a:lnTo>
                    <a:lnTo>
                      <a:pt x="394" y="1029"/>
                    </a:lnTo>
                    <a:lnTo>
                      <a:pt x="396" y="1040"/>
                    </a:lnTo>
                    <a:lnTo>
                      <a:pt x="397" y="1046"/>
                    </a:lnTo>
                    <a:lnTo>
                      <a:pt x="396" y="1053"/>
                    </a:lnTo>
                    <a:lnTo>
                      <a:pt x="399" y="1059"/>
                    </a:lnTo>
                    <a:lnTo>
                      <a:pt x="409" y="1068"/>
                    </a:lnTo>
                    <a:lnTo>
                      <a:pt x="417" y="1079"/>
                    </a:lnTo>
                    <a:lnTo>
                      <a:pt x="426" y="1085"/>
                    </a:lnTo>
                    <a:lnTo>
                      <a:pt x="433" y="1076"/>
                    </a:lnTo>
                    <a:lnTo>
                      <a:pt x="441" y="1074"/>
                    </a:lnTo>
                    <a:lnTo>
                      <a:pt x="442" y="1059"/>
                    </a:lnTo>
                    <a:lnTo>
                      <a:pt x="456" y="1058"/>
                    </a:lnTo>
                    <a:lnTo>
                      <a:pt x="459" y="1055"/>
                    </a:lnTo>
                    <a:lnTo>
                      <a:pt x="459" y="1049"/>
                    </a:lnTo>
                    <a:lnTo>
                      <a:pt x="462" y="1032"/>
                    </a:lnTo>
                    <a:lnTo>
                      <a:pt x="465" y="1035"/>
                    </a:lnTo>
                    <a:lnTo>
                      <a:pt x="468" y="1029"/>
                    </a:lnTo>
                    <a:lnTo>
                      <a:pt x="471" y="1035"/>
                    </a:lnTo>
                    <a:lnTo>
                      <a:pt x="475" y="1032"/>
                    </a:lnTo>
                    <a:lnTo>
                      <a:pt x="481" y="1038"/>
                    </a:lnTo>
                    <a:lnTo>
                      <a:pt x="481" y="1046"/>
                    </a:lnTo>
                    <a:lnTo>
                      <a:pt x="490" y="1041"/>
                    </a:lnTo>
                    <a:lnTo>
                      <a:pt x="492" y="1049"/>
                    </a:lnTo>
                    <a:lnTo>
                      <a:pt x="486" y="1055"/>
                    </a:lnTo>
                    <a:lnTo>
                      <a:pt x="489" y="1061"/>
                    </a:lnTo>
                    <a:lnTo>
                      <a:pt x="495" y="1058"/>
                    </a:lnTo>
                    <a:lnTo>
                      <a:pt x="501" y="1056"/>
                    </a:lnTo>
                    <a:lnTo>
                      <a:pt x="505" y="1053"/>
                    </a:lnTo>
                    <a:lnTo>
                      <a:pt x="514" y="1059"/>
                    </a:lnTo>
                    <a:lnTo>
                      <a:pt x="517" y="1065"/>
                    </a:lnTo>
                    <a:lnTo>
                      <a:pt x="525" y="1065"/>
                    </a:lnTo>
                    <a:lnTo>
                      <a:pt x="528" y="1062"/>
                    </a:lnTo>
                    <a:lnTo>
                      <a:pt x="534" y="1065"/>
                    </a:lnTo>
                    <a:lnTo>
                      <a:pt x="540" y="1070"/>
                    </a:lnTo>
                    <a:lnTo>
                      <a:pt x="547" y="1071"/>
                    </a:lnTo>
                    <a:lnTo>
                      <a:pt x="550" y="1068"/>
                    </a:lnTo>
                    <a:lnTo>
                      <a:pt x="559" y="1065"/>
                    </a:lnTo>
                    <a:lnTo>
                      <a:pt x="562" y="1061"/>
                    </a:lnTo>
                    <a:lnTo>
                      <a:pt x="559" y="1058"/>
                    </a:lnTo>
                    <a:lnTo>
                      <a:pt x="556" y="1052"/>
                    </a:lnTo>
                    <a:lnTo>
                      <a:pt x="558" y="1038"/>
                    </a:lnTo>
                    <a:lnTo>
                      <a:pt x="562" y="1032"/>
                    </a:lnTo>
                    <a:lnTo>
                      <a:pt x="568" y="1025"/>
                    </a:lnTo>
                    <a:lnTo>
                      <a:pt x="571" y="1025"/>
                    </a:lnTo>
                    <a:lnTo>
                      <a:pt x="574" y="1028"/>
                    </a:lnTo>
                    <a:lnTo>
                      <a:pt x="577" y="1028"/>
                    </a:lnTo>
                    <a:lnTo>
                      <a:pt x="582" y="1032"/>
                    </a:lnTo>
                    <a:lnTo>
                      <a:pt x="585" y="1031"/>
                    </a:lnTo>
                    <a:lnTo>
                      <a:pt x="586" y="1037"/>
                    </a:lnTo>
                    <a:lnTo>
                      <a:pt x="595" y="1037"/>
                    </a:lnTo>
                    <a:lnTo>
                      <a:pt x="594" y="1049"/>
                    </a:lnTo>
                    <a:lnTo>
                      <a:pt x="598" y="1053"/>
                    </a:lnTo>
                    <a:lnTo>
                      <a:pt x="601" y="1050"/>
                    </a:lnTo>
                    <a:lnTo>
                      <a:pt x="609" y="1059"/>
                    </a:lnTo>
                    <a:lnTo>
                      <a:pt x="619" y="1062"/>
                    </a:lnTo>
                    <a:lnTo>
                      <a:pt x="628" y="1062"/>
                    </a:lnTo>
                    <a:lnTo>
                      <a:pt x="639" y="1061"/>
                    </a:lnTo>
                    <a:lnTo>
                      <a:pt x="645" y="1055"/>
                    </a:lnTo>
                    <a:lnTo>
                      <a:pt x="640" y="1035"/>
                    </a:lnTo>
                    <a:lnTo>
                      <a:pt x="643" y="1031"/>
                    </a:lnTo>
                    <a:lnTo>
                      <a:pt x="640" y="1022"/>
                    </a:lnTo>
                    <a:lnTo>
                      <a:pt x="648" y="1002"/>
                    </a:lnTo>
                    <a:lnTo>
                      <a:pt x="654" y="999"/>
                    </a:lnTo>
                    <a:lnTo>
                      <a:pt x="655" y="992"/>
                    </a:lnTo>
                    <a:lnTo>
                      <a:pt x="663" y="989"/>
                    </a:lnTo>
                    <a:lnTo>
                      <a:pt x="672" y="983"/>
                    </a:lnTo>
                    <a:lnTo>
                      <a:pt x="696" y="974"/>
                    </a:lnTo>
                    <a:lnTo>
                      <a:pt x="696" y="965"/>
                    </a:lnTo>
                    <a:lnTo>
                      <a:pt x="706" y="960"/>
                    </a:lnTo>
                    <a:lnTo>
                      <a:pt x="703" y="954"/>
                    </a:lnTo>
                    <a:lnTo>
                      <a:pt x="706" y="942"/>
                    </a:lnTo>
                    <a:lnTo>
                      <a:pt x="702" y="938"/>
                    </a:lnTo>
                    <a:lnTo>
                      <a:pt x="703" y="926"/>
                    </a:lnTo>
                    <a:lnTo>
                      <a:pt x="714" y="918"/>
                    </a:lnTo>
                    <a:lnTo>
                      <a:pt x="715" y="912"/>
                    </a:lnTo>
                    <a:lnTo>
                      <a:pt x="717" y="902"/>
                    </a:lnTo>
                    <a:lnTo>
                      <a:pt x="708" y="899"/>
                    </a:lnTo>
                    <a:lnTo>
                      <a:pt x="702" y="894"/>
                    </a:lnTo>
                    <a:lnTo>
                      <a:pt x="699" y="891"/>
                    </a:lnTo>
                    <a:lnTo>
                      <a:pt x="696" y="881"/>
                    </a:lnTo>
                    <a:lnTo>
                      <a:pt x="693" y="873"/>
                    </a:lnTo>
                    <a:lnTo>
                      <a:pt x="693" y="866"/>
                    </a:lnTo>
                    <a:lnTo>
                      <a:pt x="685" y="846"/>
                    </a:lnTo>
                    <a:lnTo>
                      <a:pt x="691" y="834"/>
                    </a:lnTo>
                    <a:lnTo>
                      <a:pt x="687" y="831"/>
                    </a:lnTo>
                    <a:lnTo>
                      <a:pt x="678" y="813"/>
                    </a:lnTo>
                    <a:lnTo>
                      <a:pt x="676" y="810"/>
                    </a:lnTo>
                    <a:lnTo>
                      <a:pt x="676" y="806"/>
                    </a:lnTo>
                    <a:lnTo>
                      <a:pt x="658" y="792"/>
                    </a:lnTo>
                    <a:lnTo>
                      <a:pt x="649" y="782"/>
                    </a:lnTo>
                    <a:lnTo>
                      <a:pt x="642" y="780"/>
                    </a:lnTo>
                    <a:lnTo>
                      <a:pt x="622" y="765"/>
                    </a:lnTo>
                    <a:lnTo>
                      <a:pt x="619" y="755"/>
                    </a:lnTo>
                    <a:lnTo>
                      <a:pt x="610" y="747"/>
                    </a:lnTo>
                    <a:lnTo>
                      <a:pt x="601" y="750"/>
                    </a:lnTo>
                    <a:lnTo>
                      <a:pt x="595" y="747"/>
                    </a:lnTo>
                    <a:lnTo>
                      <a:pt x="588" y="741"/>
                    </a:lnTo>
                    <a:lnTo>
                      <a:pt x="585" y="725"/>
                    </a:lnTo>
                    <a:lnTo>
                      <a:pt x="579" y="720"/>
                    </a:lnTo>
                    <a:lnTo>
                      <a:pt x="574" y="717"/>
                    </a:lnTo>
                    <a:lnTo>
                      <a:pt x="564" y="696"/>
                    </a:lnTo>
                    <a:lnTo>
                      <a:pt x="553" y="675"/>
                    </a:lnTo>
                    <a:lnTo>
                      <a:pt x="550" y="665"/>
                    </a:lnTo>
                    <a:lnTo>
                      <a:pt x="556" y="660"/>
                    </a:lnTo>
                    <a:lnTo>
                      <a:pt x="559" y="653"/>
                    </a:lnTo>
                    <a:lnTo>
                      <a:pt x="552" y="650"/>
                    </a:lnTo>
                    <a:lnTo>
                      <a:pt x="552" y="636"/>
                    </a:lnTo>
                    <a:lnTo>
                      <a:pt x="546" y="635"/>
                    </a:lnTo>
                    <a:lnTo>
                      <a:pt x="540" y="618"/>
                    </a:lnTo>
                    <a:lnTo>
                      <a:pt x="534" y="614"/>
                    </a:lnTo>
                    <a:lnTo>
                      <a:pt x="526" y="617"/>
                    </a:lnTo>
                    <a:lnTo>
                      <a:pt x="516" y="603"/>
                    </a:lnTo>
                    <a:lnTo>
                      <a:pt x="517" y="599"/>
                    </a:lnTo>
                    <a:lnTo>
                      <a:pt x="517" y="596"/>
                    </a:lnTo>
                    <a:lnTo>
                      <a:pt x="522" y="588"/>
                    </a:lnTo>
                    <a:lnTo>
                      <a:pt x="517" y="584"/>
                    </a:lnTo>
                    <a:lnTo>
                      <a:pt x="505" y="578"/>
                    </a:lnTo>
                    <a:lnTo>
                      <a:pt x="499" y="572"/>
                    </a:lnTo>
                    <a:lnTo>
                      <a:pt x="492" y="572"/>
                    </a:lnTo>
                    <a:lnTo>
                      <a:pt x="484" y="561"/>
                    </a:lnTo>
                    <a:lnTo>
                      <a:pt x="487" y="555"/>
                    </a:lnTo>
                    <a:lnTo>
                      <a:pt x="499" y="551"/>
                    </a:lnTo>
                    <a:lnTo>
                      <a:pt x="502" y="546"/>
                    </a:lnTo>
                    <a:lnTo>
                      <a:pt x="508" y="540"/>
                    </a:lnTo>
                    <a:lnTo>
                      <a:pt x="505" y="530"/>
                    </a:lnTo>
                    <a:lnTo>
                      <a:pt x="511" y="522"/>
                    </a:lnTo>
                    <a:lnTo>
                      <a:pt x="510" y="506"/>
                    </a:lnTo>
                    <a:lnTo>
                      <a:pt x="507" y="501"/>
                    </a:lnTo>
                    <a:lnTo>
                      <a:pt x="507" y="497"/>
                    </a:lnTo>
                    <a:lnTo>
                      <a:pt x="508" y="491"/>
                    </a:lnTo>
                    <a:lnTo>
                      <a:pt x="510" y="486"/>
                    </a:lnTo>
                    <a:lnTo>
                      <a:pt x="513" y="480"/>
                    </a:lnTo>
                    <a:lnTo>
                      <a:pt x="507" y="480"/>
                    </a:lnTo>
                    <a:lnTo>
                      <a:pt x="505" y="474"/>
                    </a:lnTo>
                    <a:lnTo>
                      <a:pt x="504" y="468"/>
                    </a:lnTo>
                    <a:lnTo>
                      <a:pt x="516" y="467"/>
                    </a:lnTo>
                    <a:lnTo>
                      <a:pt x="519" y="464"/>
                    </a:lnTo>
                    <a:lnTo>
                      <a:pt x="520" y="465"/>
                    </a:lnTo>
                    <a:lnTo>
                      <a:pt x="528" y="456"/>
                    </a:lnTo>
                    <a:lnTo>
                      <a:pt x="535" y="455"/>
                    </a:lnTo>
                    <a:lnTo>
                      <a:pt x="531" y="441"/>
                    </a:lnTo>
                    <a:lnTo>
                      <a:pt x="523" y="425"/>
                    </a:lnTo>
                    <a:lnTo>
                      <a:pt x="513" y="420"/>
                    </a:lnTo>
                    <a:lnTo>
                      <a:pt x="510" y="410"/>
                    </a:lnTo>
                    <a:lnTo>
                      <a:pt x="489" y="401"/>
                    </a:lnTo>
                    <a:lnTo>
                      <a:pt x="487" y="380"/>
                    </a:lnTo>
                    <a:lnTo>
                      <a:pt x="498" y="374"/>
                    </a:lnTo>
                    <a:lnTo>
                      <a:pt x="495" y="357"/>
                    </a:lnTo>
                    <a:lnTo>
                      <a:pt x="505" y="350"/>
                    </a:lnTo>
                    <a:lnTo>
                      <a:pt x="522" y="359"/>
                    </a:lnTo>
                    <a:lnTo>
                      <a:pt x="534" y="356"/>
                    </a:lnTo>
                    <a:lnTo>
                      <a:pt x="538" y="341"/>
                    </a:lnTo>
                    <a:lnTo>
                      <a:pt x="555" y="351"/>
                    </a:lnTo>
                    <a:lnTo>
                      <a:pt x="570" y="341"/>
                    </a:lnTo>
                    <a:lnTo>
                      <a:pt x="589" y="335"/>
                    </a:lnTo>
                    <a:lnTo>
                      <a:pt x="595" y="320"/>
                    </a:lnTo>
                    <a:lnTo>
                      <a:pt x="591" y="309"/>
                    </a:lnTo>
                    <a:lnTo>
                      <a:pt x="585" y="297"/>
                    </a:lnTo>
                    <a:lnTo>
                      <a:pt x="583" y="275"/>
                    </a:lnTo>
                    <a:lnTo>
                      <a:pt x="577" y="266"/>
                    </a:lnTo>
                    <a:lnTo>
                      <a:pt x="579" y="260"/>
                    </a:lnTo>
                    <a:lnTo>
                      <a:pt x="579" y="248"/>
                    </a:lnTo>
                    <a:lnTo>
                      <a:pt x="585" y="234"/>
                    </a:lnTo>
                    <a:lnTo>
                      <a:pt x="588" y="216"/>
                    </a:lnTo>
                    <a:lnTo>
                      <a:pt x="579" y="201"/>
                    </a:lnTo>
                    <a:lnTo>
                      <a:pt x="568" y="189"/>
                    </a:lnTo>
                    <a:lnTo>
                      <a:pt x="567" y="185"/>
                    </a:lnTo>
                    <a:lnTo>
                      <a:pt x="565" y="177"/>
                    </a:lnTo>
                    <a:lnTo>
                      <a:pt x="571" y="167"/>
                    </a:lnTo>
                    <a:lnTo>
                      <a:pt x="567" y="153"/>
                    </a:lnTo>
                    <a:lnTo>
                      <a:pt x="564" y="141"/>
                    </a:lnTo>
                    <a:lnTo>
                      <a:pt x="574" y="135"/>
                    </a:lnTo>
                    <a:lnTo>
                      <a:pt x="577" y="131"/>
                    </a:lnTo>
                    <a:lnTo>
                      <a:pt x="562" y="99"/>
                    </a:lnTo>
                    <a:lnTo>
                      <a:pt x="564" y="95"/>
                    </a:lnTo>
                    <a:lnTo>
                      <a:pt x="562" y="87"/>
                    </a:lnTo>
                    <a:lnTo>
                      <a:pt x="564" y="80"/>
                    </a:lnTo>
                    <a:lnTo>
                      <a:pt x="555" y="62"/>
                    </a:lnTo>
                    <a:lnTo>
                      <a:pt x="550" y="56"/>
                    </a:lnTo>
                    <a:lnTo>
                      <a:pt x="549" y="42"/>
                    </a:lnTo>
                    <a:lnTo>
                      <a:pt x="571" y="44"/>
                    </a:lnTo>
                    <a:lnTo>
                      <a:pt x="579" y="38"/>
                    </a:lnTo>
                    <a:lnTo>
                      <a:pt x="577" y="24"/>
                    </a:lnTo>
                    <a:lnTo>
                      <a:pt x="589" y="18"/>
                    </a:lnTo>
                    <a:lnTo>
                      <a:pt x="595" y="21"/>
                    </a:lnTo>
                    <a:lnTo>
                      <a:pt x="609" y="17"/>
                    </a:lnTo>
                    <a:lnTo>
                      <a:pt x="613" y="15"/>
                    </a:lnTo>
                    <a:lnTo>
                      <a:pt x="624" y="17"/>
                    </a:lnTo>
                    <a:lnTo>
                      <a:pt x="630" y="3"/>
                    </a:lnTo>
                    <a:lnTo>
                      <a:pt x="642" y="5"/>
                    </a:lnTo>
                    <a:lnTo>
                      <a:pt x="654" y="0"/>
                    </a:lnTo>
                    <a:lnTo>
                      <a:pt x="657" y="18"/>
                    </a:lnTo>
                    <a:lnTo>
                      <a:pt x="651" y="36"/>
                    </a:lnTo>
                    <a:lnTo>
                      <a:pt x="648" y="47"/>
                    </a:lnTo>
                    <a:lnTo>
                      <a:pt x="645" y="74"/>
                    </a:lnTo>
                    <a:lnTo>
                      <a:pt x="655" y="83"/>
                    </a:lnTo>
                    <a:lnTo>
                      <a:pt x="675" y="81"/>
                    </a:lnTo>
                    <a:lnTo>
                      <a:pt x="696" y="84"/>
                    </a:lnTo>
                    <a:lnTo>
                      <a:pt x="709" y="86"/>
                    </a:lnTo>
                    <a:lnTo>
                      <a:pt x="706" y="101"/>
                    </a:lnTo>
                    <a:lnTo>
                      <a:pt x="714" y="107"/>
                    </a:lnTo>
                    <a:lnTo>
                      <a:pt x="717" y="122"/>
                    </a:lnTo>
                    <a:lnTo>
                      <a:pt x="721" y="123"/>
                    </a:lnTo>
                    <a:lnTo>
                      <a:pt x="726" y="120"/>
                    </a:lnTo>
                    <a:lnTo>
                      <a:pt x="754" y="122"/>
                    </a:lnTo>
                    <a:lnTo>
                      <a:pt x="771" y="113"/>
                    </a:lnTo>
                    <a:lnTo>
                      <a:pt x="780" y="101"/>
                    </a:lnTo>
                    <a:lnTo>
                      <a:pt x="793" y="102"/>
                    </a:lnTo>
                    <a:lnTo>
                      <a:pt x="813" y="90"/>
                    </a:lnTo>
                    <a:lnTo>
                      <a:pt x="829" y="102"/>
                    </a:lnTo>
                    <a:lnTo>
                      <a:pt x="834" y="113"/>
                    </a:lnTo>
                    <a:lnTo>
                      <a:pt x="846" y="116"/>
                    </a:lnTo>
                    <a:lnTo>
                      <a:pt x="874" y="116"/>
                    </a:lnTo>
                    <a:lnTo>
                      <a:pt x="876" y="105"/>
                    </a:lnTo>
                    <a:lnTo>
                      <a:pt x="876" y="99"/>
                    </a:lnTo>
                    <a:lnTo>
                      <a:pt x="889" y="98"/>
                    </a:lnTo>
                    <a:lnTo>
                      <a:pt x="898" y="98"/>
                    </a:lnTo>
                    <a:lnTo>
                      <a:pt x="904" y="110"/>
                    </a:lnTo>
                    <a:lnTo>
                      <a:pt x="910" y="104"/>
                    </a:lnTo>
                    <a:lnTo>
                      <a:pt x="921" y="96"/>
                    </a:lnTo>
                    <a:lnTo>
                      <a:pt x="934" y="105"/>
                    </a:lnTo>
                    <a:lnTo>
                      <a:pt x="934" y="116"/>
                    </a:lnTo>
                    <a:lnTo>
                      <a:pt x="927" y="126"/>
                    </a:lnTo>
                    <a:lnTo>
                      <a:pt x="927" y="135"/>
                    </a:lnTo>
                    <a:lnTo>
                      <a:pt x="952" y="135"/>
                    </a:lnTo>
                    <a:lnTo>
                      <a:pt x="957" y="122"/>
                    </a:lnTo>
                    <a:lnTo>
                      <a:pt x="961" y="117"/>
                    </a:lnTo>
                    <a:lnTo>
                      <a:pt x="973" y="120"/>
                    </a:lnTo>
                    <a:lnTo>
                      <a:pt x="987" y="107"/>
                    </a:lnTo>
                    <a:lnTo>
                      <a:pt x="993" y="104"/>
                    </a:lnTo>
                    <a:lnTo>
                      <a:pt x="1000" y="99"/>
                    </a:lnTo>
                    <a:lnTo>
                      <a:pt x="1011" y="104"/>
                    </a:lnTo>
                    <a:lnTo>
                      <a:pt x="1020" y="101"/>
                    </a:lnTo>
                    <a:lnTo>
                      <a:pt x="1018" y="95"/>
                    </a:lnTo>
                    <a:lnTo>
                      <a:pt x="1014" y="87"/>
                    </a:lnTo>
                    <a:lnTo>
                      <a:pt x="1021" y="80"/>
                    </a:lnTo>
                    <a:lnTo>
                      <a:pt x="1026" y="74"/>
                    </a:lnTo>
                    <a:lnTo>
                      <a:pt x="1033" y="69"/>
                    </a:lnTo>
                    <a:lnTo>
                      <a:pt x="1033" y="63"/>
                    </a:lnTo>
                    <a:lnTo>
                      <a:pt x="1035" y="56"/>
                    </a:lnTo>
                    <a:lnTo>
                      <a:pt x="1039" y="62"/>
                    </a:lnTo>
                    <a:lnTo>
                      <a:pt x="1042" y="66"/>
                    </a:lnTo>
                    <a:lnTo>
                      <a:pt x="1053" y="65"/>
                    </a:lnTo>
                    <a:lnTo>
                      <a:pt x="1062" y="74"/>
                    </a:lnTo>
                    <a:lnTo>
                      <a:pt x="1062" y="78"/>
                    </a:lnTo>
                    <a:lnTo>
                      <a:pt x="1060" y="86"/>
                    </a:lnTo>
                    <a:lnTo>
                      <a:pt x="1038" y="90"/>
                    </a:lnTo>
                    <a:lnTo>
                      <a:pt x="1042" y="98"/>
                    </a:lnTo>
                    <a:lnTo>
                      <a:pt x="1047" y="104"/>
                    </a:lnTo>
                    <a:lnTo>
                      <a:pt x="1059" y="110"/>
                    </a:lnTo>
                    <a:lnTo>
                      <a:pt x="1065" y="113"/>
                    </a:lnTo>
                    <a:lnTo>
                      <a:pt x="1072" y="120"/>
                    </a:lnTo>
                    <a:lnTo>
                      <a:pt x="1069" y="134"/>
                    </a:lnTo>
                    <a:lnTo>
                      <a:pt x="1060" y="143"/>
                    </a:lnTo>
                    <a:lnTo>
                      <a:pt x="1062" y="150"/>
                    </a:lnTo>
                    <a:lnTo>
                      <a:pt x="1056" y="156"/>
                    </a:lnTo>
                    <a:lnTo>
                      <a:pt x="1032" y="143"/>
                    </a:lnTo>
                    <a:lnTo>
                      <a:pt x="1021" y="143"/>
                    </a:lnTo>
                    <a:lnTo>
                      <a:pt x="1015" y="152"/>
                    </a:lnTo>
                    <a:lnTo>
                      <a:pt x="1000" y="159"/>
                    </a:lnTo>
                    <a:lnTo>
                      <a:pt x="991" y="158"/>
                    </a:lnTo>
                    <a:lnTo>
                      <a:pt x="981" y="165"/>
                    </a:lnTo>
                    <a:lnTo>
                      <a:pt x="981" y="179"/>
                    </a:lnTo>
                    <a:lnTo>
                      <a:pt x="976" y="191"/>
                    </a:lnTo>
                    <a:lnTo>
                      <a:pt x="975" y="201"/>
                    </a:lnTo>
                    <a:lnTo>
                      <a:pt x="975" y="224"/>
                    </a:lnTo>
                    <a:lnTo>
                      <a:pt x="967" y="228"/>
                    </a:lnTo>
                    <a:lnTo>
                      <a:pt x="961" y="246"/>
                    </a:lnTo>
                    <a:lnTo>
                      <a:pt x="951" y="257"/>
                    </a:lnTo>
                    <a:lnTo>
                      <a:pt x="928" y="257"/>
                    </a:lnTo>
                    <a:lnTo>
                      <a:pt x="928" y="266"/>
                    </a:lnTo>
                    <a:lnTo>
                      <a:pt x="936" y="276"/>
                    </a:lnTo>
                    <a:lnTo>
                      <a:pt x="943" y="282"/>
                    </a:lnTo>
                    <a:lnTo>
                      <a:pt x="946" y="288"/>
                    </a:lnTo>
                    <a:lnTo>
                      <a:pt x="957" y="297"/>
                    </a:lnTo>
                    <a:lnTo>
                      <a:pt x="972" y="293"/>
                    </a:lnTo>
                    <a:lnTo>
                      <a:pt x="973" y="300"/>
                    </a:lnTo>
                    <a:lnTo>
                      <a:pt x="976" y="308"/>
                    </a:lnTo>
                    <a:lnTo>
                      <a:pt x="969" y="327"/>
                    </a:lnTo>
                    <a:lnTo>
                      <a:pt x="963" y="329"/>
                    </a:lnTo>
                    <a:lnTo>
                      <a:pt x="957" y="323"/>
                    </a:lnTo>
                    <a:lnTo>
                      <a:pt x="951" y="324"/>
                    </a:lnTo>
                    <a:lnTo>
                      <a:pt x="946" y="323"/>
                    </a:lnTo>
                    <a:lnTo>
                      <a:pt x="945" y="330"/>
                    </a:lnTo>
                    <a:lnTo>
                      <a:pt x="940" y="329"/>
                    </a:lnTo>
                    <a:lnTo>
                      <a:pt x="940" y="317"/>
                    </a:lnTo>
                    <a:lnTo>
                      <a:pt x="931" y="326"/>
                    </a:lnTo>
                    <a:lnTo>
                      <a:pt x="924" y="324"/>
                    </a:lnTo>
                    <a:lnTo>
                      <a:pt x="928" y="339"/>
                    </a:lnTo>
                    <a:lnTo>
                      <a:pt x="939" y="341"/>
                    </a:lnTo>
                    <a:lnTo>
                      <a:pt x="946" y="342"/>
                    </a:lnTo>
                    <a:lnTo>
                      <a:pt x="955" y="347"/>
                    </a:lnTo>
                    <a:lnTo>
                      <a:pt x="966" y="359"/>
                    </a:lnTo>
                    <a:lnTo>
                      <a:pt x="966" y="368"/>
                    </a:lnTo>
                    <a:lnTo>
                      <a:pt x="961" y="371"/>
                    </a:lnTo>
                    <a:lnTo>
                      <a:pt x="976" y="386"/>
                    </a:lnTo>
                    <a:lnTo>
                      <a:pt x="982" y="384"/>
                    </a:lnTo>
                    <a:lnTo>
                      <a:pt x="1002" y="396"/>
                    </a:lnTo>
                    <a:lnTo>
                      <a:pt x="1002" y="411"/>
                    </a:lnTo>
                    <a:lnTo>
                      <a:pt x="999" y="416"/>
                    </a:lnTo>
                    <a:lnTo>
                      <a:pt x="984" y="426"/>
                    </a:lnTo>
                    <a:lnTo>
                      <a:pt x="987" y="432"/>
                    </a:lnTo>
                    <a:lnTo>
                      <a:pt x="994" y="440"/>
                    </a:lnTo>
                    <a:lnTo>
                      <a:pt x="1000" y="447"/>
                    </a:lnTo>
                    <a:lnTo>
                      <a:pt x="1003" y="461"/>
                    </a:lnTo>
                    <a:lnTo>
                      <a:pt x="1015" y="473"/>
                    </a:lnTo>
                    <a:lnTo>
                      <a:pt x="1024" y="470"/>
                    </a:lnTo>
                    <a:lnTo>
                      <a:pt x="1041" y="474"/>
                    </a:lnTo>
                    <a:lnTo>
                      <a:pt x="1042" y="480"/>
                    </a:lnTo>
                    <a:lnTo>
                      <a:pt x="1041" y="485"/>
                    </a:lnTo>
                    <a:lnTo>
                      <a:pt x="1038" y="491"/>
                    </a:lnTo>
                    <a:lnTo>
                      <a:pt x="1032" y="495"/>
                    </a:lnTo>
                    <a:lnTo>
                      <a:pt x="1032" y="498"/>
                    </a:lnTo>
                    <a:lnTo>
                      <a:pt x="1038" y="504"/>
                    </a:lnTo>
                    <a:lnTo>
                      <a:pt x="1030" y="513"/>
                    </a:lnTo>
                    <a:lnTo>
                      <a:pt x="1030" y="521"/>
                    </a:lnTo>
                    <a:lnTo>
                      <a:pt x="1032" y="530"/>
                    </a:lnTo>
                    <a:lnTo>
                      <a:pt x="1038" y="536"/>
                    </a:lnTo>
                    <a:lnTo>
                      <a:pt x="1036" y="543"/>
                    </a:lnTo>
                    <a:lnTo>
                      <a:pt x="1029" y="540"/>
                    </a:lnTo>
                    <a:lnTo>
                      <a:pt x="1026" y="551"/>
                    </a:lnTo>
                    <a:lnTo>
                      <a:pt x="1029" y="566"/>
                    </a:lnTo>
                    <a:lnTo>
                      <a:pt x="1018" y="570"/>
                    </a:lnTo>
                    <a:lnTo>
                      <a:pt x="1012" y="566"/>
                    </a:lnTo>
                    <a:lnTo>
                      <a:pt x="1011" y="575"/>
                    </a:lnTo>
                    <a:lnTo>
                      <a:pt x="1005" y="581"/>
                    </a:lnTo>
                    <a:lnTo>
                      <a:pt x="1006" y="587"/>
                    </a:lnTo>
                    <a:lnTo>
                      <a:pt x="1017" y="603"/>
                    </a:lnTo>
                    <a:lnTo>
                      <a:pt x="1024" y="606"/>
                    </a:lnTo>
                    <a:lnTo>
                      <a:pt x="1036" y="602"/>
                    </a:lnTo>
                    <a:lnTo>
                      <a:pt x="1045" y="606"/>
                    </a:lnTo>
                    <a:lnTo>
                      <a:pt x="1048" y="615"/>
                    </a:lnTo>
                    <a:lnTo>
                      <a:pt x="1036" y="626"/>
                    </a:lnTo>
                    <a:lnTo>
                      <a:pt x="1021" y="668"/>
                    </a:lnTo>
                    <a:lnTo>
                      <a:pt x="1024" y="672"/>
                    </a:lnTo>
                    <a:lnTo>
                      <a:pt x="1020" y="683"/>
                    </a:lnTo>
                    <a:lnTo>
                      <a:pt x="1021" y="695"/>
                    </a:lnTo>
                    <a:lnTo>
                      <a:pt x="1021" y="701"/>
                    </a:lnTo>
                    <a:lnTo>
                      <a:pt x="1036" y="707"/>
                    </a:lnTo>
                    <a:lnTo>
                      <a:pt x="1042" y="711"/>
                    </a:lnTo>
                    <a:lnTo>
                      <a:pt x="1042" y="717"/>
                    </a:lnTo>
                    <a:lnTo>
                      <a:pt x="1042" y="726"/>
                    </a:lnTo>
                    <a:lnTo>
                      <a:pt x="1050" y="735"/>
                    </a:lnTo>
                    <a:lnTo>
                      <a:pt x="1054" y="741"/>
                    </a:lnTo>
                    <a:lnTo>
                      <a:pt x="1066" y="749"/>
                    </a:lnTo>
                    <a:lnTo>
                      <a:pt x="1081" y="758"/>
                    </a:lnTo>
                    <a:lnTo>
                      <a:pt x="1084" y="773"/>
                    </a:lnTo>
                    <a:lnTo>
                      <a:pt x="1093" y="777"/>
                    </a:lnTo>
                    <a:lnTo>
                      <a:pt x="1105" y="785"/>
                    </a:lnTo>
                    <a:lnTo>
                      <a:pt x="1101" y="794"/>
                    </a:lnTo>
                    <a:lnTo>
                      <a:pt x="1117" y="795"/>
                    </a:lnTo>
                    <a:lnTo>
                      <a:pt x="1129" y="797"/>
                    </a:lnTo>
                    <a:lnTo>
                      <a:pt x="1131" y="804"/>
                    </a:lnTo>
                    <a:lnTo>
                      <a:pt x="1140" y="810"/>
                    </a:lnTo>
                    <a:lnTo>
                      <a:pt x="1161" y="804"/>
                    </a:lnTo>
                    <a:lnTo>
                      <a:pt x="1170" y="804"/>
                    </a:lnTo>
                    <a:lnTo>
                      <a:pt x="1180" y="800"/>
                    </a:lnTo>
                    <a:lnTo>
                      <a:pt x="1186" y="804"/>
                    </a:lnTo>
                    <a:lnTo>
                      <a:pt x="1194" y="810"/>
                    </a:lnTo>
                    <a:lnTo>
                      <a:pt x="1198" y="815"/>
                    </a:lnTo>
                    <a:lnTo>
                      <a:pt x="1207" y="810"/>
                    </a:lnTo>
                    <a:lnTo>
                      <a:pt x="1213" y="810"/>
                    </a:lnTo>
                    <a:lnTo>
                      <a:pt x="1222" y="810"/>
                    </a:lnTo>
                    <a:lnTo>
                      <a:pt x="1228" y="819"/>
                    </a:lnTo>
                    <a:lnTo>
                      <a:pt x="1234" y="839"/>
                    </a:lnTo>
                    <a:lnTo>
                      <a:pt x="1239" y="845"/>
                    </a:lnTo>
                    <a:lnTo>
                      <a:pt x="1249" y="848"/>
                    </a:lnTo>
                    <a:lnTo>
                      <a:pt x="1252" y="843"/>
                    </a:lnTo>
                    <a:lnTo>
                      <a:pt x="1248" y="828"/>
                    </a:lnTo>
                    <a:lnTo>
                      <a:pt x="1248" y="824"/>
                    </a:lnTo>
                    <a:lnTo>
                      <a:pt x="1261" y="818"/>
                    </a:lnTo>
                    <a:lnTo>
                      <a:pt x="1272" y="830"/>
                    </a:lnTo>
                    <a:lnTo>
                      <a:pt x="1273" y="834"/>
                    </a:lnTo>
                    <a:lnTo>
                      <a:pt x="1272" y="836"/>
                    </a:lnTo>
                    <a:lnTo>
                      <a:pt x="1261" y="843"/>
                    </a:lnTo>
                    <a:lnTo>
                      <a:pt x="1260" y="848"/>
                    </a:lnTo>
                    <a:lnTo>
                      <a:pt x="1257" y="851"/>
                    </a:lnTo>
                    <a:lnTo>
                      <a:pt x="1246" y="858"/>
                    </a:lnTo>
                    <a:lnTo>
                      <a:pt x="1245" y="882"/>
                    </a:lnTo>
                    <a:lnTo>
                      <a:pt x="1251" y="896"/>
                    </a:lnTo>
                    <a:lnTo>
                      <a:pt x="1246" y="900"/>
                    </a:lnTo>
                    <a:lnTo>
                      <a:pt x="1251" y="911"/>
                    </a:lnTo>
                    <a:lnTo>
                      <a:pt x="1261" y="912"/>
                    </a:lnTo>
                    <a:lnTo>
                      <a:pt x="1257" y="923"/>
                    </a:lnTo>
                    <a:lnTo>
                      <a:pt x="1261" y="924"/>
                    </a:lnTo>
                    <a:lnTo>
                      <a:pt x="1269" y="918"/>
                    </a:lnTo>
                    <a:lnTo>
                      <a:pt x="1281" y="921"/>
                    </a:lnTo>
                    <a:lnTo>
                      <a:pt x="1290" y="917"/>
                    </a:lnTo>
                    <a:lnTo>
                      <a:pt x="1294" y="909"/>
                    </a:lnTo>
                    <a:lnTo>
                      <a:pt x="1302" y="906"/>
                    </a:lnTo>
                    <a:lnTo>
                      <a:pt x="1315" y="911"/>
                    </a:lnTo>
                    <a:lnTo>
                      <a:pt x="1318" y="926"/>
                    </a:lnTo>
                    <a:lnTo>
                      <a:pt x="1318" y="930"/>
                    </a:lnTo>
                    <a:lnTo>
                      <a:pt x="1326" y="942"/>
                    </a:lnTo>
                    <a:lnTo>
                      <a:pt x="1329" y="953"/>
                    </a:lnTo>
                    <a:lnTo>
                      <a:pt x="1324" y="954"/>
                    </a:lnTo>
                    <a:lnTo>
                      <a:pt x="1326" y="959"/>
                    </a:lnTo>
                    <a:lnTo>
                      <a:pt x="1329" y="969"/>
                    </a:lnTo>
                    <a:lnTo>
                      <a:pt x="1327" y="977"/>
                    </a:lnTo>
                    <a:lnTo>
                      <a:pt x="1317" y="987"/>
                    </a:lnTo>
                    <a:lnTo>
                      <a:pt x="1314" y="998"/>
                    </a:lnTo>
                    <a:lnTo>
                      <a:pt x="1317" y="1005"/>
                    </a:lnTo>
                    <a:lnTo>
                      <a:pt x="1321" y="1013"/>
                    </a:lnTo>
                    <a:lnTo>
                      <a:pt x="1329" y="1026"/>
                    </a:lnTo>
                    <a:lnTo>
                      <a:pt x="1329" y="1037"/>
                    </a:lnTo>
                    <a:lnTo>
                      <a:pt x="1324" y="1052"/>
                    </a:lnTo>
                    <a:lnTo>
                      <a:pt x="1311" y="1055"/>
                    </a:lnTo>
                    <a:lnTo>
                      <a:pt x="1303" y="1062"/>
                    </a:lnTo>
                    <a:lnTo>
                      <a:pt x="1297" y="1067"/>
                    </a:lnTo>
                    <a:lnTo>
                      <a:pt x="1287" y="1073"/>
                    </a:lnTo>
                    <a:lnTo>
                      <a:pt x="1281" y="1076"/>
                    </a:lnTo>
                    <a:lnTo>
                      <a:pt x="1266" y="1076"/>
                    </a:lnTo>
                    <a:lnTo>
                      <a:pt x="1246" y="1089"/>
                    </a:lnTo>
                    <a:lnTo>
                      <a:pt x="1236" y="1100"/>
                    </a:lnTo>
                    <a:lnTo>
                      <a:pt x="1236" y="1107"/>
                    </a:lnTo>
                    <a:lnTo>
                      <a:pt x="1231" y="1113"/>
                    </a:lnTo>
                    <a:lnTo>
                      <a:pt x="1227" y="1113"/>
                    </a:lnTo>
                    <a:lnTo>
                      <a:pt x="1218" y="1119"/>
                    </a:lnTo>
                    <a:lnTo>
                      <a:pt x="1216" y="1124"/>
                    </a:lnTo>
                    <a:lnTo>
                      <a:pt x="1216" y="1131"/>
                    </a:lnTo>
                    <a:lnTo>
                      <a:pt x="1203" y="1142"/>
                    </a:lnTo>
                    <a:lnTo>
                      <a:pt x="1195" y="1166"/>
                    </a:lnTo>
                    <a:lnTo>
                      <a:pt x="1201" y="1167"/>
                    </a:lnTo>
                    <a:lnTo>
                      <a:pt x="1204" y="1172"/>
                    </a:lnTo>
                    <a:lnTo>
                      <a:pt x="1206" y="1179"/>
                    </a:lnTo>
                    <a:lnTo>
                      <a:pt x="1198" y="1188"/>
                    </a:lnTo>
                    <a:lnTo>
                      <a:pt x="1191" y="1193"/>
                    </a:lnTo>
                    <a:lnTo>
                      <a:pt x="1171" y="1191"/>
                    </a:lnTo>
                    <a:lnTo>
                      <a:pt x="1164" y="1196"/>
                    </a:lnTo>
                    <a:lnTo>
                      <a:pt x="1155" y="1196"/>
                    </a:lnTo>
                    <a:lnTo>
                      <a:pt x="1156" y="1205"/>
                    </a:lnTo>
                    <a:lnTo>
                      <a:pt x="1153" y="1208"/>
                    </a:lnTo>
                    <a:lnTo>
                      <a:pt x="1149" y="1208"/>
                    </a:lnTo>
                    <a:lnTo>
                      <a:pt x="1146" y="1202"/>
                    </a:lnTo>
                    <a:lnTo>
                      <a:pt x="1134" y="1197"/>
                    </a:lnTo>
                    <a:lnTo>
                      <a:pt x="1132" y="1206"/>
                    </a:lnTo>
                    <a:lnTo>
                      <a:pt x="1129" y="1211"/>
                    </a:lnTo>
                    <a:lnTo>
                      <a:pt x="1107" y="1203"/>
                    </a:lnTo>
                    <a:lnTo>
                      <a:pt x="1110" y="1229"/>
                    </a:lnTo>
                    <a:lnTo>
                      <a:pt x="1107" y="1236"/>
                    </a:lnTo>
                    <a:lnTo>
                      <a:pt x="1111" y="1253"/>
                    </a:lnTo>
                    <a:lnTo>
                      <a:pt x="1105" y="1265"/>
                    </a:lnTo>
                    <a:lnTo>
                      <a:pt x="1098" y="1277"/>
                    </a:lnTo>
                    <a:lnTo>
                      <a:pt x="1090" y="1284"/>
                    </a:lnTo>
                    <a:lnTo>
                      <a:pt x="1084" y="1295"/>
                    </a:lnTo>
                    <a:lnTo>
                      <a:pt x="1080" y="1311"/>
                    </a:lnTo>
                    <a:lnTo>
                      <a:pt x="1078" y="1317"/>
                    </a:lnTo>
                    <a:lnTo>
                      <a:pt x="1081" y="1328"/>
                    </a:lnTo>
                    <a:lnTo>
                      <a:pt x="1090" y="1340"/>
                    </a:lnTo>
                    <a:lnTo>
                      <a:pt x="1081" y="1341"/>
                    </a:lnTo>
                    <a:lnTo>
                      <a:pt x="1077" y="1341"/>
                    </a:lnTo>
                    <a:lnTo>
                      <a:pt x="1074" y="1347"/>
                    </a:lnTo>
                    <a:lnTo>
                      <a:pt x="1074" y="1353"/>
                    </a:lnTo>
                    <a:lnTo>
                      <a:pt x="1069" y="1346"/>
                    </a:lnTo>
                    <a:lnTo>
                      <a:pt x="1066" y="1340"/>
                    </a:lnTo>
                    <a:lnTo>
                      <a:pt x="1069" y="1328"/>
                    </a:lnTo>
                    <a:lnTo>
                      <a:pt x="1059" y="1316"/>
                    </a:lnTo>
                    <a:lnTo>
                      <a:pt x="1051" y="1317"/>
                    </a:lnTo>
                    <a:lnTo>
                      <a:pt x="1026" y="1314"/>
                    </a:lnTo>
                    <a:lnTo>
                      <a:pt x="1021" y="1331"/>
                    </a:lnTo>
                    <a:lnTo>
                      <a:pt x="1027" y="1338"/>
                    </a:lnTo>
                    <a:lnTo>
                      <a:pt x="1045" y="1344"/>
                    </a:lnTo>
                    <a:lnTo>
                      <a:pt x="1045" y="1353"/>
                    </a:lnTo>
                    <a:lnTo>
                      <a:pt x="1042" y="1359"/>
                    </a:lnTo>
                    <a:lnTo>
                      <a:pt x="1032" y="1362"/>
                    </a:lnTo>
                    <a:lnTo>
                      <a:pt x="1021" y="1359"/>
                    </a:lnTo>
                    <a:lnTo>
                      <a:pt x="1015" y="1364"/>
                    </a:lnTo>
                    <a:lnTo>
                      <a:pt x="1017" y="1374"/>
                    </a:lnTo>
                    <a:lnTo>
                      <a:pt x="1011" y="1379"/>
                    </a:lnTo>
                    <a:lnTo>
                      <a:pt x="1009" y="1388"/>
                    </a:lnTo>
                    <a:lnTo>
                      <a:pt x="1005" y="1392"/>
                    </a:lnTo>
                    <a:lnTo>
                      <a:pt x="1002" y="1401"/>
                    </a:lnTo>
                    <a:lnTo>
                      <a:pt x="1014" y="1415"/>
                    </a:lnTo>
                    <a:lnTo>
                      <a:pt x="1018" y="1415"/>
                    </a:lnTo>
                    <a:lnTo>
                      <a:pt x="1027" y="1415"/>
                    </a:lnTo>
                    <a:lnTo>
                      <a:pt x="1030" y="1427"/>
                    </a:lnTo>
                    <a:lnTo>
                      <a:pt x="1027" y="1437"/>
                    </a:lnTo>
                    <a:lnTo>
                      <a:pt x="1015" y="1437"/>
                    </a:lnTo>
                    <a:lnTo>
                      <a:pt x="1005" y="1443"/>
                    </a:lnTo>
                    <a:lnTo>
                      <a:pt x="997" y="1448"/>
                    </a:lnTo>
                    <a:lnTo>
                      <a:pt x="984" y="1443"/>
                    </a:lnTo>
                    <a:lnTo>
                      <a:pt x="970" y="1446"/>
                    </a:lnTo>
                    <a:lnTo>
                      <a:pt x="964" y="1463"/>
                    </a:lnTo>
                    <a:lnTo>
                      <a:pt x="960" y="1475"/>
                    </a:lnTo>
                    <a:lnTo>
                      <a:pt x="961" y="1485"/>
                    </a:lnTo>
                    <a:lnTo>
                      <a:pt x="973" y="1494"/>
                    </a:lnTo>
                    <a:lnTo>
                      <a:pt x="978" y="1499"/>
                    </a:lnTo>
                    <a:lnTo>
                      <a:pt x="976" y="1508"/>
                    </a:lnTo>
                    <a:lnTo>
                      <a:pt x="972" y="1514"/>
                    </a:lnTo>
                    <a:lnTo>
                      <a:pt x="964" y="1512"/>
                    </a:lnTo>
                    <a:lnTo>
                      <a:pt x="942" y="1517"/>
                    </a:lnTo>
                    <a:lnTo>
                      <a:pt x="934" y="1523"/>
                    </a:lnTo>
                    <a:lnTo>
                      <a:pt x="919" y="1523"/>
                    </a:lnTo>
                    <a:lnTo>
                      <a:pt x="910" y="1517"/>
                    </a:lnTo>
                    <a:lnTo>
                      <a:pt x="901" y="1524"/>
                    </a:lnTo>
                    <a:lnTo>
                      <a:pt x="903" y="1542"/>
                    </a:lnTo>
                    <a:lnTo>
                      <a:pt x="900" y="1556"/>
                    </a:lnTo>
                    <a:lnTo>
                      <a:pt x="892" y="1562"/>
                    </a:lnTo>
                    <a:lnTo>
                      <a:pt x="882" y="1583"/>
                    </a:lnTo>
                    <a:lnTo>
                      <a:pt x="871" y="1610"/>
                    </a:lnTo>
                    <a:lnTo>
                      <a:pt x="861" y="1617"/>
                    </a:lnTo>
                    <a:lnTo>
                      <a:pt x="846" y="1623"/>
                    </a:lnTo>
                    <a:lnTo>
                      <a:pt x="826" y="1622"/>
                    </a:lnTo>
                    <a:lnTo>
                      <a:pt x="819" y="1617"/>
                    </a:lnTo>
                    <a:lnTo>
                      <a:pt x="799" y="1628"/>
                    </a:lnTo>
                    <a:lnTo>
                      <a:pt x="786" y="1632"/>
                    </a:lnTo>
                    <a:lnTo>
                      <a:pt x="768" y="1628"/>
                    </a:lnTo>
                    <a:lnTo>
                      <a:pt x="759" y="1628"/>
                    </a:lnTo>
                    <a:lnTo>
                      <a:pt x="750" y="1634"/>
                    </a:lnTo>
                    <a:lnTo>
                      <a:pt x="745" y="1658"/>
                    </a:lnTo>
                    <a:lnTo>
                      <a:pt x="750" y="1670"/>
                    </a:lnTo>
                    <a:lnTo>
                      <a:pt x="741" y="1674"/>
                    </a:lnTo>
                    <a:lnTo>
                      <a:pt x="736" y="1665"/>
                    </a:lnTo>
                    <a:lnTo>
                      <a:pt x="732" y="1665"/>
                    </a:lnTo>
                    <a:lnTo>
                      <a:pt x="733" y="1679"/>
                    </a:lnTo>
                    <a:lnTo>
                      <a:pt x="726" y="1685"/>
                    </a:lnTo>
                    <a:lnTo>
                      <a:pt x="720" y="1670"/>
                    </a:lnTo>
                    <a:lnTo>
                      <a:pt x="712" y="1671"/>
                    </a:lnTo>
                    <a:lnTo>
                      <a:pt x="712" y="1682"/>
                    </a:lnTo>
                    <a:lnTo>
                      <a:pt x="718" y="1694"/>
                    </a:lnTo>
                    <a:lnTo>
                      <a:pt x="714" y="1698"/>
                    </a:lnTo>
                    <a:lnTo>
                      <a:pt x="700" y="1685"/>
                    </a:lnTo>
                    <a:lnTo>
                      <a:pt x="699" y="1676"/>
                    </a:lnTo>
                    <a:lnTo>
                      <a:pt x="694" y="1677"/>
                    </a:lnTo>
                    <a:close/>
                  </a:path>
                </a:pathLst>
              </a:custGeom>
              <a:solidFill>
                <a:sysClr val="window" lastClr="FFFFFF"/>
              </a:solid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99" name="Freeform 350">
                <a:extLst>
                  <a:ext uri="{FF2B5EF4-FFF2-40B4-BE49-F238E27FC236}">
                    <a16:creationId xmlns:a16="http://schemas.microsoft.com/office/drawing/2014/main" id="{550763F7-CF67-68BC-CEA2-DC06E6743CF3}"/>
                  </a:ext>
                </a:extLst>
              </p:cNvPr>
              <p:cNvSpPr>
                <a:spLocks/>
              </p:cNvSpPr>
              <p:nvPr/>
            </p:nvSpPr>
            <p:spPr bwMode="auto">
              <a:xfrm>
                <a:off x="4100" y="2938"/>
                <a:ext cx="415" cy="452"/>
              </a:xfrm>
              <a:custGeom>
                <a:avLst/>
                <a:gdLst>
                  <a:gd name="T0" fmla="*/ 0 w 1244"/>
                  <a:gd name="T1" fmla="*/ 0 h 1356"/>
                  <a:gd name="T2" fmla="*/ 0 w 1244"/>
                  <a:gd name="T3" fmla="*/ 0 h 1356"/>
                  <a:gd name="T4" fmla="*/ 0 w 1244"/>
                  <a:gd name="T5" fmla="*/ 0 h 1356"/>
                  <a:gd name="T6" fmla="*/ 0 w 1244"/>
                  <a:gd name="T7" fmla="*/ 0 h 1356"/>
                  <a:gd name="T8" fmla="*/ 0 w 1244"/>
                  <a:gd name="T9" fmla="*/ 0 h 1356"/>
                  <a:gd name="T10" fmla="*/ 0 w 1244"/>
                  <a:gd name="T11" fmla="*/ 0 h 1356"/>
                  <a:gd name="T12" fmla="*/ 0 w 1244"/>
                  <a:gd name="T13" fmla="*/ 0 h 1356"/>
                  <a:gd name="T14" fmla="*/ 0 w 1244"/>
                  <a:gd name="T15" fmla="*/ 0 h 1356"/>
                  <a:gd name="T16" fmla="*/ 0 w 1244"/>
                  <a:gd name="T17" fmla="*/ 0 h 1356"/>
                  <a:gd name="T18" fmla="*/ 0 w 1244"/>
                  <a:gd name="T19" fmla="*/ 0 h 1356"/>
                  <a:gd name="T20" fmla="*/ 0 w 1244"/>
                  <a:gd name="T21" fmla="*/ 0 h 1356"/>
                  <a:gd name="T22" fmla="*/ 0 w 1244"/>
                  <a:gd name="T23" fmla="*/ 0 h 1356"/>
                  <a:gd name="T24" fmla="*/ 0 w 1244"/>
                  <a:gd name="T25" fmla="*/ 0 h 1356"/>
                  <a:gd name="T26" fmla="*/ 0 w 1244"/>
                  <a:gd name="T27" fmla="*/ 0 h 1356"/>
                  <a:gd name="T28" fmla="*/ 0 w 1244"/>
                  <a:gd name="T29" fmla="*/ 0 h 1356"/>
                  <a:gd name="T30" fmla="*/ 0 w 1244"/>
                  <a:gd name="T31" fmla="*/ 0 h 1356"/>
                  <a:gd name="T32" fmla="*/ 0 w 1244"/>
                  <a:gd name="T33" fmla="*/ 0 h 1356"/>
                  <a:gd name="T34" fmla="*/ 0 w 1244"/>
                  <a:gd name="T35" fmla="*/ 0 h 1356"/>
                  <a:gd name="T36" fmla="*/ 0 w 1244"/>
                  <a:gd name="T37" fmla="*/ 0 h 1356"/>
                  <a:gd name="T38" fmla="*/ 0 w 1244"/>
                  <a:gd name="T39" fmla="*/ 0 h 1356"/>
                  <a:gd name="T40" fmla="*/ 0 w 1244"/>
                  <a:gd name="T41" fmla="*/ 0 h 1356"/>
                  <a:gd name="T42" fmla="*/ 0 w 1244"/>
                  <a:gd name="T43" fmla="*/ 0 h 1356"/>
                  <a:gd name="T44" fmla="*/ 0 w 1244"/>
                  <a:gd name="T45" fmla="*/ 0 h 1356"/>
                  <a:gd name="T46" fmla="*/ 0 w 1244"/>
                  <a:gd name="T47" fmla="*/ 0 h 1356"/>
                  <a:gd name="T48" fmla="*/ 0 w 1244"/>
                  <a:gd name="T49" fmla="*/ 0 h 1356"/>
                  <a:gd name="T50" fmla="*/ 0 w 1244"/>
                  <a:gd name="T51" fmla="*/ 0 h 1356"/>
                  <a:gd name="T52" fmla="*/ 0 w 1244"/>
                  <a:gd name="T53" fmla="*/ 0 h 1356"/>
                  <a:gd name="T54" fmla="*/ 0 w 1244"/>
                  <a:gd name="T55" fmla="*/ 0 h 1356"/>
                  <a:gd name="T56" fmla="*/ 0 w 1244"/>
                  <a:gd name="T57" fmla="*/ 0 h 1356"/>
                  <a:gd name="T58" fmla="*/ 0 w 1244"/>
                  <a:gd name="T59" fmla="*/ 0 h 1356"/>
                  <a:gd name="T60" fmla="*/ 0 w 1244"/>
                  <a:gd name="T61" fmla="*/ 0 h 1356"/>
                  <a:gd name="T62" fmla="*/ 0 w 1244"/>
                  <a:gd name="T63" fmla="*/ 0 h 1356"/>
                  <a:gd name="T64" fmla="*/ 0 w 1244"/>
                  <a:gd name="T65" fmla="*/ 0 h 1356"/>
                  <a:gd name="T66" fmla="*/ 0 w 1244"/>
                  <a:gd name="T67" fmla="*/ 0 h 1356"/>
                  <a:gd name="T68" fmla="*/ 0 w 1244"/>
                  <a:gd name="T69" fmla="*/ 0 h 1356"/>
                  <a:gd name="T70" fmla="*/ 0 w 1244"/>
                  <a:gd name="T71" fmla="*/ 0 h 1356"/>
                  <a:gd name="T72" fmla="*/ 0 w 1244"/>
                  <a:gd name="T73" fmla="*/ 0 h 1356"/>
                  <a:gd name="T74" fmla="*/ 0 w 1244"/>
                  <a:gd name="T75" fmla="*/ 0 h 1356"/>
                  <a:gd name="T76" fmla="*/ 0 w 1244"/>
                  <a:gd name="T77" fmla="*/ 0 h 1356"/>
                  <a:gd name="T78" fmla="*/ 0 w 1244"/>
                  <a:gd name="T79" fmla="*/ 0 h 1356"/>
                  <a:gd name="T80" fmla="*/ 0 w 1244"/>
                  <a:gd name="T81" fmla="*/ 0 h 1356"/>
                  <a:gd name="T82" fmla="*/ 0 w 1244"/>
                  <a:gd name="T83" fmla="*/ 0 h 1356"/>
                  <a:gd name="T84" fmla="*/ 0 w 1244"/>
                  <a:gd name="T85" fmla="*/ 0 h 1356"/>
                  <a:gd name="T86" fmla="*/ 0 w 1244"/>
                  <a:gd name="T87" fmla="*/ 0 h 1356"/>
                  <a:gd name="T88" fmla="*/ 0 w 1244"/>
                  <a:gd name="T89" fmla="*/ 0 h 1356"/>
                  <a:gd name="T90" fmla="*/ 0 w 1244"/>
                  <a:gd name="T91" fmla="*/ 0 h 1356"/>
                  <a:gd name="T92" fmla="*/ 0 w 1244"/>
                  <a:gd name="T93" fmla="*/ 0 h 1356"/>
                  <a:gd name="T94" fmla="*/ 0 w 1244"/>
                  <a:gd name="T95" fmla="*/ 0 h 1356"/>
                  <a:gd name="T96" fmla="*/ 0 w 1244"/>
                  <a:gd name="T97" fmla="*/ 0 h 1356"/>
                  <a:gd name="T98" fmla="*/ 0 w 1244"/>
                  <a:gd name="T99" fmla="*/ 0 h 1356"/>
                  <a:gd name="T100" fmla="*/ 0 w 1244"/>
                  <a:gd name="T101" fmla="*/ 0 h 1356"/>
                  <a:gd name="T102" fmla="*/ 0 w 1244"/>
                  <a:gd name="T103" fmla="*/ 0 h 1356"/>
                  <a:gd name="T104" fmla="*/ 0 w 1244"/>
                  <a:gd name="T105" fmla="*/ 0 h 1356"/>
                  <a:gd name="T106" fmla="*/ 0 w 1244"/>
                  <a:gd name="T107" fmla="*/ 0 h 1356"/>
                  <a:gd name="T108" fmla="*/ 0 w 1244"/>
                  <a:gd name="T109" fmla="*/ 0 h 1356"/>
                  <a:gd name="T110" fmla="*/ 0 w 1244"/>
                  <a:gd name="T111" fmla="*/ 0 h 1356"/>
                  <a:gd name="T112" fmla="*/ 0 w 1244"/>
                  <a:gd name="T113" fmla="*/ 0 h 1356"/>
                  <a:gd name="T114" fmla="*/ 0 w 1244"/>
                  <a:gd name="T115" fmla="*/ 0 h 135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44" h="1356">
                    <a:moveTo>
                      <a:pt x="1206" y="706"/>
                    </a:moveTo>
                    <a:lnTo>
                      <a:pt x="1221" y="717"/>
                    </a:lnTo>
                    <a:lnTo>
                      <a:pt x="1221" y="729"/>
                    </a:lnTo>
                    <a:lnTo>
                      <a:pt x="1229" y="741"/>
                    </a:lnTo>
                    <a:lnTo>
                      <a:pt x="1236" y="738"/>
                    </a:lnTo>
                    <a:lnTo>
                      <a:pt x="1244" y="748"/>
                    </a:lnTo>
                    <a:lnTo>
                      <a:pt x="1235" y="769"/>
                    </a:lnTo>
                    <a:lnTo>
                      <a:pt x="1232" y="774"/>
                    </a:lnTo>
                    <a:lnTo>
                      <a:pt x="1211" y="774"/>
                    </a:lnTo>
                    <a:lnTo>
                      <a:pt x="1190" y="778"/>
                    </a:lnTo>
                    <a:lnTo>
                      <a:pt x="1178" y="783"/>
                    </a:lnTo>
                    <a:lnTo>
                      <a:pt x="1167" y="792"/>
                    </a:lnTo>
                    <a:lnTo>
                      <a:pt x="1155" y="793"/>
                    </a:lnTo>
                    <a:lnTo>
                      <a:pt x="1148" y="823"/>
                    </a:lnTo>
                    <a:lnTo>
                      <a:pt x="1140" y="828"/>
                    </a:lnTo>
                    <a:lnTo>
                      <a:pt x="1149" y="864"/>
                    </a:lnTo>
                    <a:lnTo>
                      <a:pt x="1128" y="870"/>
                    </a:lnTo>
                    <a:lnTo>
                      <a:pt x="1131" y="882"/>
                    </a:lnTo>
                    <a:lnTo>
                      <a:pt x="1157" y="889"/>
                    </a:lnTo>
                    <a:lnTo>
                      <a:pt x="1166" y="894"/>
                    </a:lnTo>
                    <a:lnTo>
                      <a:pt x="1175" y="901"/>
                    </a:lnTo>
                    <a:lnTo>
                      <a:pt x="1169" y="919"/>
                    </a:lnTo>
                    <a:lnTo>
                      <a:pt x="1175" y="930"/>
                    </a:lnTo>
                    <a:lnTo>
                      <a:pt x="1160" y="978"/>
                    </a:lnTo>
                    <a:lnTo>
                      <a:pt x="1176" y="993"/>
                    </a:lnTo>
                    <a:lnTo>
                      <a:pt x="1205" y="1038"/>
                    </a:lnTo>
                    <a:lnTo>
                      <a:pt x="1215" y="1051"/>
                    </a:lnTo>
                    <a:lnTo>
                      <a:pt x="1227" y="1053"/>
                    </a:lnTo>
                    <a:lnTo>
                      <a:pt x="1233" y="1054"/>
                    </a:lnTo>
                    <a:lnTo>
                      <a:pt x="1229" y="1062"/>
                    </a:lnTo>
                    <a:lnTo>
                      <a:pt x="1199" y="1072"/>
                    </a:lnTo>
                    <a:lnTo>
                      <a:pt x="1161" y="1069"/>
                    </a:lnTo>
                    <a:lnTo>
                      <a:pt x="1142" y="1074"/>
                    </a:lnTo>
                    <a:lnTo>
                      <a:pt x="1149" y="1083"/>
                    </a:lnTo>
                    <a:lnTo>
                      <a:pt x="1149" y="1110"/>
                    </a:lnTo>
                    <a:lnTo>
                      <a:pt x="1161" y="1128"/>
                    </a:lnTo>
                    <a:lnTo>
                      <a:pt x="1149" y="1147"/>
                    </a:lnTo>
                    <a:lnTo>
                      <a:pt x="1154" y="1156"/>
                    </a:lnTo>
                    <a:lnTo>
                      <a:pt x="1151" y="1161"/>
                    </a:lnTo>
                    <a:lnTo>
                      <a:pt x="1140" y="1162"/>
                    </a:lnTo>
                    <a:lnTo>
                      <a:pt x="1140" y="1167"/>
                    </a:lnTo>
                    <a:lnTo>
                      <a:pt x="1143" y="1173"/>
                    </a:lnTo>
                    <a:lnTo>
                      <a:pt x="1160" y="1174"/>
                    </a:lnTo>
                    <a:lnTo>
                      <a:pt x="1182" y="1170"/>
                    </a:lnTo>
                    <a:lnTo>
                      <a:pt x="1197" y="1200"/>
                    </a:lnTo>
                    <a:lnTo>
                      <a:pt x="1211" y="1206"/>
                    </a:lnTo>
                    <a:lnTo>
                      <a:pt x="1206" y="1222"/>
                    </a:lnTo>
                    <a:lnTo>
                      <a:pt x="1184" y="1231"/>
                    </a:lnTo>
                    <a:lnTo>
                      <a:pt x="1179" y="1236"/>
                    </a:lnTo>
                    <a:lnTo>
                      <a:pt x="1172" y="1236"/>
                    </a:lnTo>
                    <a:lnTo>
                      <a:pt x="1160" y="1246"/>
                    </a:lnTo>
                    <a:lnTo>
                      <a:pt x="1161" y="1254"/>
                    </a:lnTo>
                    <a:lnTo>
                      <a:pt x="1149" y="1260"/>
                    </a:lnTo>
                    <a:lnTo>
                      <a:pt x="1143" y="1267"/>
                    </a:lnTo>
                    <a:lnTo>
                      <a:pt x="1140" y="1290"/>
                    </a:lnTo>
                    <a:lnTo>
                      <a:pt x="1139" y="1314"/>
                    </a:lnTo>
                    <a:lnTo>
                      <a:pt x="1137" y="1329"/>
                    </a:lnTo>
                    <a:lnTo>
                      <a:pt x="1116" y="1321"/>
                    </a:lnTo>
                    <a:lnTo>
                      <a:pt x="1095" y="1323"/>
                    </a:lnTo>
                    <a:lnTo>
                      <a:pt x="1088" y="1356"/>
                    </a:lnTo>
                    <a:lnTo>
                      <a:pt x="1079" y="1344"/>
                    </a:lnTo>
                    <a:lnTo>
                      <a:pt x="1059" y="1333"/>
                    </a:lnTo>
                    <a:lnTo>
                      <a:pt x="1047" y="1314"/>
                    </a:lnTo>
                    <a:lnTo>
                      <a:pt x="1043" y="1306"/>
                    </a:lnTo>
                    <a:lnTo>
                      <a:pt x="1043" y="1296"/>
                    </a:lnTo>
                    <a:lnTo>
                      <a:pt x="1037" y="1293"/>
                    </a:lnTo>
                    <a:lnTo>
                      <a:pt x="1028" y="1300"/>
                    </a:lnTo>
                    <a:lnTo>
                      <a:pt x="1026" y="1297"/>
                    </a:lnTo>
                    <a:lnTo>
                      <a:pt x="1019" y="1308"/>
                    </a:lnTo>
                    <a:lnTo>
                      <a:pt x="1010" y="1306"/>
                    </a:lnTo>
                    <a:lnTo>
                      <a:pt x="1007" y="1311"/>
                    </a:lnTo>
                    <a:lnTo>
                      <a:pt x="971" y="1297"/>
                    </a:lnTo>
                    <a:lnTo>
                      <a:pt x="962" y="1303"/>
                    </a:lnTo>
                    <a:lnTo>
                      <a:pt x="947" y="1299"/>
                    </a:lnTo>
                    <a:lnTo>
                      <a:pt x="941" y="1302"/>
                    </a:lnTo>
                    <a:lnTo>
                      <a:pt x="923" y="1294"/>
                    </a:lnTo>
                    <a:lnTo>
                      <a:pt x="918" y="1294"/>
                    </a:lnTo>
                    <a:lnTo>
                      <a:pt x="897" y="1300"/>
                    </a:lnTo>
                    <a:lnTo>
                      <a:pt x="879" y="1293"/>
                    </a:lnTo>
                    <a:lnTo>
                      <a:pt x="885" y="1275"/>
                    </a:lnTo>
                    <a:lnTo>
                      <a:pt x="893" y="1266"/>
                    </a:lnTo>
                    <a:lnTo>
                      <a:pt x="896" y="1258"/>
                    </a:lnTo>
                    <a:lnTo>
                      <a:pt x="902" y="1255"/>
                    </a:lnTo>
                    <a:lnTo>
                      <a:pt x="903" y="1239"/>
                    </a:lnTo>
                    <a:lnTo>
                      <a:pt x="899" y="1228"/>
                    </a:lnTo>
                    <a:lnTo>
                      <a:pt x="885" y="1215"/>
                    </a:lnTo>
                    <a:lnTo>
                      <a:pt x="890" y="1203"/>
                    </a:lnTo>
                    <a:lnTo>
                      <a:pt x="897" y="1198"/>
                    </a:lnTo>
                    <a:lnTo>
                      <a:pt x="893" y="1173"/>
                    </a:lnTo>
                    <a:lnTo>
                      <a:pt x="891" y="1167"/>
                    </a:lnTo>
                    <a:lnTo>
                      <a:pt x="875" y="1144"/>
                    </a:lnTo>
                    <a:lnTo>
                      <a:pt x="873" y="1138"/>
                    </a:lnTo>
                    <a:lnTo>
                      <a:pt x="861" y="1129"/>
                    </a:lnTo>
                    <a:lnTo>
                      <a:pt x="860" y="1126"/>
                    </a:lnTo>
                    <a:lnTo>
                      <a:pt x="849" y="1123"/>
                    </a:lnTo>
                    <a:lnTo>
                      <a:pt x="833" y="1134"/>
                    </a:lnTo>
                    <a:lnTo>
                      <a:pt x="813" y="1147"/>
                    </a:lnTo>
                    <a:lnTo>
                      <a:pt x="801" y="1153"/>
                    </a:lnTo>
                    <a:lnTo>
                      <a:pt x="777" y="1158"/>
                    </a:lnTo>
                    <a:lnTo>
                      <a:pt x="771" y="1161"/>
                    </a:lnTo>
                    <a:lnTo>
                      <a:pt x="765" y="1156"/>
                    </a:lnTo>
                    <a:lnTo>
                      <a:pt x="762" y="1156"/>
                    </a:lnTo>
                    <a:lnTo>
                      <a:pt x="750" y="1158"/>
                    </a:lnTo>
                    <a:lnTo>
                      <a:pt x="747" y="1153"/>
                    </a:lnTo>
                    <a:lnTo>
                      <a:pt x="743" y="1156"/>
                    </a:lnTo>
                    <a:lnTo>
                      <a:pt x="740" y="1161"/>
                    </a:lnTo>
                    <a:lnTo>
                      <a:pt x="731" y="1159"/>
                    </a:lnTo>
                    <a:lnTo>
                      <a:pt x="726" y="1156"/>
                    </a:lnTo>
                    <a:lnTo>
                      <a:pt x="726" y="1161"/>
                    </a:lnTo>
                    <a:lnTo>
                      <a:pt x="716" y="1161"/>
                    </a:lnTo>
                    <a:lnTo>
                      <a:pt x="687" y="1162"/>
                    </a:lnTo>
                    <a:lnTo>
                      <a:pt x="684" y="1158"/>
                    </a:lnTo>
                    <a:lnTo>
                      <a:pt x="681" y="1156"/>
                    </a:lnTo>
                    <a:lnTo>
                      <a:pt x="678" y="1162"/>
                    </a:lnTo>
                    <a:lnTo>
                      <a:pt x="663" y="1161"/>
                    </a:lnTo>
                    <a:lnTo>
                      <a:pt x="665" y="1158"/>
                    </a:lnTo>
                    <a:lnTo>
                      <a:pt x="662" y="1156"/>
                    </a:lnTo>
                    <a:lnTo>
                      <a:pt x="654" y="1164"/>
                    </a:lnTo>
                    <a:lnTo>
                      <a:pt x="650" y="1162"/>
                    </a:lnTo>
                    <a:lnTo>
                      <a:pt x="650" y="1156"/>
                    </a:lnTo>
                    <a:lnTo>
                      <a:pt x="642" y="1156"/>
                    </a:lnTo>
                    <a:lnTo>
                      <a:pt x="639" y="1159"/>
                    </a:lnTo>
                    <a:lnTo>
                      <a:pt x="617" y="1138"/>
                    </a:lnTo>
                    <a:lnTo>
                      <a:pt x="623" y="1134"/>
                    </a:lnTo>
                    <a:lnTo>
                      <a:pt x="623" y="1128"/>
                    </a:lnTo>
                    <a:lnTo>
                      <a:pt x="608" y="1113"/>
                    </a:lnTo>
                    <a:lnTo>
                      <a:pt x="597" y="1092"/>
                    </a:lnTo>
                    <a:lnTo>
                      <a:pt x="591" y="1086"/>
                    </a:lnTo>
                    <a:lnTo>
                      <a:pt x="596" y="1081"/>
                    </a:lnTo>
                    <a:lnTo>
                      <a:pt x="600" y="1084"/>
                    </a:lnTo>
                    <a:lnTo>
                      <a:pt x="605" y="1081"/>
                    </a:lnTo>
                    <a:lnTo>
                      <a:pt x="606" y="1075"/>
                    </a:lnTo>
                    <a:lnTo>
                      <a:pt x="656" y="1069"/>
                    </a:lnTo>
                    <a:lnTo>
                      <a:pt x="687" y="1075"/>
                    </a:lnTo>
                    <a:lnTo>
                      <a:pt x="705" y="1071"/>
                    </a:lnTo>
                    <a:lnTo>
                      <a:pt x="708" y="1071"/>
                    </a:lnTo>
                    <a:lnTo>
                      <a:pt x="708" y="1078"/>
                    </a:lnTo>
                    <a:lnTo>
                      <a:pt x="716" y="1077"/>
                    </a:lnTo>
                    <a:lnTo>
                      <a:pt x="746" y="1057"/>
                    </a:lnTo>
                    <a:lnTo>
                      <a:pt x="761" y="1035"/>
                    </a:lnTo>
                    <a:lnTo>
                      <a:pt x="768" y="1026"/>
                    </a:lnTo>
                    <a:lnTo>
                      <a:pt x="785" y="1020"/>
                    </a:lnTo>
                    <a:lnTo>
                      <a:pt x="788" y="1014"/>
                    </a:lnTo>
                    <a:lnTo>
                      <a:pt x="792" y="1003"/>
                    </a:lnTo>
                    <a:lnTo>
                      <a:pt x="789" y="981"/>
                    </a:lnTo>
                    <a:lnTo>
                      <a:pt x="788" y="975"/>
                    </a:lnTo>
                    <a:lnTo>
                      <a:pt x="777" y="970"/>
                    </a:lnTo>
                    <a:lnTo>
                      <a:pt x="770" y="970"/>
                    </a:lnTo>
                    <a:lnTo>
                      <a:pt x="762" y="975"/>
                    </a:lnTo>
                    <a:lnTo>
                      <a:pt x="752" y="985"/>
                    </a:lnTo>
                    <a:lnTo>
                      <a:pt x="749" y="994"/>
                    </a:lnTo>
                    <a:lnTo>
                      <a:pt x="741" y="996"/>
                    </a:lnTo>
                    <a:lnTo>
                      <a:pt x="734" y="1005"/>
                    </a:lnTo>
                    <a:lnTo>
                      <a:pt x="743" y="1018"/>
                    </a:lnTo>
                    <a:lnTo>
                      <a:pt x="728" y="1008"/>
                    </a:lnTo>
                    <a:lnTo>
                      <a:pt x="711" y="984"/>
                    </a:lnTo>
                    <a:lnTo>
                      <a:pt x="704" y="955"/>
                    </a:lnTo>
                    <a:lnTo>
                      <a:pt x="707" y="940"/>
                    </a:lnTo>
                    <a:lnTo>
                      <a:pt x="705" y="934"/>
                    </a:lnTo>
                    <a:lnTo>
                      <a:pt x="654" y="928"/>
                    </a:lnTo>
                    <a:lnTo>
                      <a:pt x="645" y="937"/>
                    </a:lnTo>
                    <a:lnTo>
                      <a:pt x="642" y="922"/>
                    </a:lnTo>
                    <a:lnTo>
                      <a:pt x="636" y="916"/>
                    </a:lnTo>
                    <a:lnTo>
                      <a:pt x="635" y="906"/>
                    </a:lnTo>
                    <a:lnTo>
                      <a:pt x="632" y="903"/>
                    </a:lnTo>
                    <a:lnTo>
                      <a:pt x="627" y="894"/>
                    </a:lnTo>
                    <a:lnTo>
                      <a:pt x="623" y="898"/>
                    </a:lnTo>
                    <a:lnTo>
                      <a:pt x="623" y="916"/>
                    </a:lnTo>
                    <a:lnTo>
                      <a:pt x="626" y="930"/>
                    </a:lnTo>
                    <a:lnTo>
                      <a:pt x="612" y="948"/>
                    </a:lnTo>
                    <a:lnTo>
                      <a:pt x="614" y="972"/>
                    </a:lnTo>
                    <a:lnTo>
                      <a:pt x="617" y="976"/>
                    </a:lnTo>
                    <a:lnTo>
                      <a:pt x="614" y="990"/>
                    </a:lnTo>
                    <a:lnTo>
                      <a:pt x="618" y="993"/>
                    </a:lnTo>
                    <a:lnTo>
                      <a:pt x="641" y="991"/>
                    </a:lnTo>
                    <a:lnTo>
                      <a:pt x="648" y="993"/>
                    </a:lnTo>
                    <a:lnTo>
                      <a:pt x="662" y="1006"/>
                    </a:lnTo>
                    <a:lnTo>
                      <a:pt x="659" y="1017"/>
                    </a:lnTo>
                    <a:lnTo>
                      <a:pt x="660" y="1029"/>
                    </a:lnTo>
                    <a:lnTo>
                      <a:pt x="666" y="1044"/>
                    </a:lnTo>
                    <a:lnTo>
                      <a:pt x="662" y="1060"/>
                    </a:lnTo>
                    <a:lnTo>
                      <a:pt x="653" y="1065"/>
                    </a:lnTo>
                    <a:lnTo>
                      <a:pt x="647" y="1066"/>
                    </a:lnTo>
                    <a:lnTo>
                      <a:pt x="644" y="1066"/>
                    </a:lnTo>
                    <a:lnTo>
                      <a:pt x="638" y="1068"/>
                    </a:lnTo>
                    <a:lnTo>
                      <a:pt x="635" y="1066"/>
                    </a:lnTo>
                    <a:lnTo>
                      <a:pt x="629" y="1069"/>
                    </a:lnTo>
                    <a:lnTo>
                      <a:pt x="611" y="1069"/>
                    </a:lnTo>
                    <a:lnTo>
                      <a:pt x="603" y="1071"/>
                    </a:lnTo>
                    <a:lnTo>
                      <a:pt x="597" y="1068"/>
                    </a:lnTo>
                    <a:lnTo>
                      <a:pt x="593" y="1072"/>
                    </a:lnTo>
                    <a:lnTo>
                      <a:pt x="588" y="1072"/>
                    </a:lnTo>
                    <a:lnTo>
                      <a:pt x="590" y="1080"/>
                    </a:lnTo>
                    <a:lnTo>
                      <a:pt x="582" y="1078"/>
                    </a:lnTo>
                    <a:lnTo>
                      <a:pt x="582" y="1069"/>
                    </a:lnTo>
                    <a:lnTo>
                      <a:pt x="579" y="1063"/>
                    </a:lnTo>
                    <a:lnTo>
                      <a:pt x="581" y="1056"/>
                    </a:lnTo>
                    <a:lnTo>
                      <a:pt x="572" y="1051"/>
                    </a:lnTo>
                    <a:lnTo>
                      <a:pt x="555" y="1050"/>
                    </a:lnTo>
                    <a:lnTo>
                      <a:pt x="552" y="1045"/>
                    </a:lnTo>
                    <a:lnTo>
                      <a:pt x="522" y="1050"/>
                    </a:lnTo>
                    <a:lnTo>
                      <a:pt x="507" y="1002"/>
                    </a:lnTo>
                    <a:lnTo>
                      <a:pt x="500" y="1006"/>
                    </a:lnTo>
                    <a:lnTo>
                      <a:pt x="513" y="1054"/>
                    </a:lnTo>
                    <a:lnTo>
                      <a:pt x="504" y="1059"/>
                    </a:lnTo>
                    <a:lnTo>
                      <a:pt x="482" y="1030"/>
                    </a:lnTo>
                    <a:lnTo>
                      <a:pt x="474" y="1036"/>
                    </a:lnTo>
                    <a:lnTo>
                      <a:pt x="498" y="1066"/>
                    </a:lnTo>
                    <a:lnTo>
                      <a:pt x="489" y="1081"/>
                    </a:lnTo>
                    <a:lnTo>
                      <a:pt x="486" y="1096"/>
                    </a:lnTo>
                    <a:lnTo>
                      <a:pt x="492" y="1111"/>
                    </a:lnTo>
                    <a:lnTo>
                      <a:pt x="500" y="1110"/>
                    </a:lnTo>
                    <a:lnTo>
                      <a:pt x="506" y="1116"/>
                    </a:lnTo>
                    <a:lnTo>
                      <a:pt x="507" y="1128"/>
                    </a:lnTo>
                    <a:lnTo>
                      <a:pt x="518" y="1125"/>
                    </a:lnTo>
                    <a:lnTo>
                      <a:pt x="524" y="1117"/>
                    </a:lnTo>
                    <a:lnTo>
                      <a:pt x="531" y="1114"/>
                    </a:lnTo>
                    <a:lnTo>
                      <a:pt x="530" y="1108"/>
                    </a:lnTo>
                    <a:lnTo>
                      <a:pt x="536" y="1099"/>
                    </a:lnTo>
                    <a:lnTo>
                      <a:pt x="537" y="1105"/>
                    </a:lnTo>
                    <a:lnTo>
                      <a:pt x="530" y="1122"/>
                    </a:lnTo>
                    <a:lnTo>
                      <a:pt x="506" y="1137"/>
                    </a:lnTo>
                    <a:lnTo>
                      <a:pt x="486" y="1158"/>
                    </a:lnTo>
                    <a:lnTo>
                      <a:pt x="473" y="1161"/>
                    </a:lnTo>
                    <a:lnTo>
                      <a:pt x="459" y="1149"/>
                    </a:lnTo>
                    <a:lnTo>
                      <a:pt x="443" y="1141"/>
                    </a:lnTo>
                    <a:lnTo>
                      <a:pt x="393" y="1138"/>
                    </a:lnTo>
                    <a:lnTo>
                      <a:pt x="363" y="1141"/>
                    </a:lnTo>
                    <a:lnTo>
                      <a:pt x="312" y="1143"/>
                    </a:lnTo>
                    <a:lnTo>
                      <a:pt x="269" y="1126"/>
                    </a:lnTo>
                    <a:lnTo>
                      <a:pt x="260" y="1098"/>
                    </a:lnTo>
                    <a:lnTo>
                      <a:pt x="267" y="1087"/>
                    </a:lnTo>
                    <a:lnTo>
                      <a:pt x="269" y="1090"/>
                    </a:lnTo>
                    <a:lnTo>
                      <a:pt x="285" y="1080"/>
                    </a:lnTo>
                    <a:lnTo>
                      <a:pt x="279" y="1090"/>
                    </a:lnTo>
                    <a:lnTo>
                      <a:pt x="291" y="1080"/>
                    </a:lnTo>
                    <a:lnTo>
                      <a:pt x="288" y="1062"/>
                    </a:lnTo>
                    <a:lnTo>
                      <a:pt x="273" y="1038"/>
                    </a:lnTo>
                    <a:lnTo>
                      <a:pt x="233" y="1012"/>
                    </a:lnTo>
                    <a:lnTo>
                      <a:pt x="173" y="1015"/>
                    </a:lnTo>
                    <a:lnTo>
                      <a:pt x="135" y="1036"/>
                    </a:lnTo>
                    <a:lnTo>
                      <a:pt x="72" y="1017"/>
                    </a:lnTo>
                    <a:lnTo>
                      <a:pt x="62" y="1023"/>
                    </a:lnTo>
                    <a:lnTo>
                      <a:pt x="0" y="1011"/>
                    </a:lnTo>
                    <a:lnTo>
                      <a:pt x="9" y="970"/>
                    </a:lnTo>
                    <a:lnTo>
                      <a:pt x="15" y="960"/>
                    </a:lnTo>
                    <a:lnTo>
                      <a:pt x="53" y="948"/>
                    </a:lnTo>
                    <a:lnTo>
                      <a:pt x="69" y="937"/>
                    </a:lnTo>
                    <a:lnTo>
                      <a:pt x="77" y="931"/>
                    </a:lnTo>
                    <a:lnTo>
                      <a:pt x="68" y="916"/>
                    </a:lnTo>
                    <a:lnTo>
                      <a:pt x="65" y="906"/>
                    </a:lnTo>
                    <a:lnTo>
                      <a:pt x="72" y="895"/>
                    </a:lnTo>
                    <a:lnTo>
                      <a:pt x="77" y="897"/>
                    </a:lnTo>
                    <a:lnTo>
                      <a:pt x="77" y="903"/>
                    </a:lnTo>
                    <a:lnTo>
                      <a:pt x="75" y="910"/>
                    </a:lnTo>
                    <a:lnTo>
                      <a:pt x="78" y="916"/>
                    </a:lnTo>
                    <a:lnTo>
                      <a:pt x="83" y="921"/>
                    </a:lnTo>
                    <a:lnTo>
                      <a:pt x="90" y="916"/>
                    </a:lnTo>
                    <a:lnTo>
                      <a:pt x="95" y="907"/>
                    </a:lnTo>
                    <a:lnTo>
                      <a:pt x="102" y="904"/>
                    </a:lnTo>
                    <a:lnTo>
                      <a:pt x="111" y="903"/>
                    </a:lnTo>
                    <a:lnTo>
                      <a:pt x="123" y="888"/>
                    </a:lnTo>
                    <a:lnTo>
                      <a:pt x="129" y="886"/>
                    </a:lnTo>
                    <a:lnTo>
                      <a:pt x="138" y="889"/>
                    </a:lnTo>
                    <a:lnTo>
                      <a:pt x="141" y="883"/>
                    </a:lnTo>
                    <a:lnTo>
                      <a:pt x="135" y="876"/>
                    </a:lnTo>
                    <a:lnTo>
                      <a:pt x="137" y="871"/>
                    </a:lnTo>
                    <a:lnTo>
                      <a:pt x="144" y="867"/>
                    </a:lnTo>
                    <a:lnTo>
                      <a:pt x="165" y="861"/>
                    </a:lnTo>
                    <a:lnTo>
                      <a:pt x="177" y="853"/>
                    </a:lnTo>
                    <a:lnTo>
                      <a:pt x="185" y="835"/>
                    </a:lnTo>
                    <a:lnTo>
                      <a:pt x="173" y="838"/>
                    </a:lnTo>
                    <a:lnTo>
                      <a:pt x="164" y="837"/>
                    </a:lnTo>
                    <a:lnTo>
                      <a:pt x="156" y="831"/>
                    </a:lnTo>
                    <a:lnTo>
                      <a:pt x="158" y="820"/>
                    </a:lnTo>
                    <a:lnTo>
                      <a:pt x="168" y="784"/>
                    </a:lnTo>
                    <a:lnTo>
                      <a:pt x="183" y="772"/>
                    </a:lnTo>
                    <a:lnTo>
                      <a:pt x="192" y="757"/>
                    </a:lnTo>
                    <a:lnTo>
                      <a:pt x="198" y="733"/>
                    </a:lnTo>
                    <a:lnTo>
                      <a:pt x="215" y="720"/>
                    </a:lnTo>
                    <a:lnTo>
                      <a:pt x="242" y="715"/>
                    </a:lnTo>
                    <a:lnTo>
                      <a:pt x="261" y="721"/>
                    </a:lnTo>
                    <a:lnTo>
                      <a:pt x="278" y="729"/>
                    </a:lnTo>
                    <a:lnTo>
                      <a:pt x="300" y="742"/>
                    </a:lnTo>
                    <a:lnTo>
                      <a:pt x="308" y="741"/>
                    </a:lnTo>
                    <a:lnTo>
                      <a:pt x="314" y="733"/>
                    </a:lnTo>
                    <a:lnTo>
                      <a:pt x="305" y="714"/>
                    </a:lnTo>
                    <a:lnTo>
                      <a:pt x="303" y="699"/>
                    </a:lnTo>
                    <a:lnTo>
                      <a:pt x="314" y="678"/>
                    </a:lnTo>
                    <a:lnTo>
                      <a:pt x="314" y="664"/>
                    </a:lnTo>
                    <a:lnTo>
                      <a:pt x="321" y="643"/>
                    </a:lnTo>
                    <a:lnTo>
                      <a:pt x="333" y="621"/>
                    </a:lnTo>
                    <a:lnTo>
                      <a:pt x="336" y="600"/>
                    </a:lnTo>
                    <a:lnTo>
                      <a:pt x="333" y="577"/>
                    </a:lnTo>
                    <a:lnTo>
                      <a:pt x="332" y="568"/>
                    </a:lnTo>
                    <a:lnTo>
                      <a:pt x="339" y="561"/>
                    </a:lnTo>
                    <a:lnTo>
                      <a:pt x="342" y="555"/>
                    </a:lnTo>
                    <a:lnTo>
                      <a:pt x="341" y="552"/>
                    </a:lnTo>
                    <a:lnTo>
                      <a:pt x="333" y="549"/>
                    </a:lnTo>
                    <a:lnTo>
                      <a:pt x="330" y="546"/>
                    </a:lnTo>
                    <a:lnTo>
                      <a:pt x="327" y="541"/>
                    </a:lnTo>
                    <a:lnTo>
                      <a:pt x="329" y="531"/>
                    </a:lnTo>
                    <a:lnTo>
                      <a:pt x="350" y="522"/>
                    </a:lnTo>
                    <a:lnTo>
                      <a:pt x="369" y="507"/>
                    </a:lnTo>
                    <a:lnTo>
                      <a:pt x="372" y="504"/>
                    </a:lnTo>
                    <a:lnTo>
                      <a:pt x="380" y="492"/>
                    </a:lnTo>
                    <a:lnTo>
                      <a:pt x="395" y="475"/>
                    </a:lnTo>
                    <a:lnTo>
                      <a:pt x="410" y="459"/>
                    </a:lnTo>
                    <a:lnTo>
                      <a:pt x="422" y="447"/>
                    </a:lnTo>
                    <a:lnTo>
                      <a:pt x="434" y="439"/>
                    </a:lnTo>
                    <a:lnTo>
                      <a:pt x="455" y="427"/>
                    </a:lnTo>
                    <a:lnTo>
                      <a:pt x="462" y="420"/>
                    </a:lnTo>
                    <a:lnTo>
                      <a:pt x="464" y="409"/>
                    </a:lnTo>
                    <a:lnTo>
                      <a:pt x="461" y="400"/>
                    </a:lnTo>
                    <a:lnTo>
                      <a:pt x="464" y="394"/>
                    </a:lnTo>
                    <a:lnTo>
                      <a:pt x="479" y="394"/>
                    </a:lnTo>
                    <a:lnTo>
                      <a:pt x="482" y="388"/>
                    </a:lnTo>
                    <a:lnTo>
                      <a:pt x="482" y="378"/>
                    </a:lnTo>
                    <a:lnTo>
                      <a:pt x="479" y="370"/>
                    </a:lnTo>
                    <a:lnTo>
                      <a:pt x="476" y="367"/>
                    </a:lnTo>
                    <a:lnTo>
                      <a:pt x="468" y="360"/>
                    </a:lnTo>
                    <a:lnTo>
                      <a:pt x="455" y="352"/>
                    </a:lnTo>
                    <a:lnTo>
                      <a:pt x="450" y="345"/>
                    </a:lnTo>
                    <a:lnTo>
                      <a:pt x="450" y="337"/>
                    </a:lnTo>
                    <a:lnTo>
                      <a:pt x="438" y="325"/>
                    </a:lnTo>
                    <a:lnTo>
                      <a:pt x="431" y="315"/>
                    </a:lnTo>
                    <a:lnTo>
                      <a:pt x="431" y="309"/>
                    </a:lnTo>
                    <a:lnTo>
                      <a:pt x="428" y="301"/>
                    </a:lnTo>
                    <a:lnTo>
                      <a:pt x="417" y="297"/>
                    </a:lnTo>
                    <a:lnTo>
                      <a:pt x="414" y="292"/>
                    </a:lnTo>
                    <a:lnTo>
                      <a:pt x="407" y="283"/>
                    </a:lnTo>
                    <a:lnTo>
                      <a:pt x="402" y="280"/>
                    </a:lnTo>
                    <a:lnTo>
                      <a:pt x="398" y="282"/>
                    </a:lnTo>
                    <a:lnTo>
                      <a:pt x="390" y="285"/>
                    </a:lnTo>
                    <a:lnTo>
                      <a:pt x="383" y="282"/>
                    </a:lnTo>
                    <a:lnTo>
                      <a:pt x="381" y="273"/>
                    </a:lnTo>
                    <a:lnTo>
                      <a:pt x="374" y="261"/>
                    </a:lnTo>
                    <a:lnTo>
                      <a:pt x="374" y="249"/>
                    </a:lnTo>
                    <a:lnTo>
                      <a:pt x="381" y="220"/>
                    </a:lnTo>
                    <a:lnTo>
                      <a:pt x="381" y="210"/>
                    </a:lnTo>
                    <a:lnTo>
                      <a:pt x="381" y="204"/>
                    </a:lnTo>
                    <a:lnTo>
                      <a:pt x="380" y="198"/>
                    </a:lnTo>
                    <a:lnTo>
                      <a:pt x="383" y="190"/>
                    </a:lnTo>
                    <a:lnTo>
                      <a:pt x="381" y="174"/>
                    </a:lnTo>
                    <a:lnTo>
                      <a:pt x="380" y="165"/>
                    </a:lnTo>
                    <a:lnTo>
                      <a:pt x="374" y="159"/>
                    </a:lnTo>
                    <a:lnTo>
                      <a:pt x="371" y="153"/>
                    </a:lnTo>
                    <a:lnTo>
                      <a:pt x="375" y="144"/>
                    </a:lnTo>
                    <a:lnTo>
                      <a:pt x="375" y="138"/>
                    </a:lnTo>
                    <a:lnTo>
                      <a:pt x="371" y="135"/>
                    </a:lnTo>
                    <a:lnTo>
                      <a:pt x="353" y="141"/>
                    </a:lnTo>
                    <a:lnTo>
                      <a:pt x="347" y="141"/>
                    </a:lnTo>
                    <a:lnTo>
                      <a:pt x="342" y="139"/>
                    </a:lnTo>
                    <a:lnTo>
                      <a:pt x="342" y="136"/>
                    </a:lnTo>
                    <a:lnTo>
                      <a:pt x="345" y="114"/>
                    </a:lnTo>
                    <a:lnTo>
                      <a:pt x="338" y="100"/>
                    </a:lnTo>
                    <a:lnTo>
                      <a:pt x="336" y="87"/>
                    </a:lnTo>
                    <a:lnTo>
                      <a:pt x="333" y="49"/>
                    </a:lnTo>
                    <a:lnTo>
                      <a:pt x="332" y="40"/>
                    </a:lnTo>
                    <a:lnTo>
                      <a:pt x="330" y="6"/>
                    </a:lnTo>
                    <a:lnTo>
                      <a:pt x="375" y="3"/>
                    </a:lnTo>
                    <a:lnTo>
                      <a:pt x="386" y="0"/>
                    </a:lnTo>
                    <a:lnTo>
                      <a:pt x="417" y="3"/>
                    </a:lnTo>
                    <a:lnTo>
                      <a:pt x="422" y="7"/>
                    </a:lnTo>
                    <a:lnTo>
                      <a:pt x="428" y="12"/>
                    </a:lnTo>
                    <a:lnTo>
                      <a:pt x="459" y="21"/>
                    </a:lnTo>
                    <a:lnTo>
                      <a:pt x="459" y="25"/>
                    </a:lnTo>
                    <a:lnTo>
                      <a:pt x="461" y="37"/>
                    </a:lnTo>
                    <a:lnTo>
                      <a:pt x="461" y="64"/>
                    </a:lnTo>
                    <a:lnTo>
                      <a:pt x="461" y="67"/>
                    </a:lnTo>
                    <a:lnTo>
                      <a:pt x="467" y="90"/>
                    </a:lnTo>
                    <a:lnTo>
                      <a:pt x="468" y="100"/>
                    </a:lnTo>
                    <a:lnTo>
                      <a:pt x="468" y="109"/>
                    </a:lnTo>
                    <a:lnTo>
                      <a:pt x="477" y="114"/>
                    </a:lnTo>
                    <a:lnTo>
                      <a:pt x="489" y="106"/>
                    </a:lnTo>
                    <a:lnTo>
                      <a:pt x="500" y="93"/>
                    </a:lnTo>
                    <a:lnTo>
                      <a:pt x="513" y="76"/>
                    </a:lnTo>
                    <a:lnTo>
                      <a:pt x="516" y="73"/>
                    </a:lnTo>
                    <a:lnTo>
                      <a:pt x="525" y="73"/>
                    </a:lnTo>
                    <a:lnTo>
                      <a:pt x="531" y="75"/>
                    </a:lnTo>
                    <a:lnTo>
                      <a:pt x="540" y="76"/>
                    </a:lnTo>
                    <a:lnTo>
                      <a:pt x="554" y="75"/>
                    </a:lnTo>
                    <a:lnTo>
                      <a:pt x="590" y="57"/>
                    </a:lnTo>
                    <a:lnTo>
                      <a:pt x="600" y="49"/>
                    </a:lnTo>
                    <a:lnTo>
                      <a:pt x="621" y="43"/>
                    </a:lnTo>
                    <a:lnTo>
                      <a:pt x="632" y="37"/>
                    </a:lnTo>
                    <a:lnTo>
                      <a:pt x="657" y="25"/>
                    </a:lnTo>
                    <a:lnTo>
                      <a:pt x="669" y="46"/>
                    </a:lnTo>
                    <a:lnTo>
                      <a:pt x="677" y="48"/>
                    </a:lnTo>
                    <a:lnTo>
                      <a:pt x="683" y="49"/>
                    </a:lnTo>
                    <a:lnTo>
                      <a:pt x="698" y="51"/>
                    </a:lnTo>
                    <a:lnTo>
                      <a:pt x="702" y="51"/>
                    </a:lnTo>
                    <a:lnTo>
                      <a:pt x="732" y="25"/>
                    </a:lnTo>
                    <a:lnTo>
                      <a:pt x="729" y="15"/>
                    </a:lnTo>
                    <a:lnTo>
                      <a:pt x="740" y="7"/>
                    </a:lnTo>
                    <a:lnTo>
                      <a:pt x="747" y="18"/>
                    </a:lnTo>
                    <a:lnTo>
                      <a:pt x="741" y="33"/>
                    </a:lnTo>
                    <a:lnTo>
                      <a:pt x="743" y="40"/>
                    </a:lnTo>
                    <a:lnTo>
                      <a:pt x="734" y="45"/>
                    </a:lnTo>
                    <a:lnTo>
                      <a:pt x="729" y="52"/>
                    </a:lnTo>
                    <a:lnTo>
                      <a:pt x="729" y="60"/>
                    </a:lnTo>
                    <a:lnTo>
                      <a:pt x="731" y="64"/>
                    </a:lnTo>
                    <a:lnTo>
                      <a:pt x="735" y="69"/>
                    </a:lnTo>
                    <a:lnTo>
                      <a:pt x="737" y="90"/>
                    </a:lnTo>
                    <a:lnTo>
                      <a:pt x="734" y="100"/>
                    </a:lnTo>
                    <a:lnTo>
                      <a:pt x="732" y="108"/>
                    </a:lnTo>
                    <a:lnTo>
                      <a:pt x="747" y="123"/>
                    </a:lnTo>
                    <a:lnTo>
                      <a:pt x="800" y="138"/>
                    </a:lnTo>
                    <a:lnTo>
                      <a:pt x="800" y="115"/>
                    </a:lnTo>
                    <a:lnTo>
                      <a:pt x="807" y="114"/>
                    </a:lnTo>
                    <a:lnTo>
                      <a:pt x="813" y="117"/>
                    </a:lnTo>
                    <a:lnTo>
                      <a:pt x="833" y="126"/>
                    </a:lnTo>
                    <a:lnTo>
                      <a:pt x="848" y="141"/>
                    </a:lnTo>
                    <a:lnTo>
                      <a:pt x="857" y="139"/>
                    </a:lnTo>
                    <a:lnTo>
                      <a:pt x="876" y="148"/>
                    </a:lnTo>
                    <a:lnTo>
                      <a:pt x="890" y="136"/>
                    </a:lnTo>
                    <a:lnTo>
                      <a:pt x="902" y="144"/>
                    </a:lnTo>
                    <a:lnTo>
                      <a:pt x="908" y="147"/>
                    </a:lnTo>
                    <a:lnTo>
                      <a:pt x="912" y="148"/>
                    </a:lnTo>
                    <a:lnTo>
                      <a:pt x="911" y="163"/>
                    </a:lnTo>
                    <a:lnTo>
                      <a:pt x="914" y="172"/>
                    </a:lnTo>
                    <a:lnTo>
                      <a:pt x="908" y="195"/>
                    </a:lnTo>
                    <a:lnTo>
                      <a:pt x="911" y="202"/>
                    </a:lnTo>
                    <a:lnTo>
                      <a:pt x="936" y="204"/>
                    </a:lnTo>
                    <a:lnTo>
                      <a:pt x="942" y="216"/>
                    </a:lnTo>
                    <a:lnTo>
                      <a:pt x="950" y="216"/>
                    </a:lnTo>
                    <a:lnTo>
                      <a:pt x="960" y="226"/>
                    </a:lnTo>
                    <a:lnTo>
                      <a:pt x="969" y="244"/>
                    </a:lnTo>
                    <a:lnTo>
                      <a:pt x="1004" y="250"/>
                    </a:lnTo>
                    <a:lnTo>
                      <a:pt x="1013" y="309"/>
                    </a:lnTo>
                    <a:lnTo>
                      <a:pt x="1025" y="310"/>
                    </a:lnTo>
                    <a:lnTo>
                      <a:pt x="1038" y="303"/>
                    </a:lnTo>
                    <a:lnTo>
                      <a:pt x="1037" y="319"/>
                    </a:lnTo>
                    <a:lnTo>
                      <a:pt x="1037" y="340"/>
                    </a:lnTo>
                    <a:lnTo>
                      <a:pt x="1028" y="364"/>
                    </a:lnTo>
                    <a:lnTo>
                      <a:pt x="1029" y="381"/>
                    </a:lnTo>
                    <a:lnTo>
                      <a:pt x="1020" y="402"/>
                    </a:lnTo>
                    <a:lnTo>
                      <a:pt x="1017" y="420"/>
                    </a:lnTo>
                    <a:lnTo>
                      <a:pt x="1013" y="445"/>
                    </a:lnTo>
                    <a:lnTo>
                      <a:pt x="1032" y="444"/>
                    </a:lnTo>
                    <a:lnTo>
                      <a:pt x="1041" y="448"/>
                    </a:lnTo>
                    <a:lnTo>
                      <a:pt x="1062" y="445"/>
                    </a:lnTo>
                    <a:lnTo>
                      <a:pt x="1071" y="465"/>
                    </a:lnTo>
                    <a:lnTo>
                      <a:pt x="1073" y="477"/>
                    </a:lnTo>
                    <a:lnTo>
                      <a:pt x="1092" y="486"/>
                    </a:lnTo>
                    <a:lnTo>
                      <a:pt x="1080" y="510"/>
                    </a:lnTo>
                    <a:lnTo>
                      <a:pt x="1074" y="526"/>
                    </a:lnTo>
                    <a:lnTo>
                      <a:pt x="1064" y="525"/>
                    </a:lnTo>
                    <a:lnTo>
                      <a:pt x="1058" y="535"/>
                    </a:lnTo>
                    <a:lnTo>
                      <a:pt x="1050" y="543"/>
                    </a:lnTo>
                    <a:lnTo>
                      <a:pt x="1052" y="550"/>
                    </a:lnTo>
                    <a:lnTo>
                      <a:pt x="1046" y="555"/>
                    </a:lnTo>
                    <a:lnTo>
                      <a:pt x="1043" y="591"/>
                    </a:lnTo>
                    <a:lnTo>
                      <a:pt x="1047" y="591"/>
                    </a:lnTo>
                    <a:lnTo>
                      <a:pt x="1062" y="585"/>
                    </a:lnTo>
                    <a:lnTo>
                      <a:pt x="1070" y="579"/>
                    </a:lnTo>
                    <a:lnTo>
                      <a:pt x="1095" y="582"/>
                    </a:lnTo>
                    <a:lnTo>
                      <a:pt x="1107" y="580"/>
                    </a:lnTo>
                    <a:lnTo>
                      <a:pt x="1118" y="580"/>
                    </a:lnTo>
                    <a:lnTo>
                      <a:pt x="1125" y="588"/>
                    </a:lnTo>
                    <a:lnTo>
                      <a:pt x="1137" y="604"/>
                    </a:lnTo>
                    <a:lnTo>
                      <a:pt x="1149" y="625"/>
                    </a:lnTo>
                    <a:lnTo>
                      <a:pt x="1155" y="631"/>
                    </a:lnTo>
                    <a:lnTo>
                      <a:pt x="1169" y="633"/>
                    </a:lnTo>
                    <a:lnTo>
                      <a:pt x="1172" y="664"/>
                    </a:lnTo>
                    <a:lnTo>
                      <a:pt x="1212" y="696"/>
                    </a:lnTo>
                    <a:lnTo>
                      <a:pt x="1206" y="706"/>
                    </a:lnTo>
                    <a:close/>
                  </a:path>
                </a:pathLst>
              </a:custGeom>
              <a:no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300" name="Freeform 369">
                <a:extLst>
                  <a:ext uri="{FF2B5EF4-FFF2-40B4-BE49-F238E27FC236}">
                    <a16:creationId xmlns:a16="http://schemas.microsoft.com/office/drawing/2014/main" id="{A566EB6B-632E-8590-0B98-1852F5F6639F}"/>
                  </a:ext>
                </a:extLst>
              </p:cNvPr>
              <p:cNvSpPr>
                <a:spLocks/>
              </p:cNvSpPr>
              <p:nvPr/>
            </p:nvSpPr>
            <p:spPr bwMode="auto">
              <a:xfrm>
                <a:off x="4468" y="2136"/>
                <a:ext cx="413" cy="523"/>
              </a:xfrm>
              <a:custGeom>
                <a:avLst/>
                <a:gdLst>
                  <a:gd name="T0" fmla="*/ 0 w 1240"/>
                  <a:gd name="T1" fmla="*/ 0 h 1568"/>
                  <a:gd name="T2" fmla="*/ 0 w 1240"/>
                  <a:gd name="T3" fmla="*/ 0 h 1568"/>
                  <a:gd name="T4" fmla="*/ 0 w 1240"/>
                  <a:gd name="T5" fmla="*/ 0 h 1568"/>
                  <a:gd name="T6" fmla="*/ 0 w 1240"/>
                  <a:gd name="T7" fmla="*/ 0 h 1568"/>
                  <a:gd name="T8" fmla="*/ 0 w 1240"/>
                  <a:gd name="T9" fmla="*/ 0 h 1568"/>
                  <a:gd name="T10" fmla="*/ 0 w 1240"/>
                  <a:gd name="T11" fmla="*/ 0 h 1568"/>
                  <a:gd name="T12" fmla="*/ 0 w 1240"/>
                  <a:gd name="T13" fmla="*/ 0 h 1568"/>
                  <a:gd name="T14" fmla="*/ 0 w 1240"/>
                  <a:gd name="T15" fmla="*/ 0 h 1568"/>
                  <a:gd name="T16" fmla="*/ 0 w 1240"/>
                  <a:gd name="T17" fmla="*/ 0 h 1568"/>
                  <a:gd name="T18" fmla="*/ 0 w 1240"/>
                  <a:gd name="T19" fmla="*/ 0 h 1568"/>
                  <a:gd name="T20" fmla="*/ 0 w 1240"/>
                  <a:gd name="T21" fmla="*/ 0 h 1568"/>
                  <a:gd name="T22" fmla="*/ 0 w 1240"/>
                  <a:gd name="T23" fmla="*/ 0 h 1568"/>
                  <a:gd name="T24" fmla="*/ 0 w 1240"/>
                  <a:gd name="T25" fmla="*/ 0 h 1568"/>
                  <a:gd name="T26" fmla="*/ 0 w 1240"/>
                  <a:gd name="T27" fmla="*/ 0 h 1568"/>
                  <a:gd name="T28" fmla="*/ 0 w 1240"/>
                  <a:gd name="T29" fmla="*/ 0 h 1568"/>
                  <a:gd name="T30" fmla="*/ 0 w 1240"/>
                  <a:gd name="T31" fmla="*/ 0 h 1568"/>
                  <a:gd name="T32" fmla="*/ 0 w 1240"/>
                  <a:gd name="T33" fmla="*/ 0 h 1568"/>
                  <a:gd name="T34" fmla="*/ 0 w 1240"/>
                  <a:gd name="T35" fmla="*/ 0 h 1568"/>
                  <a:gd name="T36" fmla="*/ 0 w 1240"/>
                  <a:gd name="T37" fmla="*/ 0 h 1568"/>
                  <a:gd name="T38" fmla="*/ 0 w 1240"/>
                  <a:gd name="T39" fmla="*/ 0 h 1568"/>
                  <a:gd name="T40" fmla="*/ 0 w 1240"/>
                  <a:gd name="T41" fmla="*/ 0 h 1568"/>
                  <a:gd name="T42" fmla="*/ 0 w 1240"/>
                  <a:gd name="T43" fmla="*/ 0 h 1568"/>
                  <a:gd name="T44" fmla="*/ 0 w 1240"/>
                  <a:gd name="T45" fmla="*/ 0 h 1568"/>
                  <a:gd name="T46" fmla="*/ 0 w 1240"/>
                  <a:gd name="T47" fmla="*/ 0 h 1568"/>
                  <a:gd name="T48" fmla="*/ 0 w 1240"/>
                  <a:gd name="T49" fmla="*/ 0 h 1568"/>
                  <a:gd name="T50" fmla="*/ 0 w 1240"/>
                  <a:gd name="T51" fmla="*/ 0 h 1568"/>
                  <a:gd name="T52" fmla="*/ 0 w 1240"/>
                  <a:gd name="T53" fmla="*/ 0 h 1568"/>
                  <a:gd name="T54" fmla="*/ 0 w 1240"/>
                  <a:gd name="T55" fmla="*/ 0 h 1568"/>
                  <a:gd name="T56" fmla="*/ 0 w 1240"/>
                  <a:gd name="T57" fmla="*/ 0 h 1568"/>
                  <a:gd name="T58" fmla="*/ 0 w 1240"/>
                  <a:gd name="T59" fmla="*/ 0 h 1568"/>
                  <a:gd name="T60" fmla="*/ 0 w 1240"/>
                  <a:gd name="T61" fmla="*/ 0 h 1568"/>
                  <a:gd name="T62" fmla="*/ 0 w 1240"/>
                  <a:gd name="T63" fmla="*/ 0 h 1568"/>
                  <a:gd name="T64" fmla="*/ 0 w 1240"/>
                  <a:gd name="T65" fmla="*/ 0 h 1568"/>
                  <a:gd name="T66" fmla="*/ 0 w 1240"/>
                  <a:gd name="T67" fmla="*/ 0 h 1568"/>
                  <a:gd name="T68" fmla="*/ 0 w 1240"/>
                  <a:gd name="T69" fmla="*/ 0 h 1568"/>
                  <a:gd name="T70" fmla="*/ 0 w 1240"/>
                  <a:gd name="T71" fmla="*/ 0 h 1568"/>
                  <a:gd name="T72" fmla="*/ 0 w 1240"/>
                  <a:gd name="T73" fmla="*/ 0 h 1568"/>
                  <a:gd name="T74" fmla="*/ 0 w 1240"/>
                  <a:gd name="T75" fmla="*/ 0 h 1568"/>
                  <a:gd name="T76" fmla="*/ 0 w 1240"/>
                  <a:gd name="T77" fmla="*/ 0 h 1568"/>
                  <a:gd name="T78" fmla="*/ 0 w 1240"/>
                  <a:gd name="T79" fmla="*/ 0 h 1568"/>
                  <a:gd name="T80" fmla="*/ 0 w 1240"/>
                  <a:gd name="T81" fmla="*/ 0 h 1568"/>
                  <a:gd name="T82" fmla="*/ 0 w 1240"/>
                  <a:gd name="T83" fmla="*/ 0 h 1568"/>
                  <a:gd name="T84" fmla="*/ 0 w 1240"/>
                  <a:gd name="T85" fmla="*/ 0 h 1568"/>
                  <a:gd name="T86" fmla="*/ 0 w 1240"/>
                  <a:gd name="T87" fmla="*/ 0 h 1568"/>
                  <a:gd name="T88" fmla="*/ 0 w 1240"/>
                  <a:gd name="T89" fmla="*/ 0 h 1568"/>
                  <a:gd name="T90" fmla="*/ 0 w 1240"/>
                  <a:gd name="T91" fmla="*/ 0 h 1568"/>
                  <a:gd name="T92" fmla="*/ 0 w 1240"/>
                  <a:gd name="T93" fmla="*/ 0 h 1568"/>
                  <a:gd name="T94" fmla="*/ 0 w 1240"/>
                  <a:gd name="T95" fmla="*/ 0 h 1568"/>
                  <a:gd name="T96" fmla="*/ 0 w 1240"/>
                  <a:gd name="T97" fmla="*/ 0 h 1568"/>
                  <a:gd name="T98" fmla="*/ 0 w 1240"/>
                  <a:gd name="T99" fmla="*/ 0 h 1568"/>
                  <a:gd name="T100" fmla="*/ 0 w 1240"/>
                  <a:gd name="T101" fmla="*/ 0 h 1568"/>
                  <a:gd name="T102" fmla="*/ 0 w 1240"/>
                  <a:gd name="T103" fmla="*/ 0 h 1568"/>
                  <a:gd name="T104" fmla="*/ 0 w 1240"/>
                  <a:gd name="T105" fmla="*/ 0 h 1568"/>
                  <a:gd name="T106" fmla="*/ 0 w 1240"/>
                  <a:gd name="T107" fmla="*/ 0 h 1568"/>
                  <a:gd name="T108" fmla="*/ 0 w 1240"/>
                  <a:gd name="T109" fmla="*/ 0 h 1568"/>
                  <a:gd name="T110" fmla="*/ 0 w 1240"/>
                  <a:gd name="T111" fmla="*/ 0 h 1568"/>
                  <a:gd name="T112" fmla="*/ 0 w 1240"/>
                  <a:gd name="T113" fmla="*/ 0 h 156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40" h="1568">
                    <a:moveTo>
                      <a:pt x="934" y="725"/>
                    </a:moveTo>
                    <a:lnTo>
                      <a:pt x="937" y="735"/>
                    </a:lnTo>
                    <a:lnTo>
                      <a:pt x="937" y="758"/>
                    </a:lnTo>
                    <a:lnTo>
                      <a:pt x="943" y="768"/>
                    </a:lnTo>
                    <a:lnTo>
                      <a:pt x="939" y="786"/>
                    </a:lnTo>
                    <a:lnTo>
                      <a:pt x="951" y="807"/>
                    </a:lnTo>
                    <a:lnTo>
                      <a:pt x="964" y="816"/>
                    </a:lnTo>
                    <a:lnTo>
                      <a:pt x="972" y="830"/>
                    </a:lnTo>
                    <a:lnTo>
                      <a:pt x="985" y="834"/>
                    </a:lnTo>
                    <a:lnTo>
                      <a:pt x="991" y="840"/>
                    </a:lnTo>
                    <a:lnTo>
                      <a:pt x="1015" y="840"/>
                    </a:lnTo>
                    <a:lnTo>
                      <a:pt x="1015" y="855"/>
                    </a:lnTo>
                    <a:lnTo>
                      <a:pt x="1023" y="861"/>
                    </a:lnTo>
                    <a:lnTo>
                      <a:pt x="1027" y="873"/>
                    </a:lnTo>
                    <a:lnTo>
                      <a:pt x="1048" y="879"/>
                    </a:lnTo>
                    <a:lnTo>
                      <a:pt x="1066" y="872"/>
                    </a:lnTo>
                    <a:lnTo>
                      <a:pt x="1092" y="890"/>
                    </a:lnTo>
                    <a:lnTo>
                      <a:pt x="1080" y="909"/>
                    </a:lnTo>
                    <a:lnTo>
                      <a:pt x="1075" y="948"/>
                    </a:lnTo>
                    <a:lnTo>
                      <a:pt x="1087" y="959"/>
                    </a:lnTo>
                    <a:lnTo>
                      <a:pt x="1084" y="981"/>
                    </a:lnTo>
                    <a:lnTo>
                      <a:pt x="1087" y="995"/>
                    </a:lnTo>
                    <a:lnTo>
                      <a:pt x="1086" y="1010"/>
                    </a:lnTo>
                    <a:lnTo>
                      <a:pt x="1095" y="1023"/>
                    </a:lnTo>
                    <a:lnTo>
                      <a:pt x="1092" y="1041"/>
                    </a:lnTo>
                    <a:lnTo>
                      <a:pt x="1110" y="1053"/>
                    </a:lnTo>
                    <a:lnTo>
                      <a:pt x="1132" y="1052"/>
                    </a:lnTo>
                    <a:lnTo>
                      <a:pt x="1137" y="1056"/>
                    </a:lnTo>
                    <a:lnTo>
                      <a:pt x="1131" y="1065"/>
                    </a:lnTo>
                    <a:lnTo>
                      <a:pt x="1129" y="1076"/>
                    </a:lnTo>
                    <a:lnTo>
                      <a:pt x="1141" y="1080"/>
                    </a:lnTo>
                    <a:lnTo>
                      <a:pt x="1170" y="1083"/>
                    </a:lnTo>
                    <a:lnTo>
                      <a:pt x="1173" y="1101"/>
                    </a:lnTo>
                    <a:lnTo>
                      <a:pt x="1183" y="1121"/>
                    </a:lnTo>
                    <a:lnTo>
                      <a:pt x="1191" y="1128"/>
                    </a:lnTo>
                    <a:lnTo>
                      <a:pt x="1212" y="1131"/>
                    </a:lnTo>
                    <a:lnTo>
                      <a:pt x="1222" y="1146"/>
                    </a:lnTo>
                    <a:lnTo>
                      <a:pt x="1240" y="1154"/>
                    </a:lnTo>
                    <a:lnTo>
                      <a:pt x="1237" y="1170"/>
                    </a:lnTo>
                    <a:lnTo>
                      <a:pt x="1227" y="1179"/>
                    </a:lnTo>
                    <a:lnTo>
                      <a:pt x="1222" y="1211"/>
                    </a:lnTo>
                    <a:lnTo>
                      <a:pt x="1200" y="1226"/>
                    </a:lnTo>
                    <a:lnTo>
                      <a:pt x="1201" y="1244"/>
                    </a:lnTo>
                    <a:lnTo>
                      <a:pt x="1194" y="1248"/>
                    </a:lnTo>
                    <a:lnTo>
                      <a:pt x="1185" y="1245"/>
                    </a:lnTo>
                    <a:lnTo>
                      <a:pt x="1179" y="1256"/>
                    </a:lnTo>
                    <a:lnTo>
                      <a:pt x="1186" y="1269"/>
                    </a:lnTo>
                    <a:lnTo>
                      <a:pt x="1188" y="1284"/>
                    </a:lnTo>
                    <a:lnTo>
                      <a:pt x="1197" y="1295"/>
                    </a:lnTo>
                    <a:lnTo>
                      <a:pt x="1198" y="1308"/>
                    </a:lnTo>
                    <a:lnTo>
                      <a:pt x="1198" y="1329"/>
                    </a:lnTo>
                    <a:lnTo>
                      <a:pt x="1192" y="1346"/>
                    </a:lnTo>
                    <a:lnTo>
                      <a:pt x="1176" y="1343"/>
                    </a:lnTo>
                    <a:lnTo>
                      <a:pt x="1173" y="1350"/>
                    </a:lnTo>
                    <a:lnTo>
                      <a:pt x="1156" y="1367"/>
                    </a:lnTo>
                    <a:lnTo>
                      <a:pt x="1153" y="1379"/>
                    </a:lnTo>
                    <a:lnTo>
                      <a:pt x="1146" y="1383"/>
                    </a:lnTo>
                    <a:lnTo>
                      <a:pt x="1135" y="1367"/>
                    </a:lnTo>
                    <a:lnTo>
                      <a:pt x="1128" y="1365"/>
                    </a:lnTo>
                    <a:lnTo>
                      <a:pt x="1110" y="1379"/>
                    </a:lnTo>
                    <a:lnTo>
                      <a:pt x="1095" y="1376"/>
                    </a:lnTo>
                    <a:lnTo>
                      <a:pt x="1087" y="1382"/>
                    </a:lnTo>
                    <a:lnTo>
                      <a:pt x="1062" y="1389"/>
                    </a:lnTo>
                    <a:lnTo>
                      <a:pt x="1062" y="1398"/>
                    </a:lnTo>
                    <a:lnTo>
                      <a:pt x="1056" y="1404"/>
                    </a:lnTo>
                    <a:lnTo>
                      <a:pt x="1053" y="1427"/>
                    </a:lnTo>
                    <a:lnTo>
                      <a:pt x="1042" y="1433"/>
                    </a:lnTo>
                    <a:lnTo>
                      <a:pt x="1006" y="1434"/>
                    </a:lnTo>
                    <a:lnTo>
                      <a:pt x="1000" y="1445"/>
                    </a:lnTo>
                    <a:lnTo>
                      <a:pt x="1009" y="1469"/>
                    </a:lnTo>
                    <a:lnTo>
                      <a:pt x="973" y="1481"/>
                    </a:lnTo>
                    <a:lnTo>
                      <a:pt x="951" y="1458"/>
                    </a:lnTo>
                    <a:lnTo>
                      <a:pt x="933" y="1452"/>
                    </a:lnTo>
                    <a:lnTo>
                      <a:pt x="916" y="1443"/>
                    </a:lnTo>
                    <a:lnTo>
                      <a:pt x="904" y="1449"/>
                    </a:lnTo>
                    <a:lnTo>
                      <a:pt x="892" y="1469"/>
                    </a:lnTo>
                    <a:lnTo>
                      <a:pt x="880" y="1469"/>
                    </a:lnTo>
                    <a:lnTo>
                      <a:pt x="864" y="1463"/>
                    </a:lnTo>
                    <a:lnTo>
                      <a:pt x="837" y="1472"/>
                    </a:lnTo>
                    <a:lnTo>
                      <a:pt x="828" y="1488"/>
                    </a:lnTo>
                    <a:lnTo>
                      <a:pt x="805" y="1497"/>
                    </a:lnTo>
                    <a:lnTo>
                      <a:pt x="798" y="1502"/>
                    </a:lnTo>
                    <a:lnTo>
                      <a:pt x="796" y="1497"/>
                    </a:lnTo>
                    <a:lnTo>
                      <a:pt x="757" y="1488"/>
                    </a:lnTo>
                    <a:lnTo>
                      <a:pt x="748" y="1494"/>
                    </a:lnTo>
                    <a:lnTo>
                      <a:pt x="742" y="1503"/>
                    </a:lnTo>
                    <a:lnTo>
                      <a:pt x="721" y="1514"/>
                    </a:lnTo>
                    <a:lnTo>
                      <a:pt x="706" y="1506"/>
                    </a:lnTo>
                    <a:lnTo>
                      <a:pt x="681" y="1521"/>
                    </a:lnTo>
                    <a:lnTo>
                      <a:pt x="696" y="1542"/>
                    </a:lnTo>
                    <a:lnTo>
                      <a:pt x="685" y="1562"/>
                    </a:lnTo>
                    <a:lnTo>
                      <a:pt x="657" y="1568"/>
                    </a:lnTo>
                    <a:lnTo>
                      <a:pt x="645" y="1553"/>
                    </a:lnTo>
                    <a:lnTo>
                      <a:pt x="631" y="1559"/>
                    </a:lnTo>
                    <a:lnTo>
                      <a:pt x="622" y="1550"/>
                    </a:lnTo>
                    <a:lnTo>
                      <a:pt x="604" y="1556"/>
                    </a:lnTo>
                    <a:lnTo>
                      <a:pt x="586" y="1548"/>
                    </a:lnTo>
                    <a:lnTo>
                      <a:pt x="589" y="1539"/>
                    </a:lnTo>
                    <a:lnTo>
                      <a:pt x="591" y="1535"/>
                    </a:lnTo>
                    <a:lnTo>
                      <a:pt x="585" y="1506"/>
                    </a:lnTo>
                    <a:lnTo>
                      <a:pt x="570" y="1497"/>
                    </a:lnTo>
                    <a:lnTo>
                      <a:pt x="558" y="1503"/>
                    </a:lnTo>
                    <a:lnTo>
                      <a:pt x="538" y="1505"/>
                    </a:lnTo>
                    <a:lnTo>
                      <a:pt x="510" y="1491"/>
                    </a:lnTo>
                    <a:lnTo>
                      <a:pt x="505" y="1484"/>
                    </a:lnTo>
                    <a:lnTo>
                      <a:pt x="505" y="1481"/>
                    </a:lnTo>
                    <a:lnTo>
                      <a:pt x="510" y="1472"/>
                    </a:lnTo>
                    <a:lnTo>
                      <a:pt x="495" y="1457"/>
                    </a:lnTo>
                    <a:lnTo>
                      <a:pt x="477" y="1466"/>
                    </a:lnTo>
                    <a:lnTo>
                      <a:pt x="468" y="1452"/>
                    </a:lnTo>
                    <a:lnTo>
                      <a:pt x="444" y="1440"/>
                    </a:lnTo>
                    <a:lnTo>
                      <a:pt x="430" y="1449"/>
                    </a:lnTo>
                    <a:lnTo>
                      <a:pt x="420" y="1455"/>
                    </a:lnTo>
                    <a:lnTo>
                      <a:pt x="414" y="1451"/>
                    </a:lnTo>
                    <a:lnTo>
                      <a:pt x="414" y="1440"/>
                    </a:lnTo>
                    <a:lnTo>
                      <a:pt x="420" y="1428"/>
                    </a:lnTo>
                    <a:lnTo>
                      <a:pt x="421" y="1412"/>
                    </a:lnTo>
                    <a:lnTo>
                      <a:pt x="423" y="1401"/>
                    </a:lnTo>
                    <a:lnTo>
                      <a:pt x="420" y="1391"/>
                    </a:lnTo>
                    <a:lnTo>
                      <a:pt x="408" y="1380"/>
                    </a:lnTo>
                    <a:lnTo>
                      <a:pt x="406" y="1370"/>
                    </a:lnTo>
                    <a:lnTo>
                      <a:pt x="394" y="1353"/>
                    </a:lnTo>
                    <a:lnTo>
                      <a:pt x="396" y="1346"/>
                    </a:lnTo>
                    <a:lnTo>
                      <a:pt x="402" y="1341"/>
                    </a:lnTo>
                    <a:lnTo>
                      <a:pt x="409" y="1322"/>
                    </a:lnTo>
                    <a:lnTo>
                      <a:pt x="408" y="1317"/>
                    </a:lnTo>
                    <a:lnTo>
                      <a:pt x="402" y="1298"/>
                    </a:lnTo>
                    <a:lnTo>
                      <a:pt x="414" y="1280"/>
                    </a:lnTo>
                    <a:lnTo>
                      <a:pt x="421" y="1268"/>
                    </a:lnTo>
                    <a:lnTo>
                      <a:pt x="445" y="1256"/>
                    </a:lnTo>
                    <a:lnTo>
                      <a:pt x="447" y="1242"/>
                    </a:lnTo>
                    <a:lnTo>
                      <a:pt x="450" y="1236"/>
                    </a:lnTo>
                    <a:lnTo>
                      <a:pt x="453" y="1221"/>
                    </a:lnTo>
                    <a:lnTo>
                      <a:pt x="439" y="1218"/>
                    </a:lnTo>
                    <a:lnTo>
                      <a:pt x="435" y="1214"/>
                    </a:lnTo>
                    <a:lnTo>
                      <a:pt x="444" y="1212"/>
                    </a:lnTo>
                    <a:lnTo>
                      <a:pt x="450" y="1206"/>
                    </a:lnTo>
                    <a:lnTo>
                      <a:pt x="447" y="1188"/>
                    </a:lnTo>
                    <a:lnTo>
                      <a:pt x="436" y="1166"/>
                    </a:lnTo>
                    <a:lnTo>
                      <a:pt x="418" y="1155"/>
                    </a:lnTo>
                    <a:lnTo>
                      <a:pt x="409" y="1139"/>
                    </a:lnTo>
                    <a:lnTo>
                      <a:pt x="400" y="1119"/>
                    </a:lnTo>
                    <a:lnTo>
                      <a:pt x="379" y="1127"/>
                    </a:lnTo>
                    <a:lnTo>
                      <a:pt x="373" y="1122"/>
                    </a:lnTo>
                    <a:lnTo>
                      <a:pt x="358" y="1121"/>
                    </a:lnTo>
                    <a:lnTo>
                      <a:pt x="354" y="1118"/>
                    </a:lnTo>
                    <a:lnTo>
                      <a:pt x="340" y="1119"/>
                    </a:lnTo>
                    <a:lnTo>
                      <a:pt x="306" y="1101"/>
                    </a:lnTo>
                    <a:lnTo>
                      <a:pt x="307" y="1080"/>
                    </a:lnTo>
                    <a:lnTo>
                      <a:pt x="289" y="1077"/>
                    </a:lnTo>
                    <a:lnTo>
                      <a:pt x="283" y="1064"/>
                    </a:lnTo>
                    <a:lnTo>
                      <a:pt x="271" y="1059"/>
                    </a:lnTo>
                    <a:lnTo>
                      <a:pt x="261" y="1070"/>
                    </a:lnTo>
                    <a:lnTo>
                      <a:pt x="234" y="1076"/>
                    </a:lnTo>
                    <a:lnTo>
                      <a:pt x="237" y="1098"/>
                    </a:lnTo>
                    <a:lnTo>
                      <a:pt x="234" y="1118"/>
                    </a:lnTo>
                    <a:lnTo>
                      <a:pt x="225" y="1130"/>
                    </a:lnTo>
                    <a:lnTo>
                      <a:pt x="222" y="1140"/>
                    </a:lnTo>
                    <a:lnTo>
                      <a:pt x="223" y="1157"/>
                    </a:lnTo>
                    <a:lnTo>
                      <a:pt x="240" y="1146"/>
                    </a:lnTo>
                    <a:lnTo>
                      <a:pt x="235" y="1161"/>
                    </a:lnTo>
                    <a:lnTo>
                      <a:pt x="217" y="1179"/>
                    </a:lnTo>
                    <a:lnTo>
                      <a:pt x="208" y="1176"/>
                    </a:lnTo>
                    <a:lnTo>
                      <a:pt x="207" y="1161"/>
                    </a:lnTo>
                    <a:lnTo>
                      <a:pt x="187" y="1157"/>
                    </a:lnTo>
                    <a:lnTo>
                      <a:pt x="180" y="1149"/>
                    </a:lnTo>
                    <a:lnTo>
                      <a:pt x="169" y="1143"/>
                    </a:lnTo>
                    <a:lnTo>
                      <a:pt x="151" y="1139"/>
                    </a:lnTo>
                    <a:lnTo>
                      <a:pt x="147" y="1136"/>
                    </a:lnTo>
                    <a:lnTo>
                      <a:pt x="142" y="1133"/>
                    </a:lnTo>
                    <a:lnTo>
                      <a:pt x="136" y="1121"/>
                    </a:lnTo>
                    <a:lnTo>
                      <a:pt x="114" y="1119"/>
                    </a:lnTo>
                    <a:lnTo>
                      <a:pt x="109" y="1127"/>
                    </a:lnTo>
                    <a:lnTo>
                      <a:pt x="94" y="1125"/>
                    </a:lnTo>
                    <a:lnTo>
                      <a:pt x="88" y="1113"/>
                    </a:lnTo>
                    <a:lnTo>
                      <a:pt x="90" y="1092"/>
                    </a:lnTo>
                    <a:lnTo>
                      <a:pt x="85" y="1080"/>
                    </a:lnTo>
                    <a:lnTo>
                      <a:pt x="81" y="1073"/>
                    </a:lnTo>
                    <a:lnTo>
                      <a:pt x="70" y="1058"/>
                    </a:lnTo>
                    <a:lnTo>
                      <a:pt x="58" y="1031"/>
                    </a:lnTo>
                    <a:lnTo>
                      <a:pt x="54" y="1020"/>
                    </a:lnTo>
                    <a:lnTo>
                      <a:pt x="42" y="1016"/>
                    </a:lnTo>
                    <a:lnTo>
                      <a:pt x="40" y="1008"/>
                    </a:lnTo>
                    <a:lnTo>
                      <a:pt x="43" y="999"/>
                    </a:lnTo>
                    <a:lnTo>
                      <a:pt x="36" y="989"/>
                    </a:lnTo>
                    <a:lnTo>
                      <a:pt x="19" y="962"/>
                    </a:lnTo>
                    <a:lnTo>
                      <a:pt x="12" y="948"/>
                    </a:lnTo>
                    <a:lnTo>
                      <a:pt x="0" y="927"/>
                    </a:lnTo>
                    <a:lnTo>
                      <a:pt x="0" y="917"/>
                    </a:lnTo>
                    <a:lnTo>
                      <a:pt x="10" y="920"/>
                    </a:lnTo>
                    <a:lnTo>
                      <a:pt x="21" y="902"/>
                    </a:lnTo>
                    <a:lnTo>
                      <a:pt x="46" y="888"/>
                    </a:lnTo>
                    <a:lnTo>
                      <a:pt x="48" y="887"/>
                    </a:lnTo>
                    <a:lnTo>
                      <a:pt x="48" y="873"/>
                    </a:lnTo>
                    <a:lnTo>
                      <a:pt x="46" y="860"/>
                    </a:lnTo>
                    <a:lnTo>
                      <a:pt x="60" y="849"/>
                    </a:lnTo>
                    <a:lnTo>
                      <a:pt x="69" y="836"/>
                    </a:lnTo>
                    <a:lnTo>
                      <a:pt x="63" y="822"/>
                    </a:lnTo>
                    <a:lnTo>
                      <a:pt x="60" y="816"/>
                    </a:lnTo>
                    <a:lnTo>
                      <a:pt x="61" y="810"/>
                    </a:lnTo>
                    <a:lnTo>
                      <a:pt x="78" y="810"/>
                    </a:lnTo>
                    <a:lnTo>
                      <a:pt x="84" y="810"/>
                    </a:lnTo>
                    <a:lnTo>
                      <a:pt x="88" y="809"/>
                    </a:lnTo>
                    <a:lnTo>
                      <a:pt x="102" y="813"/>
                    </a:lnTo>
                    <a:lnTo>
                      <a:pt x="108" y="807"/>
                    </a:lnTo>
                    <a:lnTo>
                      <a:pt x="112" y="800"/>
                    </a:lnTo>
                    <a:lnTo>
                      <a:pt x="118" y="794"/>
                    </a:lnTo>
                    <a:lnTo>
                      <a:pt x="120" y="783"/>
                    </a:lnTo>
                    <a:lnTo>
                      <a:pt x="114" y="773"/>
                    </a:lnTo>
                    <a:lnTo>
                      <a:pt x="123" y="768"/>
                    </a:lnTo>
                    <a:lnTo>
                      <a:pt x="124" y="762"/>
                    </a:lnTo>
                    <a:lnTo>
                      <a:pt x="121" y="753"/>
                    </a:lnTo>
                    <a:lnTo>
                      <a:pt x="123" y="737"/>
                    </a:lnTo>
                    <a:lnTo>
                      <a:pt x="124" y="726"/>
                    </a:lnTo>
                    <a:lnTo>
                      <a:pt x="126" y="707"/>
                    </a:lnTo>
                    <a:lnTo>
                      <a:pt x="126" y="683"/>
                    </a:lnTo>
                    <a:lnTo>
                      <a:pt x="133" y="675"/>
                    </a:lnTo>
                    <a:lnTo>
                      <a:pt x="139" y="651"/>
                    </a:lnTo>
                    <a:lnTo>
                      <a:pt x="145" y="636"/>
                    </a:lnTo>
                    <a:lnTo>
                      <a:pt x="150" y="630"/>
                    </a:lnTo>
                    <a:lnTo>
                      <a:pt x="151" y="615"/>
                    </a:lnTo>
                    <a:lnTo>
                      <a:pt x="153" y="605"/>
                    </a:lnTo>
                    <a:lnTo>
                      <a:pt x="157" y="585"/>
                    </a:lnTo>
                    <a:lnTo>
                      <a:pt x="160" y="572"/>
                    </a:lnTo>
                    <a:lnTo>
                      <a:pt x="156" y="558"/>
                    </a:lnTo>
                    <a:lnTo>
                      <a:pt x="159" y="548"/>
                    </a:lnTo>
                    <a:lnTo>
                      <a:pt x="160" y="540"/>
                    </a:lnTo>
                    <a:lnTo>
                      <a:pt x="165" y="531"/>
                    </a:lnTo>
                    <a:lnTo>
                      <a:pt x="166" y="515"/>
                    </a:lnTo>
                    <a:lnTo>
                      <a:pt x="165" y="509"/>
                    </a:lnTo>
                    <a:lnTo>
                      <a:pt x="165" y="501"/>
                    </a:lnTo>
                    <a:lnTo>
                      <a:pt x="157" y="497"/>
                    </a:lnTo>
                    <a:lnTo>
                      <a:pt x="148" y="491"/>
                    </a:lnTo>
                    <a:lnTo>
                      <a:pt x="144" y="480"/>
                    </a:lnTo>
                    <a:lnTo>
                      <a:pt x="145" y="464"/>
                    </a:lnTo>
                    <a:lnTo>
                      <a:pt x="142" y="453"/>
                    </a:lnTo>
                    <a:lnTo>
                      <a:pt x="145" y="438"/>
                    </a:lnTo>
                    <a:lnTo>
                      <a:pt x="144" y="420"/>
                    </a:lnTo>
                    <a:lnTo>
                      <a:pt x="147" y="410"/>
                    </a:lnTo>
                    <a:lnTo>
                      <a:pt x="147" y="407"/>
                    </a:lnTo>
                    <a:lnTo>
                      <a:pt x="144" y="399"/>
                    </a:lnTo>
                    <a:lnTo>
                      <a:pt x="144" y="393"/>
                    </a:lnTo>
                    <a:lnTo>
                      <a:pt x="145" y="378"/>
                    </a:lnTo>
                    <a:lnTo>
                      <a:pt x="153" y="366"/>
                    </a:lnTo>
                    <a:lnTo>
                      <a:pt x="156" y="360"/>
                    </a:lnTo>
                    <a:lnTo>
                      <a:pt x="153" y="353"/>
                    </a:lnTo>
                    <a:lnTo>
                      <a:pt x="159" y="348"/>
                    </a:lnTo>
                    <a:lnTo>
                      <a:pt x="168" y="350"/>
                    </a:lnTo>
                    <a:lnTo>
                      <a:pt x="171" y="359"/>
                    </a:lnTo>
                    <a:lnTo>
                      <a:pt x="183" y="368"/>
                    </a:lnTo>
                    <a:lnTo>
                      <a:pt x="202" y="372"/>
                    </a:lnTo>
                    <a:lnTo>
                      <a:pt x="211" y="368"/>
                    </a:lnTo>
                    <a:lnTo>
                      <a:pt x="208" y="356"/>
                    </a:lnTo>
                    <a:lnTo>
                      <a:pt x="207" y="336"/>
                    </a:lnTo>
                    <a:lnTo>
                      <a:pt x="216" y="330"/>
                    </a:lnTo>
                    <a:lnTo>
                      <a:pt x="225" y="327"/>
                    </a:lnTo>
                    <a:lnTo>
                      <a:pt x="234" y="318"/>
                    </a:lnTo>
                    <a:lnTo>
                      <a:pt x="247" y="321"/>
                    </a:lnTo>
                    <a:lnTo>
                      <a:pt x="255" y="321"/>
                    </a:lnTo>
                    <a:lnTo>
                      <a:pt x="267" y="324"/>
                    </a:lnTo>
                    <a:lnTo>
                      <a:pt x="283" y="317"/>
                    </a:lnTo>
                    <a:lnTo>
                      <a:pt x="289" y="306"/>
                    </a:lnTo>
                    <a:lnTo>
                      <a:pt x="316" y="311"/>
                    </a:lnTo>
                    <a:lnTo>
                      <a:pt x="322" y="315"/>
                    </a:lnTo>
                    <a:lnTo>
                      <a:pt x="330" y="314"/>
                    </a:lnTo>
                    <a:lnTo>
                      <a:pt x="337" y="305"/>
                    </a:lnTo>
                    <a:lnTo>
                      <a:pt x="340" y="299"/>
                    </a:lnTo>
                    <a:lnTo>
                      <a:pt x="375" y="299"/>
                    </a:lnTo>
                    <a:lnTo>
                      <a:pt x="376" y="305"/>
                    </a:lnTo>
                    <a:lnTo>
                      <a:pt x="394" y="309"/>
                    </a:lnTo>
                    <a:lnTo>
                      <a:pt x="408" y="308"/>
                    </a:lnTo>
                    <a:lnTo>
                      <a:pt x="412" y="303"/>
                    </a:lnTo>
                    <a:lnTo>
                      <a:pt x="415" y="297"/>
                    </a:lnTo>
                    <a:lnTo>
                      <a:pt x="430" y="291"/>
                    </a:lnTo>
                    <a:lnTo>
                      <a:pt x="442" y="287"/>
                    </a:lnTo>
                    <a:lnTo>
                      <a:pt x="448" y="282"/>
                    </a:lnTo>
                    <a:lnTo>
                      <a:pt x="450" y="269"/>
                    </a:lnTo>
                    <a:lnTo>
                      <a:pt x="451" y="261"/>
                    </a:lnTo>
                    <a:lnTo>
                      <a:pt x="468" y="245"/>
                    </a:lnTo>
                    <a:lnTo>
                      <a:pt x="478" y="236"/>
                    </a:lnTo>
                    <a:lnTo>
                      <a:pt x="481" y="237"/>
                    </a:lnTo>
                    <a:lnTo>
                      <a:pt x="504" y="228"/>
                    </a:lnTo>
                    <a:lnTo>
                      <a:pt x="516" y="224"/>
                    </a:lnTo>
                    <a:lnTo>
                      <a:pt x="534" y="212"/>
                    </a:lnTo>
                    <a:lnTo>
                      <a:pt x="543" y="200"/>
                    </a:lnTo>
                    <a:lnTo>
                      <a:pt x="546" y="182"/>
                    </a:lnTo>
                    <a:lnTo>
                      <a:pt x="544" y="177"/>
                    </a:lnTo>
                    <a:lnTo>
                      <a:pt x="537" y="179"/>
                    </a:lnTo>
                    <a:lnTo>
                      <a:pt x="534" y="176"/>
                    </a:lnTo>
                    <a:lnTo>
                      <a:pt x="535" y="168"/>
                    </a:lnTo>
                    <a:lnTo>
                      <a:pt x="531" y="168"/>
                    </a:lnTo>
                    <a:lnTo>
                      <a:pt x="523" y="179"/>
                    </a:lnTo>
                    <a:lnTo>
                      <a:pt x="514" y="185"/>
                    </a:lnTo>
                    <a:lnTo>
                      <a:pt x="507" y="182"/>
                    </a:lnTo>
                    <a:lnTo>
                      <a:pt x="496" y="168"/>
                    </a:lnTo>
                    <a:lnTo>
                      <a:pt x="489" y="152"/>
                    </a:lnTo>
                    <a:lnTo>
                      <a:pt x="489" y="144"/>
                    </a:lnTo>
                    <a:lnTo>
                      <a:pt x="498" y="138"/>
                    </a:lnTo>
                    <a:lnTo>
                      <a:pt x="493" y="120"/>
                    </a:lnTo>
                    <a:lnTo>
                      <a:pt x="513" y="84"/>
                    </a:lnTo>
                    <a:lnTo>
                      <a:pt x="517" y="71"/>
                    </a:lnTo>
                    <a:lnTo>
                      <a:pt x="531" y="57"/>
                    </a:lnTo>
                    <a:lnTo>
                      <a:pt x="540" y="48"/>
                    </a:lnTo>
                    <a:lnTo>
                      <a:pt x="552" y="44"/>
                    </a:lnTo>
                    <a:lnTo>
                      <a:pt x="567" y="42"/>
                    </a:lnTo>
                    <a:lnTo>
                      <a:pt x="574" y="45"/>
                    </a:lnTo>
                    <a:lnTo>
                      <a:pt x="585" y="71"/>
                    </a:lnTo>
                    <a:lnTo>
                      <a:pt x="597" y="77"/>
                    </a:lnTo>
                    <a:lnTo>
                      <a:pt x="606" y="78"/>
                    </a:lnTo>
                    <a:lnTo>
                      <a:pt x="612" y="77"/>
                    </a:lnTo>
                    <a:lnTo>
                      <a:pt x="622" y="62"/>
                    </a:lnTo>
                    <a:lnTo>
                      <a:pt x="627" y="56"/>
                    </a:lnTo>
                    <a:lnTo>
                      <a:pt x="646" y="53"/>
                    </a:lnTo>
                    <a:lnTo>
                      <a:pt x="655" y="51"/>
                    </a:lnTo>
                    <a:lnTo>
                      <a:pt x="679" y="33"/>
                    </a:lnTo>
                    <a:lnTo>
                      <a:pt x="681" y="18"/>
                    </a:lnTo>
                    <a:lnTo>
                      <a:pt x="699" y="8"/>
                    </a:lnTo>
                    <a:lnTo>
                      <a:pt x="709" y="6"/>
                    </a:lnTo>
                    <a:lnTo>
                      <a:pt x="717" y="8"/>
                    </a:lnTo>
                    <a:lnTo>
                      <a:pt x="724" y="17"/>
                    </a:lnTo>
                    <a:lnTo>
                      <a:pt x="735" y="17"/>
                    </a:lnTo>
                    <a:lnTo>
                      <a:pt x="751" y="9"/>
                    </a:lnTo>
                    <a:lnTo>
                      <a:pt x="771" y="5"/>
                    </a:lnTo>
                    <a:lnTo>
                      <a:pt x="786" y="5"/>
                    </a:lnTo>
                    <a:lnTo>
                      <a:pt x="807" y="5"/>
                    </a:lnTo>
                    <a:lnTo>
                      <a:pt x="837" y="5"/>
                    </a:lnTo>
                    <a:lnTo>
                      <a:pt x="852" y="0"/>
                    </a:lnTo>
                    <a:lnTo>
                      <a:pt x="865" y="2"/>
                    </a:lnTo>
                    <a:lnTo>
                      <a:pt x="885" y="5"/>
                    </a:lnTo>
                    <a:lnTo>
                      <a:pt x="897" y="9"/>
                    </a:lnTo>
                    <a:lnTo>
                      <a:pt x="922" y="15"/>
                    </a:lnTo>
                    <a:lnTo>
                      <a:pt x="934" y="17"/>
                    </a:lnTo>
                    <a:lnTo>
                      <a:pt x="936" y="27"/>
                    </a:lnTo>
                    <a:lnTo>
                      <a:pt x="936" y="33"/>
                    </a:lnTo>
                    <a:lnTo>
                      <a:pt x="925" y="47"/>
                    </a:lnTo>
                    <a:lnTo>
                      <a:pt x="913" y="51"/>
                    </a:lnTo>
                    <a:lnTo>
                      <a:pt x="907" y="60"/>
                    </a:lnTo>
                    <a:lnTo>
                      <a:pt x="912" y="71"/>
                    </a:lnTo>
                    <a:lnTo>
                      <a:pt x="921" y="89"/>
                    </a:lnTo>
                    <a:lnTo>
                      <a:pt x="928" y="89"/>
                    </a:lnTo>
                    <a:lnTo>
                      <a:pt x="930" y="101"/>
                    </a:lnTo>
                    <a:lnTo>
                      <a:pt x="946" y="108"/>
                    </a:lnTo>
                    <a:lnTo>
                      <a:pt x="952" y="116"/>
                    </a:lnTo>
                    <a:lnTo>
                      <a:pt x="960" y="128"/>
                    </a:lnTo>
                    <a:lnTo>
                      <a:pt x="972" y="138"/>
                    </a:lnTo>
                    <a:lnTo>
                      <a:pt x="979" y="140"/>
                    </a:lnTo>
                    <a:lnTo>
                      <a:pt x="982" y="150"/>
                    </a:lnTo>
                    <a:lnTo>
                      <a:pt x="975" y="179"/>
                    </a:lnTo>
                    <a:lnTo>
                      <a:pt x="961" y="186"/>
                    </a:lnTo>
                    <a:lnTo>
                      <a:pt x="958" y="197"/>
                    </a:lnTo>
                    <a:lnTo>
                      <a:pt x="949" y="204"/>
                    </a:lnTo>
                    <a:lnTo>
                      <a:pt x="948" y="215"/>
                    </a:lnTo>
                    <a:lnTo>
                      <a:pt x="936" y="233"/>
                    </a:lnTo>
                    <a:lnTo>
                      <a:pt x="937" y="243"/>
                    </a:lnTo>
                    <a:lnTo>
                      <a:pt x="939" y="263"/>
                    </a:lnTo>
                    <a:lnTo>
                      <a:pt x="927" y="282"/>
                    </a:lnTo>
                    <a:lnTo>
                      <a:pt x="924" y="293"/>
                    </a:lnTo>
                    <a:lnTo>
                      <a:pt x="930" y="312"/>
                    </a:lnTo>
                    <a:lnTo>
                      <a:pt x="943" y="321"/>
                    </a:lnTo>
                    <a:lnTo>
                      <a:pt x="963" y="318"/>
                    </a:lnTo>
                    <a:lnTo>
                      <a:pt x="969" y="326"/>
                    </a:lnTo>
                    <a:lnTo>
                      <a:pt x="1008" y="327"/>
                    </a:lnTo>
                    <a:lnTo>
                      <a:pt x="1003" y="345"/>
                    </a:lnTo>
                    <a:lnTo>
                      <a:pt x="999" y="362"/>
                    </a:lnTo>
                    <a:lnTo>
                      <a:pt x="1003" y="377"/>
                    </a:lnTo>
                    <a:lnTo>
                      <a:pt x="999" y="389"/>
                    </a:lnTo>
                    <a:lnTo>
                      <a:pt x="988" y="410"/>
                    </a:lnTo>
                    <a:lnTo>
                      <a:pt x="997" y="420"/>
                    </a:lnTo>
                    <a:lnTo>
                      <a:pt x="1002" y="419"/>
                    </a:lnTo>
                    <a:lnTo>
                      <a:pt x="1032" y="395"/>
                    </a:lnTo>
                    <a:lnTo>
                      <a:pt x="1036" y="395"/>
                    </a:lnTo>
                    <a:lnTo>
                      <a:pt x="1039" y="410"/>
                    </a:lnTo>
                    <a:lnTo>
                      <a:pt x="1050" y="413"/>
                    </a:lnTo>
                    <a:lnTo>
                      <a:pt x="1062" y="435"/>
                    </a:lnTo>
                    <a:lnTo>
                      <a:pt x="1071" y="444"/>
                    </a:lnTo>
                    <a:lnTo>
                      <a:pt x="1080" y="467"/>
                    </a:lnTo>
                    <a:lnTo>
                      <a:pt x="1093" y="471"/>
                    </a:lnTo>
                    <a:lnTo>
                      <a:pt x="1105" y="495"/>
                    </a:lnTo>
                    <a:lnTo>
                      <a:pt x="1098" y="504"/>
                    </a:lnTo>
                    <a:lnTo>
                      <a:pt x="1104" y="518"/>
                    </a:lnTo>
                    <a:lnTo>
                      <a:pt x="1116" y="522"/>
                    </a:lnTo>
                    <a:lnTo>
                      <a:pt x="1120" y="530"/>
                    </a:lnTo>
                    <a:lnTo>
                      <a:pt x="1120" y="546"/>
                    </a:lnTo>
                    <a:lnTo>
                      <a:pt x="1123" y="557"/>
                    </a:lnTo>
                    <a:lnTo>
                      <a:pt x="1107" y="570"/>
                    </a:lnTo>
                    <a:lnTo>
                      <a:pt x="1092" y="587"/>
                    </a:lnTo>
                    <a:lnTo>
                      <a:pt x="1090" y="605"/>
                    </a:lnTo>
                    <a:lnTo>
                      <a:pt x="1084" y="624"/>
                    </a:lnTo>
                    <a:lnTo>
                      <a:pt x="1075" y="623"/>
                    </a:lnTo>
                    <a:lnTo>
                      <a:pt x="1050" y="635"/>
                    </a:lnTo>
                    <a:lnTo>
                      <a:pt x="1042" y="650"/>
                    </a:lnTo>
                    <a:lnTo>
                      <a:pt x="1030" y="650"/>
                    </a:lnTo>
                    <a:lnTo>
                      <a:pt x="1024" y="653"/>
                    </a:lnTo>
                    <a:lnTo>
                      <a:pt x="1003" y="653"/>
                    </a:lnTo>
                    <a:lnTo>
                      <a:pt x="996" y="647"/>
                    </a:lnTo>
                    <a:lnTo>
                      <a:pt x="990" y="651"/>
                    </a:lnTo>
                    <a:lnTo>
                      <a:pt x="990" y="674"/>
                    </a:lnTo>
                    <a:lnTo>
                      <a:pt x="984" y="675"/>
                    </a:lnTo>
                    <a:lnTo>
                      <a:pt x="979" y="663"/>
                    </a:lnTo>
                    <a:lnTo>
                      <a:pt x="969" y="656"/>
                    </a:lnTo>
                    <a:lnTo>
                      <a:pt x="946" y="662"/>
                    </a:lnTo>
                    <a:lnTo>
                      <a:pt x="937" y="683"/>
                    </a:lnTo>
                    <a:lnTo>
                      <a:pt x="940" y="692"/>
                    </a:lnTo>
                    <a:lnTo>
                      <a:pt x="943" y="704"/>
                    </a:lnTo>
                    <a:lnTo>
                      <a:pt x="934" y="725"/>
                    </a:lnTo>
                    <a:close/>
                  </a:path>
                </a:pathLst>
              </a:custGeom>
              <a:no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301" name="Freeform 370">
                <a:extLst>
                  <a:ext uri="{FF2B5EF4-FFF2-40B4-BE49-F238E27FC236}">
                    <a16:creationId xmlns:a16="http://schemas.microsoft.com/office/drawing/2014/main" id="{0C9308FF-9D14-6DDD-D20D-771289F11A8C}"/>
                  </a:ext>
                </a:extLst>
              </p:cNvPr>
              <p:cNvSpPr>
                <a:spLocks/>
              </p:cNvSpPr>
              <p:nvPr/>
            </p:nvSpPr>
            <p:spPr bwMode="auto">
              <a:xfrm>
                <a:off x="4435" y="2813"/>
                <a:ext cx="585" cy="628"/>
              </a:xfrm>
              <a:custGeom>
                <a:avLst/>
                <a:gdLst>
                  <a:gd name="T0" fmla="*/ 0 w 1756"/>
                  <a:gd name="T1" fmla="*/ 0 h 1885"/>
                  <a:gd name="T2" fmla="*/ 0 w 1756"/>
                  <a:gd name="T3" fmla="*/ 0 h 1885"/>
                  <a:gd name="T4" fmla="*/ 0 w 1756"/>
                  <a:gd name="T5" fmla="*/ 0 h 1885"/>
                  <a:gd name="T6" fmla="*/ 0 w 1756"/>
                  <a:gd name="T7" fmla="*/ 0 h 1885"/>
                  <a:gd name="T8" fmla="*/ 0 w 1756"/>
                  <a:gd name="T9" fmla="*/ 0 h 1885"/>
                  <a:gd name="T10" fmla="*/ 0 w 1756"/>
                  <a:gd name="T11" fmla="*/ 0 h 1885"/>
                  <a:gd name="T12" fmla="*/ 0 w 1756"/>
                  <a:gd name="T13" fmla="*/ 0 h 1885"/>
                  <a:gd name="T14" fmla="*/ 0 w 1756"/>
                  <a:gd name="T15" fmla="*/ 0 h 1885"/>
                  <a:gd name="T16" fmla="*/ 0 w 1756"/>
                  <a:gd name="T17" fmla="*/ 0 h 1885"/>
                  <a:gd name="T18" fmla="*/ 0 w 1756"/>
                  <a:gd name="T19" fmla="*/ 0 h 1885"/>
                  <a:gd name="T20" fmla="*/ 0 w 1756"/>
                  <a:gd name="T21" fmla="*/ 0 h 1885"/>
                  <a:gd name="T22" fmla="*/ 0 w 1756"/>
                  <a:gd name="T23" fmla="*/ 0 h 1885"/>
                  <a:gd name="T24" fmla="*/ 0 w 1756"/>
                  <a:gd name="T25" fmla="*/ 0 h 1885"/>
                  <a:gd name="T26" fmla="*/ 0 w 1756"/>
                  <a:gd name="T27" fmla="*/ 0 h 1885"/>
                  <a:gd name="T28" fmla="*/ 0 w 1756"/>
                  <a:gd name="T29" fmla="*/ 0 h 1885"/>
                  <a:gd name="T30" fmla="*/ 0 w 1756"/>
                  <a:gd name="T31" fmla="*/ 0 h 1885"/>
                  <a:gd name="T32" fmla="*/ 0 w 1756"/>
                  <a:gd name="T33" fmla="*/ 0 h 1885"/>
                  <a:gd name="T34" fmla="*/ 0 w 1756"/>
                  <a:gd name="T35" fmla="*/ 0 h 1885"/>
                  <a:gd name="T36" fmla="*/ 0 w 1756"/>
                  <a:gd name="T37" fmla="*/ 0 h 1885"/>
                  <a:gd name="T38" fmla="*/ 0 w 1756"/>
                  <a:gd name="T39" fmla="*/ 0 h 1885"/>
                  <a:gd name="T40" fmla="*/ 0 w 1756"/>
                  <a:gd name="T41" fmla="*/ 0 h 1885"/>
                  <a:gd name="T42" fmla="*/ 0 w 1756"/>
                  <a:gd name="T43" fmla="*/ 0 h 1885"/>
                  <a:gd name="T44" fmla="*/ 0 w 1756"/>
                  <a:gd name="T45" fmla="*/ 0 h 1885"/>
                  <a:gd name="T46" fmla="*/ 0 w 1756"/>
                  <a:gd name="T47" fmla="*/ 0 h 1885"/>
                  <a:gd name="T48" fmla="*/ 0 w 1756"/>
                  <a:gd name="T49" fmla="*/ 0 h 1885"/>
                  <a:gd name="T50" fmla="*/ 0 w 1756"/>
                  <a:gd name="T51" fmla="*/ 0 h 1885"/>
                  <a:gd name="T52" fmla="*/ 0 w 1756"/>
                  <a:gd name="T53" fmla="*/ 0 h 1885"/>
                  <a:gd name="T54" fmla="*/ 0 w 1756"/>
                  <a:gd name="T55" fmla="*/ 0 h 1885"/>
                  <a:gd name="T56" fmla="*/ 0 w 1756"/>
                  <a:gd name="T57" fmla="*/ 0 h 1885"/>
                  <a:gd name="T58" fmla="*/ 0 w 1756"/>
                  <a:gd name="T59" fmla="*/ 0 h 1885"/>
                  <a:gd name="T60" fmla="*/ 0 w 1756"/>
                  <a:gd name="T61" fmla="*/ 0 h 1885"/>
                  <a:gd name="T62" fmla="*/ 0 w 1756"/>
                  <a:gd name="T63" fmla="*/ 0 h 1885"/>
                  <a:gd name="T64" fmla="*/ 0 w 1756"/>
                  <a:gd name="T65" fmla="*/ 0 h 1885"/>
                  <a:gd name="T66" fmla="*/ 0 w 1756"/>
                  <a:gd name="T67" fmla="*/ 0 h 1885"/>
                  <a:gd name="T68" fmla="*/ 0 w 1756"/>
                  <a:gd name="T69" fmla="*/ 0 h 1885"/>
                  <a:gd name="T70" fmla="*/ 0 w 1756"/>
                  <a:gd name="T71" fmla="*/ 0 h 1885"/>
                  <a:gd name="T72" fmla="*/ 0 w 1756"/>
                  <a:gd name="T73" fmla="*/ 0 h 1885"/>
                  <a:gd name="T74" fmla="*/ 0 w 1756"/>
                  <a:gd name="T75" fmla="*/ 0 h 1885"/>
                  <a:gd name="T76" fmla="*/ 0 w 1756"/>
                  <a:gd name="T77" fmla="*/ 0 h 1885"/>
                  <a:gd name="T78" fmla="*/ 0 w 1756"/>
                  <a:gd name="T79" fmla="*/ 0 h 1885"/>
                  <a:gd name="T80" fmla="*/ 0 w 1756"/>
                  <a:gd name="T81" fmla="*/ 0 h 1885"/>
                  <a:gd name="T82" fmla="*/ 0 w 1756"/>
                  <a:gd name="T83" fmla="*/ 0 h 1885"/>
                  <a:gd name="T84" fmla="*/ 0 w 1756"/>
                  <a:gd name="T85" fmla="*/ 0 h 1885"/>
                  <a:gd name="T86" fmla="*/ 0 w 1756"/>
                  <a:gd name="T87" fmla="*/ 0 h 1885"/>
                  <a:gd name="T88" fmla="*/ 0 w 1756"/>
                  <a:gd name="T89" fmla="*/ 0 h 1885"/>
                  <a:gd name="T90" fmla="*/ 0 w 1756"/>
                  <a:gd name="T91" fmla="*/ 0 h 1885"/>
                  <a:gd name="T92" fmla="*/ 0 w 1756"/>
                  <a:gd name="T93" fmla="*/ 0 h 1885"/>
                  <a:gd name="T94" fmla="*/ 0 w 1756"/>
                  <a:gd name="T95" fmla="*/ 0 h 1885"/>
                  <a:gd name="T96" fmla="*/ 0 w 1756"/>
                  <a:gd name="T97" fmla="*/ 0 h 1885"/>
                  <a:gd name="T98" fmla="*/ 0 w 1756"/>
                  <a:gd name="T99" fmla="*/ 0 h 1885"/>
                  <a:gd name="T100" fmla="*/ 0 w 1756"/>
                  <a:gd name="T101" fmla="*/ 0 h 1885"/>
                  <a:gd name="T102" fmla="*/ 0 w 1756"/>
                  <a:gd name="T103" fmla="*/ 0 h 1885"/>
                  <a:gd name="T104" fmla="*/ 0 w 1756"/>
                  <a:gd name="T105" fmla="*/ 0 h 1885"/>
                  <a:gd name="T106" fmla="*/ 0 w 1756"/>
                  <a:gd name="T107" fmla="*/ 0 h 1885"/>
                  <a:gd name="T108" fmla="*/ 0 w 1756"/>
                  <a:gd name="T109" fmla="*/ 0 h 1885"/>
                  <a:gd name="T110" fmla="*/ 0 w 1756"/>
                  <a:gd name="T111" fmla="*/ 0 h 1885"/>
                  <a:gd name="T112" fmla="*/ 0 w 1756"/>
                  <a:gd name="T113" fmla="*/ 0 h 1885"/>
                  <a:gd name="T114" fmla="*/ 0 w 1756"/>
                  <a:gd name="T115" fmla="*/ 0 h 188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756" h="1885">
                    <a:moveTo>
                      <a:pt x="442" y="238"/>
                    </a:moveTo>
                    <a:lnTo>
                      <a:pt x="445" y="232"/>
                    </a:lnTo>
                    <a:lnTo>
                      <a:pt x="453" y="241"/>
                    </a:lnTo>
                    <a:lnTo>
                      <a:pt x="448" y="226"/>
                    </a:lnTo>
                    <a:lnTo>
                      <a:pt x="456" y="223"/>
                    </a:lnTo>
                    <a:lnTo>
                      <a:pt x="459" y="211"/>
                    </a:lnTo>
                    <a:lnTo>
                      <a:pt x="465" y="211"/>
                    </a:lnTo>
                    <a:lnTo>
                      <a:pt x="480" y="213"/>
                    </a:lnTo>
                    <a:lnTo>
                      <a:pt x="492" y="213"/>
                    </a:lnTo>
                    <a:lnTo>
                      <a:pt x="498" y="216"/>
                    </a:lnTo>
                    <a:lnTo>
                      <a:pt x="516" y="225"/>
                    </a:lnTo>
                    <a:lnTo>
                      <a:pt x="517" y="241"/>
                    </a:lnTo>
                    <a:lnTo>
                      <a:pt x="525" y="249"/>
                    </a:lnTo>
                    <a:lnTo>
                      <a:pt x="529" y="250"/>
                    </a:lnTo>
                    <a:lnTo>
                      <a:pt x="532" y="247"/>
                    </a:lnTo>
                    <a:lnTo>
                      <a:pt x="535" y="262"/>
                    </a:lnTo>
                    <a:lnTo>
                      <a:pt x="549" y="270"/>
                    </a:lnTo>
                    <a:lnTo>
                      <a:pt x="580" y="309"/>
                    </a:lnTo>
                    <a:lnTo>
                      <a:pt x="594" y="303"/>
                    </a:lnTo>
                    <a:lnTo>
                      <a:pt x="600" y="279"/>
                    </a:lnTo>
                    <a:lnTo>
                      <a:pt x="592" y="250"/>
                    </a:lnTo>
                    <a:lnTo>
                      <a:pt x="582" y="226"/>
                    </a:lnTo>
                    <a:lnTo>
                      <a:pt x="609" y="222"/>
                    </a:lnTo>
                    <a:lnTo>
                      <a:pt x="616" y="210"/>
                    </a:lnTo>
                    <a:lnTo>
                      <a:pt x="628" y="207"/>
                    </a:lnTo>
                    <a:lnTo>
                      <a:pt x="639" y="214"/>
                    </a:lnTo>
                    <a:lnTo>
                      <a:pt x="643" y="219"/>
                    </a:lnTo>
                    <a:lnTo>
                      <a:pt x="655" y="219"/>
                    </a:lnTo>
                    <a:lnTo>
                      <a:pt x="663" y="201"/>
                    </a:lnTo>
                    <a:lnTo>
                      <a:pt x="660" y="190"/>
                    </a:lnTo>
                    <a:lnTo>
                      <a:pt x="667" y="178"/>
                    </a:lnTo>
                    <a:lnTo>
                      <a:pt x="664" y="168"/>
                    </a:lnTo>
                    <a:lnTo>
                      <a:pt x="684" y="156"/>
                    </a:lnTo>
                    <a:lnTo>
                      <a:pt x="685" y="166"/>
                    </a:lnTo>
                    <a:lnTo>
                      <a:pt x="705" y="183"/>
                    </a:lnTo>
                    <a:lnTo>
                      <a:pt x="718" y="193"/>
                    </a:lnTo>
                    <a:lnTo>
                      <a:pt x="718" y="201"/>
                    </a:lnTo>
                    <a:lnTo>
                      <a:pt x="729" y="214"/>
                    </a:lnTo>
                    <a:lnTo>
                      <a:pt x="742" y="207"/>
                    </a:lnTo>
                    <a:lnTo>
                      <a:pt x="754" y="216"/>
                    </a:lnTo>
                    <a:lnTo>
                      <a:pt x="760" y="220"/>
                    </a:lnTo>
                    <a:lnTo>
                      <a:pt x="763" y="234"/>
                    </a:lnTo>
                    <a:lnTo>
                      <a:pt x="774" y="234"/>
                    </a:lnTo>
                    <a:lnTo>
                      <a:pt x="780" y="232"/>
                    </a:lnTo>
                    <a:lnTo>
                      <a:pt x="801" y="240"/>
                    </a:lnTo>
                    <a:lnTo>
                      <a:pt x="825" y="237"/>
                    </a:lnTo>
                    <a:lnTo>
                      <a:pt x="847" y="243"/>
                    </a:lnTo>
                    <a:lnTo>
                      <a:pt x="865" y="243"/>
                    </a:lnTo>
                    <a:lnTo>
                      <a:pt x="897" y="241"/>
                    </a:lnTo>
                    <a:lnTo>
                      <a:pt x="901" y="196"/>
                    </a:lnTo>
                    <a:lnTo>
                      <a:pt x="912" y="187"/>
                    </a:lnTo>
                    <a:lnTo>
                      <a:pt x="925" y="178"/>
                    </a:lnTo>
                    <a:lnTo>
                      <a:pt x="925" y="159"/>
                    </a:lnTo>
                    <a:lnTo>
                      <a:pt x="936" y="147"/>
                    </a:lnTo>
                    <a:lnTo>
                      <a:pt x="931" y="135"/>
                    </a:lnTo>
                    <a:lnTo>
                      <a:pt x="933" y="126"/>
                    </a:lnTo>
                    <a:lnTo>
                      <a:pt x="949" y="127"/>
                    </a:lnTo>
                    <a:lnTo>
                      <a:pt x="979" y="117"/>
                    </a:lnTo>
                    <a:lnTo>
                      <a:pt x="994" y="97"/>
                    </a:lnTo>
                    <a:lnTo>
                      <a:pt x="1000" y="96"/>
                    </a:lnTo>
                    <a:lnTo>
                      <a:pt x="1006" y="94"/>
                    </a:lnTo>
                    <a:lnTo>
                      <a:pt x="1008" y="79"/>
                    </a:lnTo>
                    <a:lnTo>
                      <a:pt x="1018" y="70"/>
                    </a:lnTo>
                    <a:lnTo>
                      <a:pt x="1029" y="76"/>
                    </a:lnTo>
                    <a:lnTo>
                      <a:pt x="1032" y="66"/>
                    </a:lnTo>
                    <a:lnTo>
                      <a:pt x="1042" y="64"/>
                    </a:lnTo>
                    <a:lnTo>
                      <a:pt x="1054" y="57"/>
                    </a:lnTo>
                    <a:lnTo>
                      <a:pt x="1068" y="55"/>
                    </a:lnTo>
                    <a:lnTo>
                      <a:pt x="1077" y="36"/>
                    </a:lnTo>
                    <a:lnTo>
                      <a:pt x="1092" y="37"/>
                    </a:lnTo>
                    <a:lnTo>
                      <a:pt x="1105" y="25"/>
                    </a:lnTo>
                    <a:lnTo>
                      <a:pt x="1107" y="13"/>
                    </a:lnTo>
                    <a:lnTo>
                      <a:pt x="1125" y="1"/>
                    </a:lnTo>
                    <a:lnTo>
                      <a:pt x="1150" y="0"/>
                    </a:lnTo>
                    <a:lnTo>
                      <a:pt x="1150" y="15"/>
                    </a:lnTo>
                    <a:lnTo>
                      <a:pt x="1159" y="42"/>
                    </a:lnTo>
                    <a:lnTo>
                      <a:pt x="1146" y="54"/>
                    </a:lnTo>
                    <a:lnTo>
                      <a:pt x="1134" y="96"/>
                    </a:lnTo>
                    <a:lnTo>
                      <a:pt x="1110" y="112"/>
                    </a:lnTo>
                    <a:lnTo>
                      <a:pt x="1096" y="112"/>
                    </a:lnTo>
                    <a:lnTo>
                      <a:pt x="1093" y="127"/>
                    </a:lnTo>
                    <a:lnTo>
                      <a:pt x="1077" y="133"/>
                    </a:lnTo>
                    <a:lnTo>
                      <a:pt x="1074" y="157"/>
                    </a:lnTo>
                    <a:lnTo>
                      <a:pt x="1080" y="175"/>
                    </a:lnTo>
                    <a:lnTo>
                      <a:pt x="1089" y="199"/>
                    </a:lnTo>
                    <a:lnTo>
                      <a:pt x="1096" y="210"/>
                    </a:lnTo>
                    <a:lnTo>
                      <a:pt x="1113" y="216"/>
                    </a:lnTo>
                    <a:lnTo>
                      <a:pt x="1123" y="234"/>
                    </a:lnTo>
                    <a:lnTo>
                      <a:pt x="1140" y="243"/>
                    </a:lnTo>
                    <a:lnTo>
                      <a:pt x="1138" y="256"/>
                    </a:lnTo>
                    <a:lnTo>
                      <a:pt x="1113" y="262"/>
                    </a:lnTo>
                    <a:lnTo>
                      <a:pt x="1101" y="277"/>
                    </a:lnTo>
                    <a:lnTo>
                      <a:pt x="1105" y="334"/>
                    </a:lnTo>
                    <a:lnTo>
                      <a:pt x="1119" y="343"/>
                    </a:lnTo>
                    <a:lnTo>
                      <a:pt x="1135" y="370"/>
                    </a:lnTo>
                    <a:lnTo>
                      <a:pt x="1152" y="385"/>
                    </a:lnTo>
                    <a:lnTo>
                      <a:pt x="1159" y="400"/>
                    </a:lnTo>
                    <a:lnTo>
                      <a:pt x="1165" y="420"/>
                    </a:lnTo>
                    <a:lnTo>
                      <a:pt x="1185" y="427"/>
                    </a:lnTo>
                    <a:lnTo>
                      <a:pt x="1189" y="456"/>
                    </a:lnTo>
                    <a:lnTo>
                      <a:pt x="1195" y="474"/>
                    </a:lnTo>
                    <a:lnTo>
                      <a:pt x="1203" y="483"/>
                    </a:lnTo>
                    <a:lnTo>
                      <a:pt x="1219" y="493"/>
                    </a:lnTo>
                    <a:lnTo>
                      <a:pt x="1239" y="489"/>
                    </a:lnTo>
                    <a:lnTo>
                      <a:pt x="1302" y="526"/>
                    </a:lnTo>
                    <a:lnTo>
                      <a:pt x="1324" y="526"/>
                    </a:lnTo>
                    <a:lnTo>
                      <a:pt x="1344" y="540"/>
                    </a:lnTo>
                    <a:lnTo>
                      <a:pt x="1360" y="559"/>
                    </a:lnTo>
                    <a:lnTo>
                      <a:pt x="1384" y="565"/>
                    </a:lnTo>
                    <a:lnTo>
                      <a:pt x="1396" y="582"/>
                    </a:lnTo>
                    <a:lnTo>
                      <a:pt x="1413" y="592"/>
                    </a:lnTo>
                    <a:lnTo>
                      <a:pt x="1461" y="594"/>
                    </a:lnTo>
                    <a:lnTo>
                      <a:pt x="1470" y="624"/>
                    </a:lnTo>
                    <a:lnTo>
                      <a:pt x="1503" y="616"/>
                    </a:lnTo>
                    <a:lnTo>
                      <a:pt x="1530" y="622"/>
                    </a:lnTo>
                    <a:lnTo>
                      <a:pt x="1536" y="612"/>
                    </a:lnTo>
                    <a:lnTo>
                      <a:pt x="1569" y="609"/>
                    </a:lnTo>
                    <a:lnTo>
                      <a:pt x="1578" y="600"/>
                    </a:lnTo>
                    <a:lnTo>
                      <a:pt x="1641" y="580"/>
                    </a:lnTo>
                    <a:lnTo>
                      <a:pt x="1671" y="583"/>
                    </a:lnTo>
                    <a:lnTo>
                      <a:pt x="1683" y="577"/>
                    </a:lnTo>
                    <a:lnTo>
                      <a:pt x="1695" y="549"/>
                    </a:lnTo>
                    <a:lnTo>
                      <a:pt x="1731" y="556"/>
                    </a:lnTo>
                    <a:lnTo>
                      <a:pt x="1720" y="595"/>
                    </a:lnTo>
                    <a:lnTo>
                      <a:pt x="1719" y="610"/>
                    </a:lnTo>
                    <a:lnTo>
                      <a:pt x="1731" y="625"/>
                    </a:lnTo>
                    <a:lnTo>
                      <a:pt x="1749" y="648"/>
                    </a:lnTo>
                    <a:lnTo>
                      <a:pt x="1756" y="672"/>
                    </a:lnTo>
                    <a:lnTo>
                      <a:pt x="1747" y="702"/>
                    </a:lnTo>
                    <a:lnTo>
                      <a:pt x="1728" y="720"/>
                    </a:lnTo>
                    <a:lnTo>
                      <a:pt x="1716" y="735"/>
                    </a:lnTo>
                    <a:lnTo>
                      <a:pt x="1719" y="748"/>
                    </a:lnTo>
                    <a:lnTo>
                      <a:pt x="1723" y="757"/>
                    </a:lnTo>
                    <a:lnTo>
                      <a:pt x="1716" y="774"/>
                    </a:lnTo>
                    <a:lnTo>
                      <a:pt x="1674" y="802"/>
                    </a:lnTo>
                    <a:lnTo>
                      <a:pt x="1641" y="819"/>
                    </a:lnTo>
                    <a:lnTo>
                      <a:pt x="1635" y="823"/>
                    </a:lnTo>
                    <a:lnTo>
                      <a:pt x="1626" y="846"/>
                    </a:lnTo>
                    <a:lnTo>
                      <a:pt x="1629" y="874"/>
                    </a:lnTo>
                    <a:lnTo>
                      <a:pt x="1605" y="888"/>
                    </a:lnTo>
                    <a:lnTo>
                      <a:pt x="1590" y="897"/>
                    </a:lnTo>
                    <a:lnTo>
                      <a:pt x="1581" y="913"/>
                    </a:lnTo>
                    <a:lnTo>
                      <a:pt x="1584" y="924"/>
                    </a:lnTo>
                    <a:lnTo>
                      <a:pt x="1593" y="943"/>
                    </a:lnTo>
                    <a:lnTo>
                      <a:pt x="1600" y="979"/>
                    </a:lnTo>
                    <a:lnTo>
                      <a:pt x="1605" y="1008"/>
                    </a:lnTo>
                    <a:lnTo>
                      <a:pt x="1585" y="1012"/>
                    </a:lnTo>
                    <a:lnTo>
                      <a:pt x="1584" y="1020"/>
                    </a:lnTo>
                    <a:lnTo>
                      <a:pt x="1573" y="1027"/>
                    </a:lnTo>
                    <a:lnTo>
                      <a:pt x="1567" y="1032"/>
                    </a:lnTo>
                    <a:lnTo>
                      <a:pt x="1567" y="1035"/>
                    </a:lnTo>
                    <a:lnTo>
                      <a:pt x="1573" y="1038"/>
                    </a:lnTo>
                    <a:lnTo>
                      <a:pt x="1570" y="1050"/>
                    </a:lnTo>
                    <a:lnTo>
                      <a:pt x="1564" y="1048"/>
                    </a:lnTo>
                    <a:lnTo>
                      <a:pt x="1557" y="1048"/>
                    </a:lnTo>
                    <a:lnTo>
                      <a:pt x="1548" y="1044"/>
                    </a:lnTo>
                    <a:lnTo>
                      <a:pt x="1543" y="1044"/>
                    </a:lnTo>
                    <a:lnTo>
                      <a:pt x="1540" y="1039"/>
                    </a:lnTo>
                    <a:lnTo>
                      <a:pt x="1534" y="1042"/>
                    </a:lnTo>
                    <a:lnTo>
                      <a:pt x="1522" y="1053"/>
                    </a:lnTo>
                    <a:lnTo>
                      <a:pt x="1516" y="1062"/>
                    </a:lnTo>
                    <a:lnTo>
                      <a:pt x="1515" y="1066"/>
                    </a:lnTo>
                    <a:lnTo>
                      <a:pt x="1515" y="1074"/>
                    </a:lnTo>
                    <a:lnTo>
                      <a:pt x="1516" y="1081"/>
                    </a:lnTo>
                    <a:lnTo>
                      <a:pt x="1512" y="1080"/>
                    </a:lnTo>
                    <a:lnTo>
                      <a:pt x="1506" y="1084"/>
                    </a:lnTo>
                    <a:lnTo>
                      <a:pt x="1492" y="1087"/>
                    </a:lnTo>
                    <a:lnTo>
                      <a:pt x="1492" y="1081"/>
                    </a:lnTo>
                    <a:lnTo>
                      <a:pt x="1486" y="1081"/>
                    </a:lnTo>
                    <a:lnTo>
                      <a:pt x="1482" y="1084"/>
                    </a:lnTo>
                    <a:lnTo>
                      <a:pt x="1476" y="1083"/>
                    </a:lnTo>
                    <a:lnTo>
                      <a:pt x="1474" y="1080"/>
                    </a:lnTo>
                    <a:lnTo>
                      <a:pt x="1467" y="1081"/>
                    </a:lnTo>
                    <a:lnTo>
                      <a:pt x="1464" y="1087"/>
                    </a:lnTo>
                    <a:lnTo>
                      <a:pt x="1458" y="1090"/>
                    </a:lnTo>
                    <a:lnTo>
                      <a:pt x="1450" y="1096"/>
                    </a:lnTo>
                    <a:lnTo>
                      <a:pt x="1449" y="1102"/>
                    </a:lnTo>
                    <a:lnTo>
                      <a:pt x="1452" y="1116"/>
                    </a:lnTo>
                    <a:lnTo>
                      <a:pt x="1462" y="1117"/>
                    </a:lnTo>
                    <a:lnTo>
                      <a:pt x="1461" y="1125"/>
                    </a:lnTo>
                    <a:lnTo>
                      <a:pt x="1456" y="1129"/>
                    </a:lnTo>
                    <a:lnTo>
                      <a:pt x="1453" y="1128"/>
                    </a:lnTo>
                    <a:lnTo>
                      <a:pt x="1452" y="1128"/>
                    </a:lnTo>
                    <a:lnTo>
                      <a:pt x="1449" y="1137"/>
                    </a:lnTo>
                    <a:lnTo>
                      <a:pt x="1444" y="1137"/>
                    </a:lnTo>
                    <a:lnTo>
                      <a:pt x="1441" y="1128"/>
                    </a:lnTo>
                    <a:lnTo>
                      <a:pt x="1437" y="1117"/>
                    </a:lnTo>
                    <a:lnTo>
                      <a:pt x="1443" y="1108"/>
                    </a:lnTo>
                    <a:lnTo>
                      <a:pt x="1440" y="1105"/>
                    </a:lnTo>
                    <a:lnTo>
                      <a:pt x="1435" y="1102"/>
                    </a:lnTo>
                    <a:lnTo>
                      <a:pt x="1429" y="1107"/>
                    </a:lnTo>
                    <a:lnTo>
                      <a:pt x="1429" y="1120"/>
                    </a:lnTo>
                    <a:lnTo>
                      <a:pt x="1425" y="1120"/>
                    </a:lnTo>
                    <a:lnTo>
                      <a:pt x="1420" y="1125"/>
                    </a:lnTo>
                    <a:lnTo>
                      <a:pt x="1416" y="1122"/>
                    </a:lnTo>
                    <a:lnTo>
                      <a:pt x="1417" y="1117"/>
                    </a:lnTo>
                    <a:lnTo>
                      <a:pt x="1414" y="1111"/>
                    </a:lnTo>
                    <a:lnTo>
                      <a:pt x="1405" y="1110"/>
                    </a:lnTo>
                    <a:lnTo>
                      <a:pt x="1386" y="1111"/>
                    </a:lnTo>
                    <a:lnTo>
                      <a:pt x="1371" y="1122"/>
                    </a:lnTo>
                    <a:lnTo>
                      <a:pt x="1359" y="1150"/>
                    </a:lnTo>
                    <a:lnTo>
                      <a:pt x="1353" y="1153"/>
                    </a:lnTo>
                    <a:lnTo>
                      <a:pt x="1347" y="1156"/>
                    </a:lnTo>
                    <a:lnTo>
                      <a:pt x="1339" y="1153"/>
                    </a:lnTo>
                    <a:lnTo>
                      <a:pt x="1335" y="1156"/>
                    </a:lnTo>
                    <a:lnTo>
                      <a:pt x="1320" y="1155"/>
                    </a:lnTo>
                    <a:lnTo>
                      <a:pt x="1311" y="1161"/>
                    </a:lnTo>
                    <a:lnTo>
                      <a:pt x="1303" y="1168"/>
                    </a:lnTo>
                    <a:lnTo>
                      <a:pt x="1294" y="1185"/>
                    </a:lnTo>
                    <a:lnTo>
                      <a:pt x="1288" y="1195"/>
                    </a:lnTo>
                    <a:lnTo>
                      <a:pt x="1285" y="1221"/>
                    </a:lnTo>
                    <a:lnTo>
                      <a:pt x="1290" y="1225"/>
                    </a:lnTo>
                    <a:lnTo>
                      <a:pt x="1285" y="1231"/>
                    </a:lnTo>
                    <a:lnTo>
                      <a:pt x="1285" y="1239"/>
                    </a:lnTo>
                    <a:lnTo>
                      <a:pt x="1293" y="1245"/>
                    </a:lnTo>
                    <a:lnTo>
                      <a:pt x="1300" y="1246"/>
                    </a:lnTo>
                    <a:lnTo>
                      <a:pt x="1297" y="1263"/>
                    </a:lnTo>
                    <a:lnTo>
                      <a:pt x="1303" y="1267"/>
                    </a:lnTo>
                    <a:lnTo>
                      <a:pt x="1293" y="1279"/>
                    </a:lnTo>
                    <a:lnTo>
                      <a:pt x="1287" y="1278"/>
                    </a:lnTo>
                    <a:lnTo>
                      <a:pt x="1285" y="1284"/>
                    </a:lnTo>
                    <a:lnTo>
                      <a:pt x="1281" y="1282"/>
                    </a:lnTo>
                    <a:lnTo>
                      <a:pt x="1284" y="1269"/>
                    </a:lnTo>
                    <a:lnTo>
                      <a:pt x="1279" y="1258"/>
                    </a:lnTo>
                    <a:lnTo>
                      <a:pt x="1269" y="1251"/>
                    </a:lnTo>
                    <a:lnTo>
                      <a:pt x="1263" y="1251"/>
                    </a:lnTo>
                    <a:lnTo>
                      <a:pt x="1249" y="1255"/>
                    </a:lnTo>
                    <a:lnTo>
                      <a:pt x="1237" y="1266"/>
                    </a:lnTo>
                    <a:lnTo>
                      <a:pt x="1236" y="1275"/>
                    </a:lnTo>
                    <a:lnTo>
                      <a:pt x="1230" y="1278"/>
                    </a:lnTo>
                    <a:lnTo>
                      <a:pt x="1224" y="1281"/>
                    </a:lnTo>
                    <a:lnTo>
                      <a:pt x="1221" y="1290"/>
                    </a:lnTo>
                    <a:lnTo>
                      <a:pt x="1215" y="1290"/>
                    </a:lnTo>
                    <a:lnTo>
                      <a:pt x="1213" y="1279"/>
                    </a:lnTo>
                    <a:lnTo>
                      <a:pt x="1209" y="1273"/>
                    </a:lnTo>
                    <a:lnTo>
                      <a:pt x="1197" y="1272"/>
                    </a:lnTo>
                    <a:lnTo>
                      <a:pt x="1165" y="1279"/>
                    </a:lnTo>
                    <a:lnTo>
                      <a:pt x="1155" y="1291"/>
                    </a:lnTo>
                    <a:lnTo>
                      <a:pt x="1147" y="1299"/>
                    </a:lnTo>
                    <a:lnTo>
                      <a:pt x="1144" y="1308"/>
                    </a:lnTo>
                    <a:lnTo>
                      <a:pt x="1144" y="1317"/>
                    </a:lnTo>
                    <a:lnTo>
                      <a:pt x="1152" y="1320"/>
                    </a:lnTo>
                    <a:lnTo>
                      <a:pt x="1156" y="1321"/>
                    </a:lnTo>
                    <a:lnTo>
                      <a:pt x="1156" y="1330"/>
                    </a:lnTo>
                    <a:lnTo>
                      <a:pt x="1149" y="1335"/>
                    </a:lnTo>
                    <a:lnTo>
                      <a:pt x="1153" y="1339"/>
                    </a:lnTo>
                    <a:lnTo>
                      <a:pt x="1150" y="1345"/>
                    </a:lnTo>
                    <a:lnTo>
                      <a:pt x="1143" y="1342"/>
                    </a:lnTo>
                    <a:lnTo>
                      <a:pt x="1137" y="1345"/>
                    </a:lnTo>
                    <a:lnTo>
                      <a:pt x="1132" y="1356"/>
                    </a:lnTo>
                    <a:lnTo>
                      <a:pt x="1126" y="1363"/>
                    </a:lnTo>
                    <a:lnTo>
                      <a:pt x="1131" y="1366"/>
                    </a:lnTo>
                    <a:lnTo>
                      <a:pt x="1126" y="1380"/>
                    </a:lnTo>
                    <a:lnTo>
                      <a:pt x="1128" y="1386"/>
                    </a:lnTo>
                    <a:lnTo>
                      <a:pt x="1120" y="1395"/>
                    </a:lnTo>
                    <a:lnTo>
                      <a:pt x="1108" y="1401"/>
                    </a:lnTo>
                    <a:lnTo>
                      <a:pt x="1108" y="1410"/>
                    </a:lnTo>
                    <a:lnTo>
                      <a:pt x="1090" y="1420"/>
                    </a:lnTo>
                    <a:lnTo>
                      <a:pt x="1081" y="1411"/>
                    </a:lnTo>
                    <a:lnTo>
                      <a:pt x="1078" y="1413"/>
                    </a:lnTo>
                    <a:lnTo>
                      <a:pt x="1080" y="1428"/>
                    </a:lnTo>
                    <a:lnTo>
                      <a:pt x="1078" y="1435"/>
                    </a:lnTo>
                    <a:lnTo>
                      <a:pt x="1060" y="1432"/>
                    </a:lnTo>
                    <a:lnTo>
                      <a:pt x="1053" y="1429"/>
                    </a:lnTo>
                    <a:lnTo>
                      <a:pt x="1042" y="1435"/>
                    </a:lnTo>
                    <a:lnTo>
                      <a:pt x="1038" y="1432"/>
                    </a:lnTo>
                    <a:lnTo>
                      <a:pt x="1026" y="1438"/>
                    </a:lnTo>
                    <a:lnTo>
                      <a:pt x="1011" y="1429"/>
                    </a:lnTo>
                    <a:lnTo>
                      <a:pt x="1000" y="1420"/>
                    </a:lnTo>
                    <a:lnTo>
                      <a:pt x="987" y="1426"/>
                    </a:lnTo>
                    <a:lnTo>
                      <a:pt x="976" y="1455"/>
                    </a:lnTo>
                    <a:lnTo>
                      <a:pt x="981" y="1459"/>
                    </a:lnTo>
                    <a:lnTo>
                      <a:pt x="970" y="1476"/>
                    </a:lnTo>
                    <a:lnTo>
                      <a:pt x="963" y="1485"/>
                    </a:lnTo>
                    <a:lnTo>
                      <a:pt x="967" y="1494"/>
                    </a:lnTo>
                    <a:lnTo>
                      <a:pt x="966" y="1504"/>
                    </a:lnTo>
                    <a:lnTo>
                      <a:pt x="970" y="1513"/>
                    </a:lnTo>
                    <a:lnTo>
                      <a:pt x="937" y="1519"/>
                    </a:lnTo>
                    <a:lnTo>
                      <a:pt x="927" y="1539"/>
                    </a:lnTo>
                    <a:lnTo>
                      <a:pt x="931" y="1548"/>
                    </a:lnTo>
                    <a:lnTo>
                      <a:pt x="903" y="1560"/>
                    </a:lnTo>
                    <a:lnTo>
                      <a:pt x="895" y="1558"/>
                    </a:lnTo>
                    <a:lnTo>
                      <a:pt x="888" y="1570"/>
                    </a:lnTo>
                    <a:lnTo>
                      <a:pt x="867" y="1584"/>
                    </a:lnTo>
                    <a:lnTo>
                      <a:pt x="859" y="1585"/>
                    </a:lnTo>
                    <a:lnTo>
                      <a:pt x="859" y="1591"/>
                    </a:lnTo>
                    <a:lnTo>
                      <a:pt x="856" y="1597"/>
                    </a:lnTo>
                    <a:lnTo>
                      <a:pt x="862" y="1597"/>
                    </a:lnTo>
                    <a:lnTo>
                      <a:pt x="862" y="1602"/>
                    </a:lnTo>
                    <a:lnTo>
                      <a:pt x="874" y="1605"/>
                    </a:lnTo>
                    <a:lnTo>
                      <a:pt x="888" y="1600"/>
                    </a:lnTo>
                    <a:lnTo>
                      <a:pt x="904" y="1591"/>
                    </a:lnTo>
                    <a:lnTo>
                      <a:pt x="913" y="1591"/>
                    </a:lnTo>
                    <a:lnTo>
                      <a:pt x="916" y="1596"/>
                    </a:lnTo>
                    <a:lnTo>
                      <a:pt x="919" y="1594"/>
                    </a:lnTo>
                    <a:lnTo>
                      <a:pt x="924" y="1599"/>
                    </a:lnTo>
                    <a:lnTo>
                      <a:pt x="928" y="1594"/>
                    </a:lnTo>
                    <a:lnTo>
                      <a:pt x="928" y="1587"/>
                    </a:lnTo>
                    <a:lnTo>
                      <a:pt x="934" y="1584"/>
                    </a:lnTo>
                    <a:lnTo>
                      <a:pt x="949" y="1596"/>
                    </a:lnTo>
                    <a:lnTo>
                      <a:pt x="954" y="1597"/>
                    </a:lnTo>
                    <a:lnTo>
                      <a:pt x="951" y="1606"/>
                    </a:lnTo>
                    <a:lnTo>
                      <a:pt x="951" y="1617"/>
                    </a:lnTo>
                    <a:lnTo>
                      <a:pt x="946" y="1617"/>
                    </a:lnTo>
                    <a:lnTo>
                      <a:pt x="940" y="1621"/>
                    </a:lnTo>
                    <a:lnTo>
                      <a:pt x="934" y="1623"/>
                    </a:lnTo>
                    <a:lnTo>
                      <a:pt x="925" y="1630"/>
                    </a:lnTo>
                    <a:lnTo>
                      <a:pt x="922" y="1647"/>
                    </a:lnTo>
                    <a:lnTo>
                      <a:pt x="927" y="1662"/>
                    </a:lnTo>
                    <a:lnTo>
                      <a:pt x="933" y="1665"/>
                    </a:lnTo>
                    <a:lnTo>
                      <a:pt x="933" y="1671"/>
                    </a:lnTo>
                    <a:lnTo>
                      <a:pt x="942" y="1675"/>
                    </a:lnTo>
                    <a:lnTo>
                      <a:pt x="937" y="1684"/>
                    </a:lnTo>
                    <a:lnTo>
                      <a:pt x="933" y="1681"/>
                    </a:lnTo>
                    <a:lnTo>
                      <a:pt x="918" y="1686"/>
                    </a:lnTo>
                    <a:lnTo>
                      <a:pt x="912" y="1693"/>
                    </a:lnTo>
                    <a:lnTo>
                      <a:pt x="910" y="1705"/>
                    </a:lnTo>
                    <a:lnTo>
                      <a:pt x="915" y="1714"/>
                    </a:lnTo>
                    <a:lnTo>
                      <a:pt x="910" y="1719"/>
                    </a:lnTo>
                    <a:lnTo>
                      <a:pt x="903" y="1710"/>
                    </a:lnTo>
                    <a:lnTo>
                      <a:pt x="897" y="1716"/>
                    </a:lnTo>
                    <a:lnTo>
                      <a:pt x="895" y="1728"/>
                    </a:lnTo>
                    <a:lnTo>
                      <a:pt x="892" y="1728"/>
                    </a:lnTo>
                    <a:lnTo>
                      <a:pt x="880" y="1710"/>
                    </a:lnTo>
                    <a:lnTo>
                      <a:pt x="874" y="1708"/>
                    </a:lnTo>
                    <a:lnTo>
                      <a:pt x="879" y="1704"/>
                    </a:lnTo>
                    <a:lnTo>
                      <a:pt x="876" y="1698"/>
                    </a:lnTo>
                    <a:lnTo>
                      <a:pt x="837" y="1692"/>
                    </a:lnTo>
                    <a:lnTo>
                      <a:pt x="825" y="1711"/>
                    </a:lnTo>
                    <a:lnTo>
                      <a:pt x="826" y="1716"/>
                    </a:lnTo>
                    <a:lnTo>
                      <a:pt x="819" y="1722"/>
                    </a:lnTo>
                    <a:lnTo>
                      <a:pt x="810" y="1722"/>
                    </a:lnTo>
                    <a:lnTo>
                      <a:pt x="804" y="1731"/>
                    </a:lnTo>
                    <a:lnTo>
                      <a:pt x="787" y="1738"/>
                    </a:lnTo>
                    <a:lnTo>
                      <a:pt x="775" y="1734"/>
                    </a:lnTo>
                    <a:lnTo>
                      <a:pt x="771" y="1734"/>
                    </a:lnTo>
                    <a:lnTo>
                      <a:pt x="762" y="1732"/>
                    </a:lnTo>
                    <a:lnTo>
                      <a:pt x="759" y="1735"/>
                    </a:lnTo>
                    <a:lnTo>
                      <a:pt x="756" y="1749"/>
                    </a:lnTo>
                    <a:lnTo>
                      <a:pt x="751" y="1750"/>
                    </a:lnTo>
                    <a:lnTo>
                      <a:pt x="742" y="1755"/>
                    </a:lnTo>
                    <a:lnTo>
                      <a:pt x="744" y="1744"/>
                    </a:lnTo>
                    <a:lnTo>
                      <a:pt x="733" y="1741"/>
                    </a:lnTo>
                    <a:lnTo>
                      <a:pt x="732" y="1749"/>
                    </a:lnTo>
                    <a:lnTo>
                      <a:pt x="727" y="1744"/>
                    </a:lnTo>
                    <a:lnTo>
                      <a:pt x="720" y="1744"/>
                    </a:lnTo>
                    <a:lnTo>
                      <a:pt x="715" y="1749"/>
                    </a:lnTo>
                    <a:lnTo>
                      <a:pt x="705" y="1749"/>
                    </a:lnTo>
                    <a:lnTo>
                      <a:pt x="702" y="1756"/>
                    </a:lnTo>
                    <a:lnTo>
                      <a:pt x="688" y="1755"/>
                    </a:lnTo>
                    <a:lnTo>
                      <a:pt x="684" y="1780"/>
                    </a:lnTo>
                    <a:lnTo>
                      <a:pt x="687" y="1788"/>
                    </a:lnTo>
                    <a:lnTo>
                      <a:pt x="682" y="1791"/>
                    </a:lnTo>
                    <a:lnTo>
                      <a:pt x="690" y="1795"/>
                    </a:lnTo>
                    <a:lnTo>
                      <a:pt x="693" y="1803"/>
                    </a:lnTo>
                    <a:lnTo>
                      <a:pt x="693" y="1809"/>
                    </a:lnTo>
                    <a:lnTo>
                      <a:pt x="687" y="1813"/>
                    </a:lnTo>
                    <a:lnTo>
                      <a:pt x="669" y="1810"/>
                    </a:lnTo>
                    <a:lnTo>
                      <a:pt x="661" y="1815"/>
                    </a:lnTo>
                    <a:lnTo>
                      <a:pt x="660" y="1807"/>
                    </a:lnTo>
                    <a:lnTo>
                      <a:pt x="652" y="1812"/>
                    </a:lnTo>
                    <a:lnTo>
                      <a:pt x="649" y="1807"/>
                    </a:lnTo>
                    <a:lnTo>
                      <a:pt x="654" y="1801"/>
                    </a:lnTo>
                    <a:lnTo>
                      <a:pt x="651" y="1795"/>
                    </a:lnTo>
                    <a:lnTo>
                      <a:pt x="634" y="1788"/>
                    </a:lnTo>
                    <a:lnTo>
                      <a:pt x="628" y="1794"/>
                    </a:lnTo>
                    <a:lnTo>
                      <a:pt x="627" y="1783"/>
                    </a:lnTo>
                    <a:lnTo>
                      <a:pt x="615" y="1773"/>
                    </a:lnTo>
                    <a:lnTo>
                      <a:pt x="607" y="1773"/>
                    </a:lnTo>
                    <a:lnTo>
                      <a:pt x="586" y="1782"/>
                    </a:lnTo>
                    <a:lnTo>
                      <a:pt x="555" y="1782"/>
                    </a:lnTo>
                    <a:lnTo>
                      <a:pt x="546" y="1785"/>
                    </a:lnTo>
                    <a:lnTo>
                      <a:pt x="540" y="1792"/>
                    </a:lnTo>
                    <a:lnTo>
                      <a:pt x="528" y="1803"/>
                    </a:lnTo>
                    <a:lnTo>
                      <a:pt x="520" y="1821"/>
                    </a:lnTo>
                    <a:lnTo>
                      <a:pt x="517" y="1864"/>
                    </a:lnTo>
                    <a:lnTo>
                      <a:pt x="520" y="1872"/>
                    </a:lnTo>
                    <a:lnTo>
                      <a:pt x="540" y="1875"/>
                    </a:lnTo>
                    <a:lnTo>
                      <a:pt x="540" y="1878"/>
                    </a:lnTo>
                    <a:lnTo>
                      <a:pt x="525" y="1884"/>
                    </a:lnTo>
                    <a:lnTo>
                      <a:pt x="519" y="1882"/>
                    </a:lnTo>
                    <a:lnTo>
                      <a:pt x="516" y="1885"/>
                    </a:lnTo>
                    <a:lnTo>
                      <a:pt x="507" y="1882"/>
                    </a:lnTo>
                    <a:lnTo>
                      <a:pt x="507" y="1875"/>
                    </a:lnTo>
                    <a:lnTo>
                      <a:pt x="502" y="1873"/>
                    </a:lnTo>
                    <a:lnTo>
                      <a:pt x="496" y="1881"/>
                    </a:lnTo>
                    <a:lnTo>
                      <a:pt x="490" y="1878"/>
                    </a:lnTo>
                    <a:lnTo>
                      <a:pt x="478" y="1882"/>
                    </a:lnTo>
                    <a:lnTo>
                      <a:pt x="475" y="1878"/>
                    </a:lnTo>
                    <a:lnTo>
                      <a:pt x="469" y="1872"/>
                    </a:lnTo>
                    <a:lnTo>
                      <a:pt x="474" y="1866"/>
                    </a:lnTo>
                    <a:lnTo>
                      <a:pt x="499" y="1866"/>
                    </a:lnTo>
                    <a:lnTo>
                      <a:pt x="501" y="1846"/>
                    </a:lnTo>
                    <a:lnTo>
                      <a:pt x="495" y="1822"/>
                    </a:lnTo>
                    <a:lnTo>
                      <a:pt x="475" y="1818"/>
                    </a:lnTo>
                    <a:lnTo>
                      <a:pt x="459" y="1813"/>
                    </a:lnTo>
                    <a:lnTo>
                      <a:pt x="451" y="1819"/>
                    </a:lnTo>
                    <a:lnTo>
                      <a:pt x="447" y="1816"/>
                    </a:lnTo>
                    <a:lnTo>
                      <a:pt x="441" y="1822"/>
                    </a:lnTo>
                    <a:lnTo>
                      <a:pt x="429" y="1821"/>
                    </a:lnTo>
                    <a:lnTo>
                      <a:pt x="417" y="1824"/>
                    </a:lnTo>
                    <a:lnTo>
                      <a:pt x="411" y="1819"/>
                    </a:lnTo>
                    <a:lnTo>
                      <a:pt x="420" y="1809"/>
                    </a:lnTo>
                    <a:lnTo>
                      <a:pt x="415" y="1800"/>
                    </a:lnTo>
                    <a:lnTo>
                      <a:pt x="391" y="1798"/>
                    </a:lnTo>
                    <a:lnTo>
                      <a:pt x="376" y="1794"/>
                    </a:lnTo>
                    <a:lnTo>
                      <a:pt x="369" y="1795"/>
                    </a:lnTo>
                    <a:lnTo>
                      <a:pt x="364" y="1792"/>
                    </a:lnTo>
                    <a:lnTo>
                      <a:pt x="348" y="1794"/>
                    </a:lnTo>
                    <a:lnTo>
                      <a:pt x="340" y="1798"/>
                    </a:lnTo>
                    <a:lnTo>
                      <a:pt x="339" y="1797"/>
                    </a:lnTo>
                    <a:lnTo>
                      <a:pt x="346" y="1782"/>
                    </a:lnTo>
                    <a:lnTo>
                      <a:pt x="337" y="1773"/>
                    </a:lnTo>
                    <a:lnTo>
                      <a:pt x="330" y="1780"/>
                    </a:lnTo>
                    <a:lnTo>
                      <a:pt x="318" y="1783"/>
                    </a:lnTo>
                    <a:lnTo>
                      <a:pt x="309" y="1776"/>
                    </a:lnTo>
                    <a:lnTo>
                      <a:pt x="309" y="1782"/>
                    </a:lnTo>
                    <a:lnTo>
                      <a:pt x="304" y="1788"/>
                    </a:lnTo>
                    <a:lnTo>
                      <a:pt x="304" y="1792"/>
                    </a:lnTo>
                    <a:lnTo>
                      <a:pt x="310" y="1795"/>
                    </a:lnTo>
                    <a:lnTo>
                      <a:pt x="321" y="1794"/>
                    </a:lnTo>
                    <a:lnTo>
                      <a:pt x="325" y="1800"/>
                    </a:lnTo>
                    <a:lnTo>
                      <a:pt x="324" y="1810"/>
                    </a:lnTo>
                    <a:lnTo>
                      <a:pt x="315" y="1816"/>
                    </a:lnTo>
                    <a:lnTo>
                      <a:pt x="318" y="1822"/>
                    </a:lnTo>
                    <a:lnTo>
                      <a:pt x="327" y="1825"/>
                    </a:lnTo>
                    <a:lnTo>
                      <a:pt x="333" y="1815"/>
                    </a:lnTo>
                    <a:lnTo>
                      <a:pt x="337" y="1822"/>
                    </a:lnTo>
                    <a:lnTo>
                      <a:pt x="340" y="1822"/>
                    </a:lnTo>
                    <a:lnTo>
                      <a:pt x="342" y="1819"/>
                    </a:lnTo>
                    <a:lnTo>
                      <a:pt x="351" y="1818"/>
                    </a:lnTo>
                    <a:lnTo>
                      <a:pt x="358" y="1825"/>
                    </a:lnTo>
                    <a:lnTo>
                      <a:pt x="360" y="1834"/>
                    </a:lnTo>
                    <a:lnTo>
                      <a:pt x="355" y="1839"/>
                    </a:lnTo>
                    <a:lnTo>
                      <a:pt x="346" y="1833"/>
                    </a:lnTo>
                    <a:lnTo>
                      <a:pt x="339" y="1834"/>
                    </a:lnTo>
                    <a:lnTo>
                      <a:pt x="333" y="1842"/>
                    </a:lnTo>
                    <a:lnTo>
                      <a:pt x="325" y="1840"/>
                    </a:lnTo>
                    <a:lnTo>
                      <a:pt x="324" y="1833"/>
                    </a:lnTo>
                    <a:lnTo>
                      <a:pt x="318" y="1828"/>
                    </a:lnTo>
                    <a:lnTo>
                      <a:pt x="310" y="1825"/>
                    </a:lnTo>
                    <a:lnTo>
                      <a:pt x="294" y="1843"/>
                    </a:lnTo>
                    <a:lnTo>
                      <a:pt x="291" y="1851"/>
                    </a:lnTo>
                    <a:lnTo>
                      <a:pt x="289" y="1863"/>
                    </a:lnTo>
                    <a:lnTo>
                      <a:pt x="280" y="1860"/>
                    </a:lnTo>
                    <a:lnTo>
                      <a:pt x="271" y="1855"/>
                    </a:lnTo>
                    <a:lnTo>
                      <a:pt x="261" y="1858"/>
                    </a:lnTo>
                    <a:lnTo>
                      <a:pt x="250" y="1843"/>
                    </a:lnTo>
                    <a:lnTo>
                      <a:pt x="247" y="1843"/>
                    </a:lnTo>
                    <a:lnTo>
                      <a:pt x="244" y="1839"/>
                    </a:lnTo>
                    <a:lnTo>
                      <a:pt x="237" y="1837"/>
                    </a:lnTo>
                    <a:lnTo>
                      <a:pt x="237" y="1830"/>
                    </a:lnTo>
                    <a:lnTo>
                      <a:pt x="243" y="1824"/>
                    </a:lnTo>
                    <a:lnTo>
                      <a:pt x="243" y="1813"/>
                    </a:lnTo>
                    <a:lnTo>
                      <a:pt x="247" y="1803"/>
                    </a:lnTo>
                    <a:lnTo>
                      <a:pt x="244" y="1803"/>
                    </a:lnTo>
                    <a:lnTo>
                      <a:pt x="243" y="1798"/>
                    </a:lnTo>
                    <a:lnTo>
                      <a:pt x="249" y="1791"/>
                    </a:lnTo>
                    <a:lnTo>
                      <a:pt x="244" y="1783"/>
                    </a:lnTo>
                    <a:lnTo>
                      <a:pt x="241" y="1783"/>
                    </a:lnTo>
                    <a:lnTo>
                      <a:pt x="240" y="1788"/>
                    </a:lnTo>
                    <a:lnTo>
                      <a:pt x="231" y="1789"/>
                    </a:lnTo>
                    <a:lnTo>
                      <a:pt x="231" y="1783"/>
                    </a:lnTo>
                    <a:lnTo>
                      <a:pt x="211" y="1783"/>
                    </a:lnTo>
                    <a:lnTo>
                      <a:pt x="220" y="1773"/>
                    </a:lnTo>
                    <a:lnTo>
                      <a:pt x="219" y="1768"/>
                    </a:lnTo>
                    <a:lnTo>
                      <a:pt x="223" y="1761"/>
                    </a:lnTo>
                    <a:lnTo>
                      <a:pt x="219" y="1756"/>
                    </a:lnTo>
                    <a:lnTo>
                      <a:pt x="207" y="1758"/>
                    </a:lnTo>
                    <a:lnTo>
                      <a:pt x="201" y="1762"/>
                    </a:lnTo>
                    <a:lnTo>
                      <a:pt x="187" y="1761"/>
                    </a:lnTo>
                    <a:lnTo>
                      <a:pt x="183" y="1758"/>
                    </a:lnTo>
                    <a:lnTo>
                      <a:pt x="177" y="1749"/>
                    </a:lnTo>
                    <a:lnTo>
                      <a:pt x="174" y="1752"/>
                    </a:lnTo>
                    <a:lnTo>
                      <a:pt x="157" y="1753"/>
                    </a:lnTo>
                    <a:lnTo>
                      <a:pt x="156" y="1743"/>
                    </a:lnTo>
                    <a:lnTo>
                      <a:pt x="147" y="1740"/>
                    </a:lnTo>
                    <a:lnTo>
                      <a:pt x="150" y="1734"/>
                    </a:lnTo>
                    <a:lnTo>
                      <a:pt x="145" y="1729"/>
                    </a:lnTo>
                    <a:lnTo>
                      <a:pt x="154" y="1719"/>
                    </a:lnTo>
                    <a:lnTo>
                      <a:pt x="151" y="1711"/>
                    </a:lnTo>
                    <a:lnTo>
                      <a:pt x="145" y="1713"/>
                    </a:lnTo>
                    <a:lnTo>
                      <a:pt x="133" y="1704"/>
                    </a:lnTo>
                    <a:lnTo>
                      <a:pt x="135" y="1689"/>
                    </a:lnTo>
                    <a:lnTo>
                      <a:pt x="136" y="1665"/>
                    </a:lnTo>
                    <a:lnTo>
                      <a:pt x="139" y="1642"/>
                    </a:lnTo>
                    <a:lnTo>
                      <a:pt x="145" y="1635"/>
                    </a:lnTo>
                    <a:lnTo>
                      <a:pt x="157" y="1629"/>
                    </a:lnTo>
                    <a:lnTo>
                      <a:pt x="156" y="1621"/>
                    </a:lnTo>
                    <a:lnTo>
                      <a:pt x="168" y="1611"/>
                    </a:lnTo>
                    <a:lnTo>
                      <a:pt x="175" y="1611"/>
                    </a:lnTo>
                    <a:lnTo>
                      <a:pt x="180" y="1606"/>
                    </a:lnTo>
                    <a:lnTo>
                      <a:pt x="202" y="1597"/>
                    </a:lnTo>
                    <a:lnTo>
                      <a:pt x="207" y="1581"/>
                    </a:lnTo>
                    <a:lnTo>
                      <a:pt x="193" y="1575"/>
                    </a:lnTo>
                    <a:lnTo>
                      <a:pt x="178" y="1545"/>
                    </a:lnTo>
                    <a:lnTo>
                      <a:pt x="156" y="1549"/>
                    </a:lnTo>
                    <a:lnTo>
                      <a:pt x="139" y="1548"/>
                    </a:lnTo>
                    <a:lnTo>
                      <a:pt x="136" y="1542"/>
                    </a:lnTo>
                    <a:lnTo>
                      <a:pt x="136" y="1537"/>
                    </a:lnTo>
                    <a:lnTo>
                      <a:pt x="147" y="1536"/>
                    </a:lnTo>
                    <a:lnTo>
                      <a:pt x="150" y="1531"/>
                    </a:lnTo>
                    <a:lnTo>
                      <a:pt x="145" y="1522"/>
                    </a:lnTo>
                    <a:lnTo>
                      <a:pt x="157" y="1503"/>
                    </a:lnTo>
                    <a:lnTo>
                      <a:pt x="145" y="1485"/>
                    </a:lnTo>
                    <a:lnTo>
                      <a:pt x="145" y="1458"/>
                    </a:lnTo>
                    <a:lnTo>
                      <a:pt x="138" y="1449"/>
                    </a:lnTo>
                    <a:lnTo>
                      <a:pt x="157" y="1444"/>
                    </a:lnTo>
                    <a:lnTo>
                      <a:pt x="195" y="1447"/>
                    </a:lnTo>
                    <a:lnTo>
                      <a:pt x="225" y="1437"/>
                    </a:lnTo>
                    <a:lnTo>
                      <a:pt x="229" y="1429"/>
                    </a:lnTo>
                    <a:lnTo>
                      <a:pt x="223" y="1428"/>
                    </a:lnTo>
                    <a:lnTo>
                      <a:pt x="211" y="1426"/>
                    </a:lnTo>
                    <a:lnTo>
                      <a:pt x="201" y="1413"/>
                    </a:lnTo>
                    <a:lnTo>
                      <a:pt x="172" y="1368"/>
                    </a:lnTo>
                    <a:lnTo>
                      <a:pt x="156" y="1353"/>
                    </a:lnTo>
                    <a:lnTo>
                      <a:pt x="171" y="1305"/>
                    </a:lnTo>
                    <a:lnTo>
                      <a:pt x="165" y="1294"/>
                    </a:lnTo>
                    <a:lnTo>
                      <a:pt x="171" y="1276"/>
                    </a:lnTo>
                    <a:lnTo>
                      <a:pt x="162" y="1269"/>
                    </a:lnTo>
                    <a:lnTo>
                      <a:pt x="153" y="1264"/>
                    </a:lnTo>
                    <a:lnTo>
                      <a:pt x="127" y="1257"/>
                    </a:lnTo>
                    <a:lnTo>
                      <a:pt x="124" y="1245"/>
                    </a:lnTo>
                    <a:lnTo>
                      <a:pt x="145" y="1239"/>
                    </a:lnTo>
                    <a:lnTo>
                      <a:pt x="136" y="1203"/>
                    </a:lnTo>
                    <a:lnTo>
                      <a:pt x="144" y="1198"/>
                    </a:lnTo>
                    <a:lnTo>
                      <a:pt x="151" y="1168"/>
                    </a:lnTo>
                    <a:lnTo>
                      <a:pt x="163" y="1167"/>
                    </a:lnTo>
                    <a:lnTo>
                      <a:pt x="174" y="1158"/>
                    </a:lnTo>
                    <a:lnTo>
                      <a:pt x="186" y="1153"/>
                    </a:lnTo>
                    <a:lnTo>
                      <a:pt x="207" y="1149"/>
                    </a:lnTo>
                    <a:lnTo>
                      <a:pt x="228" y="1149"/>
                    </a:lnTo>
                    <a:lnTo>
                      <a:pt x="231" y="1144"/>
                    </a:lnTo>
                    <a:lnTo>
                      <a:pt x="240" y="1123"/>
                    </a:lnTo>
                    <a:lnTo>
                      <a:pt x="232" y="1113"/>
                    </a:lnTo>
                    <a:lnTo>
                      <a:pt x="225" y="1116"/>
                    </a:lnTo>
                    <a:lnTo>
                      <a:pt x="217" y="1104"/>
                    </a:lnTo>
                    <a:lnTo>
                      <a:pt x="217" y="1092"/>
                    </a:lnTo>
                    <a:lnTo>
                      <a:pt x="202" y="1081"/>
                    </a:lnTo>
                    <a:lnTo>
                      <a:pt x="208" y="1071"/>
                    </a:lnTo>
                    <a:lnTo>
                      <a:pt x="168" y="1039"/>
                    </a:lnTo>
                    <a:lnTo>
                      <a:pt x="165" y="1008"/>
                    </a:lnTo>
                    <a:lnTo>
                      <a:pt x="151" y="1006"/>
                    </a:lnTo>
                    <a:lnTo>
                      <a:pt x="145" y="1000"/>
                    </a:lnTo>
                    <a:lnTo>
                      <a:pt x="133" y="979"/>
                    </a:lnTo>
                    <a:lnTo>
                      <a:pt x="121" y="963"/>
                    </a:lnTo>
                    <a:lnTo>
                      <a:pt x="114" y="955"/>
                    </a:lnTo>
                    <a:lnTo>
                      <a:pt x="103" y="955"/>
                    </a:lnTo>
                    <a:lnTo>
                      <a:pt x="91" y="957"/>
                    </a:lnTo>
                    <a:lnTo>
                      <a:pt x="66" y="954"/>
                    </a:lnTo>
                    <a:lnTo>
                      <a:pt x="58" y="960"/>
                    </a:lnTo>
                    <a:lnTo>
                      <a:pt x="43" y="966"/>
                    </a:lnTo>
                    <a:lnTo>
                      <a:pt x="39" y="966"/>
                    </a:lnTo>
                    <a:lnTo>
                      <a:pt x="42" y="930"/>
                    </a:lnTo>
                    <a:lnTo>
                      <a:pt x="48" y="925"/>
                    </a:lnTo>
                    <a:lnTo>
                      <a:pt x="46" y="918"/>
                    </a:lnTo>
                    <a:lnTo>
                      <a:pt x="54" y="910"/>
                    </a:lnTo>
                    <a:lnTo>
                      <a:pt x="60" y="900"/>
                    </a:lnTo>
                    <a:lnTo>
                      <a:pt x="70" y="901"/>
                    </a:lnTo>
                    <a:lnTo>
                      <a:pt x="76" y="885"/>
                    </a:lnTo>
                    <a:lnTo>
                      <a:pt x="88" y="861"/>
                    </a:lnTo>
                    <a:lnTo>
                      <a:pt x="69" y="852"/>
                    </a:lnTo>
                    <a:lnTo>
                      <a:pt x="67" y="840"/>
                    </a:lnTo>
                    <a:lnTo>
                      <a:pt x="58" y="820"/>
                    </a:lnTo>
                    <a:lnTo>
                      <a:pt x="37" y="823"/>
                    </a:lnTo>
                    <a:lnTo>
                      <a:pt x="28" y="819"/>
                    </a:lnTo>
                    <a:lnTo>
                      <a:pt x="9" y="820"/>
                    </a:lnTo>
                    <a:lnTo>
                      <a:pt x="13" y="795"/>
                    </a:lnTo>
                    <a:lnTo>
                      <a:pt x="16" y="777"/>
                    </a:lnTo>
                    <a:lnTo>
                      <a:pt x="25" y="756"/>
                    </a:lnTo>
                    <a:lnTo>
                      <a:pt x="24" y="739"/>
                    </a:lnTo>
                    <a:lnTo>
                      <a:pt x="33" y="715"/>
                    </a:lnTo>
                    <a:lnTo>
                      <a:pt x="33" y="694"/>
                    </a:lnTo>
                    <a:lnTo>
                      <a:pt x="34" y="678"/>
                    </a:lnTo>
                    <a:lnTo>
                      <a:pt x="21" y="685"/>
                    </a:lnTo>
                    <a:lnTo>
                      <a:pt x="9" y="684"/>
                    </a:lnTo>
                    <a:lnTo>
                      <a:pt x="0" y="625"/>
                    </a:lnTo>
                    <a:lnTo>
                      <a:pt x="16" y="610"/>
                    </a:lnTo>
                    <a:lnTo>
                      <a:pt x="27" y="606"/>
                    </a:lnTo>
                    <a:lnTo>
                      <a:pt x="46" y="591"/>
                    </a:lnTo>
                    <a:lnTo>
                      <a:pt x="48" y="583"/>
                    </a:lnTo>
                    <a:lnTo>
                      <a:pt x="64" y="582"/>
                    </a:lnTo>
                    <a:lnTo>
                      <a:pt x="66" y="574"/>
                    </a:lnTo>
                    <a:lnTo>
                      <a:pt x="55" y="558"/>
                    </a:lnTo>
                    <a:lnTo>
                      <a:pt x="60" y="543"/>
                    </a:lnTo>
                    <a:lnTo>
                      <a:pt x="82" y="540"/>
                    </a:lnTo>
                    <a:lnTo>
                      <a:pt x="97" y="538"/>
                    </a:lnTo>
                    <a:lnTo>
                      <a:pt x="100" y="552"/>
                    </a:lnTo>
                    <a:lnTo>
                      <a:pt x="109" y="553"/>
                    </a:lnTo>
                    <a:lnTo>
                      <a:pt x="109" y="565"/>
                    </a:lnTo>
                    <a:lnTo>
                      <a:pt x="115" y="565"/>
                    </a:lnTo>
                    <a:lnTo>
                      <a:pt x="112" y="582"/>
                    </a:lnTo>
                    <a:lnTo>
                      <a:pt x="144" y="586"/>
                    </a:lnTo>
                    <a:lnTo>
                      <a:pt x="145" y="571"/>
                    </a:lnTo>
                    <a:lnTo>
                      <a:pt x="144" y="567"/>
                    </a:lnTo>
                    <a:lnTo>
                      <a:pt x="124" y="562"/>
                    </a:lnTo>
                    <a:lnTo>
                      <a:pt x="129" y="543"/>
                    </a:lnTo>
                    <a:lnTo>
                      <a:pt x="153" y="541"/>
                    </a:lnTo>
                    <a:lnTo>
                      <a:pt x="186" y="526"/>
                    </a:lnTo>
                    <a:lnTo>
                      <a:pt x="207" y="522"/>
                    </a:lnTo>
                    <a:lnTo>
                      <a:pt x="220" y="523"/>
                    </a:lnTo>
                    <a:lnTo>
                      <a:pt x="232" y="514"/>
                    </a:lnTo>
                    <a:lnTo>
                      <a:pt x="243" y="513"/>
                    </a:lnTo>
                    <a:lnTo>
                      <a:pt x="259" y="520"/>
                    </a:lnTo>
                    <a:lnTo>
                      <a:pt x="268" y="529"/>
                    </a:lnTo>
                    <a:lnTo>
                      <a:pt x="288" y="534"/>
                    </a:lnTo>
                    <a:lnTo>
                      <a:pt x="298" y="538"/>
                    </a:lnTo>
                    <a:lnTo>
                      <a:pt x="304" y="537"/>
                    </a:lnTo>
                    <a:lnTo>
                      <a:pt x="321" y="538"/>
                    </a:lnTo>
                    <a:lnTo>
                      <a:pt x="327" y="532"/>
                    </a:lnTo>
                    <a:lnTo>
                      <a:pt x="325" y="520"/>
                    </a:lnTo>
                    <a:lnTo>
                      <a:pt x="309" y="514"/>
                    </a:lnTo>
                    <a:lnTo>
                      <a:pt x="295" y="492"/>
                    </a:lnTo>
                    <a:lnTo>
                      <a:pt x="280" y="466"/>
                    </a:lnTo>
                    <a:lnTo>
                      <a:pt x="265" y="457"/>
                    </a:lnTo>
                    <a:lnTo>
                      <a:pt x="265" y="448"/>
                    </a:lnTo>
                    <a:lnTo>
                      <a:pt x="265" y="430"/>
                    </a:lnTo>
                    <a:lnTo>
                      <a:pt x="273" y="406"/>
                    </a:lnTo>
                    <a:lnTo>
                      <a:pt x="297" y="424"/>
                    </a:lnTo>
                    <a:lnTo>
                      <a:pt x="295" y="435"/>
                    </a:lnTo>
                    <a:lnTo>
                      <a:pt x="301" y="439"/>
                    </a:lnTo>
                    <a:lnTo>
                      <a:pt x="322" y="459"/>
                    </a:lnTo>
                    <a:lnTo>
                      <a:pt x="334" y="460"/>
                    </a:lnTo>
                    <a:lnTo>
                      <a:pt x="337" y="442"/>
                    </a:lnTo>
                    <a:lnTo>
                      <a:pt x="328" y="438"/>
                    </a:lnTo>
                    <a:lnTo>
                      <a:pt x="330" y="424"/>
                    </a:lnTo>
                    <a:lnTo>
                      <a:pt x="340" y="421"/>
                    </a:lnTo>
                    <a:lnTo>
                      <a:pt x="337" y="409"/>
                    </a:lnTo>
                    <a:lnTo>
                      <a:pt x="339" y="406"/>
                    </a:lnTo>
                    <a:lnTo>
                      <a:pt x="339" y="399"/>
                    </a:lnTo>
                    <a:lnTo>
                      <a:pt x="336" y="390"/>
                    </a:lnTo>
                    <a:lnTo>
                      <a:pt x="325" y="393"/>
                    </a:lnTo>
                    <a:lnTo>
                      <a:pt x="321" y="387"/>
                    </a:lnTo>
                    <a:lnTo>
                      <a:pt x="325" y="369"/>
                    </a:lnTo>
                    <a:lnTo>
                      <a:pt x="339" y="363"/>
                    </a:lnTo>
                    <a:lnTo>
                      <a:pt x="342" y="358"/>
                    </a:lnTo>
                    <a:lnTo>
                      <a:pt x="354" y="327"/>
                    </a:lnTo>
                    <a:lnTo>
                      <a:pt x="360" y="312"/>
                    </a:lnTo>
                    <a:lnTo>
                      <a:pt x="370" y="297"/>
                    </a:lnTo>
                    <a:lnTo>
                      <a:pt x="373" y="292"/>
                    </a:lnTo>
                    <a:lnTo>
                      <a:pt x="378" y="285"/>
                    </a:lnTo>
                    <a:lnTo>
                      <a:pt x="385" y="283"/>
                    </a:lnTo>
                    <a:lnTo>
                      <a:pt x="402" y="277"/>
                    </a:lnTo>
                    <a:lnTo>
                      <a:pt x="421" y="262"/>
                    </a:lnTo>
                    <a:lnTo>
                      <a:pt x="424" y="252"/>
                    </a:lnTo>
                    <a:lnTo>
                      <a:pt x="430" y="249"/>
                    </a:lnTo>
                    <a:lnTo>
                      <a:pt x="438" y="238"/>
                    </a:lnTo>
                    <a:lnTo>
                      <a:pt x="442" y="238"/>
                    </a:lnTo>
                    <a:close/>
                  </a:path>
                </a:pathLst>
              </a:custGeom>
              <a:grpFill/>
              <a:ln w="9525">
                <a:solidFill>
                  <a:srgbClr val="000000"/>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302" name="Freeform 371">
                <a:extLst>
                  <a:ext uri="{FF2B5EF4-FFF2-40B4-BE49-F238E27FC236}">
                    <a16:creationId xmlns:a16="http://schemas.microsoft.com/office/drawing/2014/main" id="{E2A1F5F7-4264-B681-3F67-04F078974DBF}"/>
                  </a:ext>
                </a:extLst>
              </p:cNvPr>
              <p:cNvSpPr>
                <a:spLocks/>
              </p:cNvSpPr>
              <p:nvPr/>
            </p:nvSpPr>
            <p:spPr bwMode="auto">
              <a:xfrm>
                <a:off x="4435" y="2813"/>
                <a:ext cx="585" cy="628"/>
              </a:xfrm>
              <a:custGeom>
                <a:avLst/>
                <a:gdLst>
                  <a:gd name="T0" fmla="*/ 0 w 1756"/>
                  <a:gd name="T1" fmla="*/ 0 h 1885"/>
                  <a:gd name="T2" fmla="*/ 0 w 1756"/>
                  <a:gd name="T3" fmla="*/ 0 h 1885"/>
                  <a:gd name="T4" fmla="*/ 0 w 1756"/>
                  <a:gd name="T5" fmla="*/ 0 h 1885"/>
                  <a:gd name="T6" fmla="*/ 0 w 1756"/>
                  <a:gd name="T7" fmla="*/ 0 h 1885"/>
                  <a:gd name="T8" fmla="*/ 0 w 1756"/>
                  <a:gd name="T9" fmla="*/ 0 h 1885"/>
                  <a:gd name="T10" fmla="*/ 0 w 1756"/>
                  <a:gd name="T11" fmla="*/ 0 h 1885"/>
                  <a:gd name="T12" fmla="*/ 0 w 1756"/>
                  <a:gd name="T13" fmla="*/ 0 h 1885"/>
                  <a:gd name="T14" fmla="*/ 0 w 1756"/>
                  <a:gd name="T15" fmla="*/ 0 h 1885"/>
                  <a:gd name="T16" fmla="*/ 0 w 1756"/>
                  <a:gd name="T17" fmla="*/ 0 h 1885"/>
                  <a:gd name="T18" fmla="*/ 0 w 1756"/>
                  <a:gd name="T19" fmla="*/ 0 h 1885"/>
                  <a:gd name="T20" fmla="*/ 0 w 1756"/>
                  <a:gd name="T21" fmla="*/ 0 h 1885"/>
                  <a:gd name="T22" fmla="*/ 0 w 1756"/>
                  <a:gd name="T23" fmla="*/ 0 h 1885"/>
                  <a:gd name="T24" fmla="*/ 0 w 1756"/>
                  <a:gd name="T25" fmla="*/ 0 h 1885"/>
                  <a:gd name="T26" fmla="*/ 0 w 1756"/>
                  <a:gd name="T27" fmla="*/ 0 h 1885"/>
                  <a:gd name="T28" fmla="*/ 0 w 1756"/>
                  <a:gd name="T29" fmla="*/ 0 h 1885"/>
                  <a:gd name="T30" fmla="*/ 0 w 1756"/>
                  <a:gd name="T31" fmla="*/ 0 h 1885"/>
                  <a:gd name="T32" fmla="*/ 0 w 1756"/>
                  <a:gd name="T33" fmla="*/ 0 h 1885"/>
                  <a:gd name="T34" fmla="*/ 0 w 1756"/>
                  <a:gd name="T35" fmla="*/ 0 h 1885"/>
                  <a:gd name="T36" fmla="*/ 0 w 1756"/>
                  <a:gd name="T37" fmla="*/ 0 h 1885"/>
                  <a:gd name="T38" fmla="*/ 0 w 1756"/>
                  <a:gd name="T39" fmla="*/ 0 h 1885"/>
                  <a:gd name="T40" fmla="*/ 0 w 1756"/>
                  <a:gd name="T41" fmla="*/ 0 h 1885"/>
                  <a:gd name="T42" fmla="*/ 0 w 1756"/>
                  <a:gd name="T43" fmla="*/ 0 h 1885"/>
                  <a:gd name="T44" fmla="*/ 0 w 1756"/>
                  <a:gd name="T45" fmla="*/ 0 h 1885"/>
                  <a:gd name="T46" fmla="*/ 0 w 1756"/>
                  <a:gd name="T47" fmla="*/ 0 h 1885"/>
                  <a:gd name="T48" fmla="*/ 0 w 1756"/>
                  <a:gd name="T49" fmla="*/ 0 h 1885"/>
                  <a:gd name="T50" fmla="*/ 0 w 1756"/>
                  <a:gd name="T51" fmla="*/ 0 h 1885"/>
                  <a:gd name="T52" fmla="*/ 0 w 1756"/>
                  <a:gd name="T53" fmla="*/ 0 h 1885"/>
                  <a:gd name="T54" fmla="*/ 0 w 1756"/>
                  <a:gd name="T55" fmla="*/ 0 h 1885"/>
                  <a:gd name="T56" fmla="*/ 0 w 1756"/>
                  <a:gd name="T57" fmla="*/ 0 h 1885"/>
                  <a:gd name="T58" fmla="*/ 0 w 1756"/>
                  <a:gd name="T59" fmla="*/ 0 h 1885"/>
                  <a:gd name="T60" fmla="*/ 0 w 1756"/>
                  <a:gd name="T61" fmla="*/ 0 h 1885"/>
                  <a:gd name="T62" fmla="*/ 0 w 1756"/>
                  <a:gd name="T63" fmla="*/ 0 h 1885"/>
                  <a:gd name="T64" fmla="*/ 0 w 1756"/>
                  <a:gd name="T65" fmla="*/ 0 h 1885"/>
                  <a:gd name="T66" fmla="*/ 0 w 1756"/>
                  <a:gd name="T67" fmla="*/ 0 h 1885"/>
                  <a:gd name="T68" fmla="*/ 0 w 1756"/>
                  <a:gd name="T69" fmla="*/ 0 h 1885"/>
                  <a:gd name="T70" fmla="*/ 0 w 1756"/>
                  <a:gd name="T71" fmla="*/ 0 h 1885"/>
                  <a:gd name="T72" fmla="*/ 0 w 1756"/>
                  <a:gd name="T73" fmla="*/ 0 h 1885"/>
                  <a:gd name="T74" fmla="*/ 0 w 1756"/>
                  <a:gd name="T75" fmla="*/ 0 h 1885"/>
                  <a:gd name="T76" fmla="*/ 0 w 1756"/>
                  <a:gd name="T77" fmla="*/ 0 h 1885"/>
                  <a:gd name="T78" fmla="*/ 0 w 1756"/>
                  <a:gd name="T79" fmla="*/ 0 h 1885"/>
                  <a:gd name="T80" fmla="*/ 0 w 1756"/>
                  <a:gd name="T81" fmla="*/ 0 h 1885"/>
                  <a:gd name="T82" fmla="*/ 0 w 1756"/>
                  <a:gd name="T83" fmla="*/ 0 h 1885"/>
                  <a:gd name="T84" fmla="*/ 0 w 1756"/>
                  <a:gd name="T85" fmla="*/ 0 h 1885"/>
                  <a:gd name="T86" fmla="*/ 0 w 1756"/>
                  <a:gd name="T87" fmla="*/ 0 h 1885"/>
                  <a:gd name="T88" fmla="*/ 0 w 1756"/>
                  <a:gd name="T89" fmla="*/ 0 h 1885"/>
                  <a:gd name="T90" fmla="*/ 0 w 1756"/>
                  <a:gd name="T91" fmla="*/ 0 h 1885"/>
                  <a:gd name="T92" fmla="*/ 0 w 1756"/>
                  <a:gd name="T93" fmla="*/ 0 h 1885"/>
                  <a:gd name="T94" fmla="*/ 0 w 1756"/>
                  <a:gd name="T95" fmla="*/ 0 h 1885"/>
                  <a:gd name="T96" fmla="*/ 0 w 1756"/>
                  <a:gd name="T97" fmla="*/ 0 h 1885"/>
                  <a:gd name="T98" fmla="*/ 0 w 1756"/>
                  <a:gd name="T99" fmla="*/ 0 h 1885"/>
                  <a:gd name="T100" fmla="*/ 0 w 1756"/>
                  <a:gd name="T101" fmla="*/ 0 h 1885"/>
                  <a:gd name="T102" fmla="*/ 0 w 1756"/>
                  <a:gd name="T103" fmla="*/ 0 h 1885"/>
                  <a:gd name="T104" fmla="*/ 0 w 1756"/>
                  <a:gd name="T105" fmla="*/ 0 h 1885"/>
                  <a:gd name="T106" fmla="*/ 0 w 1756"/>
                  <a:gd name="T107" fmla="*/ 0 h 1885"/>
                  <a:gd name="T108" fmla="*/ 0 w 1756"/>
                  <a:gd name="T109" fmla="*/ 0 h 1885"/>
                  <a:gd name="T110" fmla="*/ 0 w 1756"/>
                  <a:gd name="T111" fmla="*/ 0 h 1885"/>
                  <a:gd name="T112" fmla="*/ 0 w 1756"/>
                  <a:gd name="T113" fmla="*/ 0 h 1885"/>
                  <a:gd name="T114" fmla="*/ 0 w 1756"/>
                  <a:gd name="T115" fmla="*/ 0 h 1885"/>
                  <a:gd name="T116" fmla="*/ 0 w 1756"/>
                  <a:gd name="T117" fmla="*/ 0 h 18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756" h="1885">
                    <a:moveTo>
                      <a:pt x="901" y="196"/>
                    </a:moveTo>
                    <a:lnTo>
                      <a:pt x="912" y="187"/>
                    </a:lnTo>
                    <a:lnTo>
                      <a:pt x="925" y="178"/>
                    </a:lnTo>
                    <a:lnTo>
                      <a:pt x="925" y="159"/>
                    </a:lnTo>
                    <a:lnTo>
                      <a:pt x="936" y="147"/>
                    </a:lnTo>
                    <a:lnTo>
                      <a:pt x="931" y="135"/>
                    </a:lnTo>
                    <a:lnTo>
                      <a:pt x="933" y="126"/>
                    </a:lnTo>
                    <a:lnTo>
                      <a:pt x="949" y="127"/>
                    </a:lnTo>
                    <a:lnTo>
                      <a:pt x="979" y="117"/>
                    </a:lnTo>
                    <a:lnTo>
                      <a:pt x="994" y="97"/>
                    </a:lnTo>
                    <a:lnTo>
                      <a:pt x="1000" y="96"/>
                    </a:lnTo>
                    <a:lnTo>
                      <a:pt x="1006" y="94"/>
                    </a:lnTo>
                    <a:lnTo>
                      <a:pt x="1008" y="79"/>
                    </a:lnTo>
                    <a:lnTo>
                      <a:pt x="1018" y="70"/>
                    </a:lnTo>
                    <a:lnTo>
                      <a:pt x="1029" y="76"/>
                    </a:lnTo>
                    <a:lnTo>
                      <a:pt x="1032" y="66"/>
                    </a:lnTo>
                    <a:lnTo>
                      <a:pt x="1042" y="64"/>
                    </a:lnTo>
                    <a:lnTo>
                      <a:pt x="1054" y="57"/>
                    </a:lnTo>
                    <a:lnTo>
                      <a:pt x="1068" y="55"/>
                    </a:lnTo>
                    <a:lnTo>
                      <a:pt x="1077" y="36"/>
                    </a:lnTo>
                    <a:lnTo>
                      <a:pt x="1092" y="37"/>
                    </a:lnTo>
                    <a:lnTo>
                      <a:pt x="1105" y="25"/>
                    </a:lnTo>
                    <a:lnTo>
                      <a:pt x="1107" y="13"/>
                    </a:lnTo>
                    <a:lnTo>
                      <a:pt x="1125" y="1"/>
                    </a:lnTo>
                    <a:lnTo>
                      <a:pt x="1150" y="0"/>
                    </a:lnTo>
                    <a:lnTo>
                      <a:pt x="1150" y="15"/>
                    </a:lnTo>
                    <a:lnTo>
                      <a:pt x="1159" y="42"/>
                    </a:lnTo>
                    <a:lnTo>
                      <a:pt x="1146" y="54"/>
                    </a:lnTo>
                    <a:lnTo>
                      <a:pt x="1134" y="96"/>
                    </a:lnTo>
                    <a:lnTo>
                      <a:pt x="1110" y="112"/>
                    </a:lnTo>
                    <a:lnTo>
                      <a:pt x="1096" y="112"/>
                    </a:lnTo>
                    <a:lnTo>
                      <a:pt x="1093" y="127"/>
                    </a:lnTo>
                    <a:lnTo>
                      <a:pt x="1077" y="133"/>
                    </a:lnTo>
                    <a:lnTo>
                      <a:pt x="1074" y="157"/>
                    </a:lnTo>
                    <a:lnTo>
                      <a:pt x="1080" y="175"/>
                    </a:lnTo>
                    <a:lnTo>
                      <a:pt x="1089" y="199"/>
                    </a:lnTo>
                    <a:lnTo>
                      <a:pt x="1096" y="210"/>
                    </a:lnTo>
                    <a:lnTo>
                      <a:pt x="1113" y="216"/>
                    </a:lnTo>
                    <a:lnTo>
                      <a:pt x="1123" y="234"/>
                    </a:lnTo>
                    <a:lnTo>
                      <a:pt x="1140" y="243"/>
                    </a:lnTo>
                    <a:lnTo>
                      <a:pt x="1138" y="256"/>
                    </a:lnTo>
                    <a:lnTo>
                      <a:pt x="1113" y="262"/>
                    </a:lnTo>
                    <a:lnTo>
                      <a:pt x="1101" y="277"/>
                    </a:lnTo>
                    <a:lnTo>
                      <a:pt x="1105" y="334"/>
                    </a:lnTo>
                    <a:lnTo>
                      <a:pt x="1119" y="343"/>
                    </a:lnTo>
                    <a:lnTo>
                      <a:pt x="1135" y="370"/>
                    </a:lnTo>
                    <a:lnTo>
                      <a:pt x="1152" y="385"/>
                    </a:lnTo>
                    <a:lnTo>
                      <a:pt x="1159" y="400"/>
                    </a:lnTo>
                    <a:lnTo>
                      <a:pt x="1165" y="420"/>
                    </a:lnTo>
                    <a:lnTo>
                      <a:pt x="1185" y="427"/>
                    </a:lnTo>
                    <a:lnTo>
                      <a:pt x="1189" y="456"/>
                    </a:lnTo>
                    <a:lnTo>
                      <a:pt x="1195" y="474"/>
                    </a:lnTo>
                    <a:lnTo>
                      <a:pt x="1203" y="483"/>
                    </a:lnTo>
                    <a:lnTo>
                      <a:pt x="1219" y="493"/>
                    </a:lnTo>
                    <a:lnTo>
                      <a:pt x="1239" y="489"/>
                    </a:lnTo>
                    <a:lnTo>
                      <a:pt x="1302" y="526"/>
                    </a:lnTo>
                    <a:lnTo>
                      <a:pt x="1324" y="526"/>
                    </a:lnTo>
                    <a:lnTo>
                      <a:pt x="1344" y="540"/>
                    </a:lnTo>
                    <a:lnTo>
                      <a:pt x="1360" y="559"/>
                    </a:lnTo>
                    <a:lnTo>
                      <a:pt x="1384" y="565"/>
                    </a:lnTo>
                    <a:lnTo>
                      <a:pt x="1396" y="582"/>
                    </a:lnTo>
                    <a:lnTo>
                      <a:pt x="1413" y="592"/>
                    </a:lnTo>
                    <a:lnTo>
                      <a:pt x="1461" y="594"/>
                    </a:lnTo>
                    <a:lnTo>
                      <a:pt x="1470" y="624"/>
                    </a:lnTo>
                    <a:lnTo>
                      <a:pt x="1503" y="616"/>
                    </a:lnTo>
                    <a:lnTo>
                      <a:pt x="1530" y="622"/>
                    </a:lnTo>
                    <a:lnTo>
                      <a:pt x="1536" y="612"/>
                    </a:lnTo>
                    <a:lnTo>
                      <a:pt x="1569" y="609"/>
                    </a:lnTo>
                    <a:lnTo>
                      <a:pt x="1578" y="600"/>
                    </a:lnTo>
                    <a:lnTo>
                      <a:pt x="1641" y="580"/>
                    </a:lnTo>
                    <a:lnTo>
                      <a:pt x="1671" y="583"/>
                    </a:lnTo>
                    <a:lnTo>
                      <a:pt x="1683" y="577"/>
                    </a:lnTo>
                    <a:lnTo>
                      <a:pt x="1695" y="549"/>
                    </a:lnTo>
                    <a:lnTo>
                      <a:pt x="1731" y="556"/>
                    </a:lnTo>
                    <a:lnTo>
                      <a:pt x="1720" y="595"/>
                    </a:lnTo>
                    <a:lnTo>
                      <a:pt x="1719" y="610"/>
                    </a:lnTo>
                    <a:lnTo>
                      <a:pt x="1731" y="625"/>
                    </a:lnTo>
                    <a:lnTo>
                      <a:pt x="1749" y="648"/>
                    </a:lnTo>
                    <a:lnTo>
                      <a:pt x="1756" y="672"/>
                    </a:lnTo>
                    <a:lnTo>
                      <a:pt x="1747" y="702"/>
                    </a:lnTo>
                    <a:lnTo>
                      <a:pt x="1728" y="720"/>
                    </a:lnTo>
                    <a:lnTo>
                      <a:pt x="1716" y="735"/>
                    </a:lnTo>
                    <a:lnTo>
                      <a:pt x="1719" y="748"/>
                    </a:lnTo>
                    <a:lnTo>
                      <a:pt x="1723" y="757"/>
                    </a:lnTo>
                    <a:lnTo>
                      <a:pt x="1716" y="774"/>
                    </a:lnTo>
                    <a:lnTo>
                      <a:pt x="1674" y="802"/>
                    </a:lnTo>
                    <a:lnTo>
                      <a:pt x="1641" y="819"/>
                    </a:lnTo>
                    <a:lnTo>
                      <a:pt x="1635" y="823"/>
                    </a:lnTo>
                    <a:lnTo>
                      <a:pt x="1626" y="846"/>
                    </a:lnTo>
                    <a:lnTo>
                      <a:pt x="1629" y="874"/>
                    </a:lnTo>
                    <a:lnTo>
                      <a:pt x="1605" y="888"/>
                    </a:lnTo>
                    <a:lnTo>
                      <a:pt x="1590" y="897"/>
                    </a:lnTo>
                    <a:lnTo>
                      <a:pt x="1581" y="913"/>
                    </a:lnTo>
                    <a:lnTo>
                      <a:pt x="1584" y="924"/>
                    </a:lnTo>
                    <a:lnTo>
                      <a:pt x="1593" y="943"/>
                    </a:lnTo>
                    <a:lnTo>
                      <a:pt x="1600" y="979"/>
                    </a:lnTo>
                    <a:lnTo>
                      <a:pt x="1605" y="1008"/>
                    </a:lnTo>
                    <a:lnTo>
                      <a:pt x="1585" y="1012"/>
                    </a:lnTo>
                    <a:lnTo>
                      <a:pt x="1584" y="1020"/>
                    </a:lnTo>
                    <a:lnTo>
                      <a:pt x="1573" y="1027"/>
                    </a:lnTo>
                    <a:lnTo>
                      <a:pt x="1567" y="1032"/>
                    </a:lnTo>
                    <a:lnTo>
                      <a:pt x="1567" y="1035"/>
                    </a:lnTo>
                    <a:lnTo>
                      <a:pt x="1573" y="1038"/>
                    </a:lnTo>
                    <a:lnTo>
                      <a:pt x="1570" y="1050"/>
                    </a:lnTo>
                    <a:lnTo>
                      <a:pt x="1564" y="1048"/>
                    </a:lnTo>
                    <a:lnTo>
                      <a:pt x="1557" y="1048"/>
                    </a:lnTo>
                    <a:lnTo>
                      <a:pt x="1548" y="1044"/>
                    </a:lnTo>
                    <a:lnTo>
                      <a:pt x="1543" y="1044"/>
                    </a:lnTo>
                    <a:lnTo>
                      <a:pt x="1540" y="1039"/>
                    </a:lnTo>
                    <a:lnTo>
                      <a:pt x="1534" y="1042"/>
                    </a:lnTo>
                    <a:lnTo>
                      <a:pt x="1522" y="1053"/>
                    </a:lnTo>
                    <a:lnTo>
                      <a:pt x="1516" y="1062"/>
                    </a:lnTo>
                    <a:lnTo>
                      <a:pt x="1515" y="1066"/>
                    </a:lnTo>
                    <a:lnTo>
                      <a:pt x="1515" y="1074"/>
                    </a:lnTo>
                    <a:lnTo>
                      <a:pt x="1516" y="1081"/>
                    </a:lnTo>
                    <a:lnTo>
                      <a:pt x="1512" y="1080"/>
                    </a:lnTo>
                    <a:lnTo>
                      <a:pt x="1506" y="1084"/>
                    </a:lnTo>
                    <a:lnTo>
                      <a:pt x="1492" y="1087"/>
                    </a:lnTo>
                    <a:lnTo>
                      <a:pt x="1492" y="1081"/>
                    </a:lnTo>
                    <a:lnTo>
                      <a:pt x="1486" y="1081"/>
                    </a:lnTo>
                    <a:lnTo>
                      <a:pt x="1482" y="1084"/>
                    </a:lnTo>
                    <a:lnTo>
                      <a:pt x="1476" y="1083"/>
                    </a:lnTo>
                    <a:lnTo>
                      <a:pt x="1474" y="1080"/>
                    </a:lnTo>
                    <a:lnTo>
                      <a:pt x="1467" y="1081"/>
                    </a:lnTo>
                    <a:lnTo>
                      <a:pt x="1464" y="1087"/>
                    </a:lnTo>
                    <a:lnTo>
                      <a:pt x="1458" y="1090"/>
                    </a:lnTo>
                    <a:lnTo>
                      <a:pt x="1450" y="1096"/>
                    </a:lnTo>
                    <a:lnTo>
                      <a:pt x="1449" y="1102"/>
                    </a:lnTo>
                    <a:lnTo>
                      <a:pt x="1452" y="1116"/>
                    </a:lnTo>
                    <a:lnTo>
                      <a:pt x="1462" y="1117"/>
                    </a:lnTo>
                    <a:lnTo>
                      <a:pt x="1461" y="1125"/>
                    </a:lnTo>
                    <a:lnTo>
                      <a:pt x="1456" y="1129"/>
                    </a:lnTo>
                    <a:lnTo>
                      <a:pt x="1453" y="1128"/>
                    </a:lnTo>
                    <a:lnTo>
                      <a:pt x="1452" y="1128"/>
                    </a:lnTo>
                    <a:lnTo>
                      <a:pt x="1449" y="1137"/>
                    </a:lnTo>
                    <a:lnTo>
                      <a:pt x="1444" y="1137"/>
                    </a:lnTo>
                    <a:lnTo>
                      <a:pt x="1441" y="1128"/>
                    </a:lnTo>
                    <a:lnTo>
                      <a:pt x="1437" y="1117"/>
                    </a:lnTo>
                    <a:lnTo>
                      <a:pt x="1443" y="1108"/>
                    </a:lnTo>
                    <a:lnTo>
                      <a:pt x="1440" y="1105"/>
                    </a:lnTo>
                    <a:lnTo>
                      <a:pt x="1435" y="1102"/>
                    </a:lnTo>
                    <a:lnTo>
                      <a:pt x="1429" y="1107"/>
                    </a:lnTo>
                    <a:lnTo>
                      <a:pt x="1429" y="1120"/>
                    </a:lnTo>
                    <a:lnTo>
                      <a:pt x="1425" y="1120"/>
                    </a:lnTo>
                    <a:lnTo>
                      <a:pt x="1420" y="1125"/>
                    </a:lnTo>
                    <a:lnTo>
                      <a:pt x="1416" y="1122"/>
                    </a:lnTo>
                    <a:lnTo>
                      <a:pt x="1417" y="1117"/>
                    </a:lnTo>
                    <a:lnTo>
                      <a:pt x="1414" y="1111"/>
                    </a:lnTo>
                    <a:lnTo>
                      <a:pt x="1405" y="1110"/>
                    </a:lnTo>
                    <a:lnTo>
                      <a:pt x="1386" y="1111"/>
                    </a:lnTo>
                    <a:lnTo>
                      <a:pt x="1371" y="1122"/>
                    </a:lnTo>
                    <a:lnTo>
                      <a:pt x="1359" y="1150"/>
                    </a:lnTo>
                    <a:lnTo>
                      <a:pt x="1353" y="1153"/>
                    </a:lnTo>
                    <a:lnTo>
                      <a:pt x="1347" y="1156"/>
                    </a:lnTo>
                    <a:lnTo>
                      <a:pt x="1339" y="1153"/>
                    </a:lnTo>
                    <a:lnTo>
                      <a:pt x="1335" y="1156"/>
                    </a:lnTo>
                    <a:lnTo>
                      <a:pt x="1320" y="1155"/>
                    </a:lnTo>
                    <a:lnTo>
                      <a:pt x="1311" y="1161"/>
                    </a:lnTo>
                    <a:lnTo>
                      <a:pt x="1303" y="1168"/>
                    </a:lnTo>
                    <a:lnTo>
                      <a:pt x="1294" y="1185"/>
                    </a:lnTo>
                    <a:lnTo>
                      <a:pt x="1288" y="1195"/>
                    </a:lnTo>
                    <a:lnTo>
                      <a:pt x="1285" y="1221"/>
                    </a:lnTo>
                    <a:lnTo>
                      <a:pt x="1290" y="1225"/>
                    </a:lnTo>
                    <a:lnTo>
                      <a:pt x="1285" y="1231"/>
                    </a:lnTo>
                    <a:lnTo>
                      <a:pt x="1285" y="1239"/>
                    </a:lnTo>
                    <a:lnTo>
                      <a:pt x="1293" y="1245"/>
                    </a:lnTo>
                    <a:lnTo>
                      <a:pt x="1300" y="1246"/>
                    </a:lnTo>
                    <a:lnTo>
                      <a:pt x="1297" y="1263"/>
                    </a:lnTo>
                    <a:lnTo>
                      <a:pt x="1303" y="1267"/>
                    </a:lnTo>
                    <a:lnTo>
                      <a:pt x="1293" y="1279"/>
                    </a:lnTo>
                    <a:lnTo>
                      <a:pt x="1287" y="1278"/>
                    </a:lnTo>
                    <a:lnTo>
                      <a:pt x="1285" y="1284"/>
                    </a:lnTo>
                    <a:lnTo>
                      <a:pt x="1281" y="1282"/>
                    </a:lnTo>
                    <a:lnTo>
                      <a:pt x="1284" y="1269"/>
                    </a:lnTo>
                    <a:lnTo>
                      <a:pt x="1279" y="1258"/>
                    </a:lnTo>
                    <a:lnTo>
                      <a:pt x="1269" y="1251"/>
                    </a:lnTo>
                    <a:lnTo>
                      <a:pt x="1263" y="1251"/>
                    </a:lnTo>
                    <a:lnTo>
                      <a:pt x="1249" y="1255"/>
                    </a:lnTo>
                    <a:lnTo>
                      <a:pt x="1237" y="1266"/>
                    </a:lnTo>
                    <a:lnTo>
                      <a:pt x="1236" y="1275"/>
                    </a:lnTo>
                    <a:lnTo>
                      <a:pt x="1230" y="1278"/>
                    </a:lnTo>
                    <a:lnTo>
                      <a:pt x="1224" y="1281"/>
                    </a:lnTo>
                    <a:lnTo>
                      <a:pt x="1221" y="1290"/>
                    </a:lnTo>
                    <a:lnTo>
                      <a:pt x="1215" y="1290"/>
                    </a:lnTo>
                    <a:lnTo>
                      <a:pt x="1213" y="1279"/>
                    </a:lnTo>
                    <a:lnTo>
                      <a:pt x="1209" y="1273"/>
                    </a:lnTo>
                    <a:lnTo>
                      <a:pt x="1197" y="1272"/>
                    </a:lnTo>
                    <a:lnTo>
                      <a:pt x="1165" y="1279"/>
                    </a:lnTo>
                    <a:lnTo>
                      <a:pt x="1155" y="1291"/>
                    </a:lnTo>
                    <a:lnTo>
                      <a:pt x="1147" y="1299"/>
                    </a:lnTo>
                    <a:lnTo>
                      <a:pt x="1144" y="1308"/>
                    </a:lnTo>
                    <a:lnTo>
                      <a:pt x="1144" y="1317"/>
                    </a:lnTo>
                    <a:lnTo>
                      <a:pt x="1152" y="1320"/>
                    </a:lnTo>
                    <a:lnTo>
                      <a:pt x="1156" y="1321"/>
                    </a:lnTo>
                    <a:lnTo>
                      <a:pt x="1156" y="1330"/>
                    </a:lnTo>
                    <a:lnTo>
                      <a:pt x="1149" y="1335"/>
                    </a:lnTo>
                    <a:lnTo>
                      <a:pt x="1153" y="1339"/>
                    </a:lnTo>
                    <a:lnTo>
                      <a:pt x="1150" y="1345"/>
                    </a:lnTo>
                    <a:lnTo>
                      <a:pt x="1143" y="1342"/>
                    </a:lnTo>
                    <a:lnTo>
                      <a:pt x="1137" y="1345"/>
                    </a:lnTo>
                    <a:lnTo>
                      <a:pt x="1132" y="1356"/>
                    </a:lnTo>
                    <a:lnTo>
                      <a:pt x="1126" y="1363"/>
                    </a:lnTo>
                    <a:lnTo>
                      <a:pt x="1131" y="1366"/>
                    </a:lnTo>
                    <a:lnTo>
                      <a:pt x="1126" y="1380"/>
                    </a:lnTo>
                    <a:lnTo>
                      <a:pt x="1128" y="1386"/>
                    </a:lnTo>
                    <a:lnTo>
                      <a:pt x="1120" y="1395"/>
                    </a:lnTo>
                    <a:lnTo>
                      <a:pt x="1108" y="1401"/>
                    </a:lnTo>
                    <a:lnTo>
                      <a:pt x="1108" y="1410"/>
                    </a:lnTo>
                    <a:lnTo>
                      <a:pt x="1090" y="1420"/>
                    </a:lnTo>
                    <a:lnTo>
                      <a:pt x="1081" y="1411"/>
                    </a:lnTo>
                    <a:lnTo>
                      <a:pt x="1078" y="1413"/>
                    </a:lnTo>
                    <a:lnTo>
                      <a:pt x="1080" y="1428"/>
                    </a:lnTo>
                    <a:lnTo>
                      <a:pt x="1078" y="1435"/>
                    </a:lnTo>
                    <a:lnTo>
                      <a:pt x="1060" y="1432"/>
                    </a:lnTo>
                    <a:lnTo>
                      <a:pt x="1053" y="1429"/>
                    </a:lnTo>
                    <a:lnTo>
                      <a:pt x="1042" y="1435"/>
                    </a:lnTo>
                    <a:lnTo>
                      <a:pt x="1038" y="1432"/>
                    </a:lnTo>
                    <a:lnTo>
                      <a:pt x="1026" y="1438"/>
                    </a:lnTo>
                    <a:lnTo>
                      <a:pt x="1011" y="1429"/>
                    </a:lnTo>
                    <a:lnTo>
                      <a:pt x="1000" y="1420"/>
                    </a:lnTo>
                    <a:lnTo>
                      <a:pt x="987" y="1426"/>
                    </a:lnTo>
                    <a:lnTo>
                      <a:pt x="976" y="1455"/>
                    </a:lnTo>
                    <a:lnTo>
                      <a:pt x="981" y="1459"/>
                    </a:lnTo>
                    <a:lnTo>
                      <a:pt x="970" y="1476"/>
                    </a:lnTo>
                    <a:lnTo>
                      <a:pt x="963" y="1485"/>
                    </a:lnTo>
                    <a:lnTo>
                      <a:pt x="967" y="1494"/>
                    </a:lnTo>
                    <a:lnTo>
                      <a:pt x="966" y="1504"/>
                    </a:lnTo>
                    <a:lnTo>
                      <a:pt x="970" y="1513"/>
                    </a:lnTo>
                    <a:lnTo>
                      <a:pt x="937" y="1519"/>
                    </a:lnTo>
                    <a:lnTo>
                      <a:pt x="927" y="1539"/>
                    </a:lnTo>
                    <a:lnTo>
                      <a:pt x="931" y="1548"/>
                    </a:lnTo>
                    <a:lnTo>
                      <a:pt x="903" y="1560"/>
                    </a:lnTo>
                    <a:lnTo>
                      <a:pt x="895" y="1558"/>
                    </a:lnTo>
                    <a:lnTo>
                      <a:pt x="888" y="1570"/>
                    </a:lnTo>
                    <a:lnTo>
                      <a:pt x="867" y="1584"/>
                    </a:lnTo>
                    <a:lnTo>
                      <a:pt x="859" y="1585"/>
                    </a:lnTo>
                    <a:lnTo>
                      <a:pt x="859" y="1591"/>
                    </a:lnTo>
                    <a:lnTo>
                      <a:pt x="856" y="1597"/>
                    </a:lnTo>
                    <a:lnTo>
                      <a:pt x="862" y="1597"/>
                    </a:lnTo>
                    <a:lnTo>
                      <a:pt x="862" y="1602"/>
                    </a:lnTo>
                    <a:lnTo>
                      <a:pt x="874" y="1605"/>
                    </a:lnTo>
                    <a:lnTo>
                      <a:pt x="888" y="1600"/>
                    </a:lnTo>
                    <a:lnTo>
                      <a:pt x="904" y="1591"/>
                    </a:lnTo>
                    <a:lnTo>
                      <a:pt x="913" y="1591"/>
                    </a:lnTo>
                    <a:lnTo>
                      <a:pt x="916" y="1596"/>
                    </a:lnTo>
                    <a:lnTo>
                      <a:pt x="919" y="1594"/>
                    </a:lnTo>
                    <a:lnTo>
                      <a:pt x="924" y="1599"/>
                    </a:lnTo>
                    <a:lnTo>
                      <a:pt x="928" y="1594"/>
                    </a:lnTo>
                    <a:lnTo>
                      <a:pt x="928" y="1587"/>
                    </a:lnTo>
                    <a:lnTo>
                      <a:pt x="934" y="1584"/>
                    </a:lnTo>
                    <a:lnTo>
                      <a:pt x="949" y="1596"/>
                    </a:lnTo>
                    <a:lnTo>
                      <a:pt x="954" y="1597"/>
                    </a:lnTo>
                    <a:lnTo>
                      <a:pt x="951" y="1606"/>
                    </a:lnTo>
                    <a:lnTo>
                      <a:pt x="951" y="1617"/>
                    </a:lnTo>
                    <a:lnTo>
                      <a:pt x="946" y="1617"/>
                    </a:lnTo>
                    <a:lnTo>
                      <a:pt x="940" y="1621"/>
                    </a:lnTo>
                    <a:lnTo>
                      <a:pt x="934" y="1623"/>
                    </a:lnTo>
                    <a:lnTo>
                      <a:pt x="925" y="1630"/>
                    </a:lnTo>
                    <a:lnTo>
                      <a:pt x="922" y="1647"/>
                    </a:lnTo>
                    <a:lnTo>
                      <a:pt x="927" y="1662"/>
                    </a:lnTo>
                    <a:lnTo>
                      <a:pt x="933" y="1665"/>
                    </a:lnTo>
                    <a:lnTo>
                      <a:pt x="933" y="1671"/>
                    </a:lnTo>
                    <a:lnTo>
                      <a:pt x="942" y="1675"/>
                    </a:lnTo>
                    <a:lnTo>
                      <a:pt x="937" y="1684"/>
                    </a:lnTo>
                    <a:lnTo>
                      <a:pt x="933" y="1681"/>
                    </a:lnTo>
                    <a:lnTo>
                      <a:pt x="918" y="1686"/>
                    </a:lnTo>
                    <a:lnTo>
                      <a:pt x="912" y="1693"/>
                    </a:lnTo>
                    <a:lnTo>
                      <a:pt x="910" y="1705"/>
                    </a:lnTo>
                    <a:lnTo>
                      <a:pt x="915" y="1714"/>
                    </a:lnTo>
                    <a:lnTo>
                      <a:pt x="910" y="1719"/>
                    </a:lnTo>
                    <a:lnTo>
                      <a:pt x="903" y="1710"/>
                    </a:lnTo>
                    <a:lnTo>
                      <a:pt x="897" y="1716"/>
                    </a:lnTo>
                    <a:lnTo>
                      <a:pt x="895" y="1728"/>
                    </a:lnTo>
                    <a:lnTo>
                      <a:pt x="892" y="1728"/>
                    </a:lnTo>
                    <a:lnTo>
                      <a:pt x="880" y="1710"/>
                    </a:lnTo>
                    <a:lnTo>
                      <a:pt x="874" y="1708"/>
                    </a:lnTo>
                    <a:lnTo>
                      <a:pt x="879" y="1704"/>
                    </a:lnTo>
                    <a:lnTo>
                      <a:pt x="876" y="1698"/>
                    </a:lnTo>
                    <a:lnTo>
                      <a:pt x="837" y="1692"/>
                    </a:lnTo>
                    <a:lnTo>
                      <a:pt x="825" y="1711"/>
                    </a:lnTo>
                    <a:lnTo>
                      <a:pt x="826" y="1716"/>
                    </a:lnTo>
                    <a:lnTo>
                      <a:pt x="819" y="1722"/>
                    </a:lnTo>
                    <a:lnTo>
                      <a:pt x="810" y="1722"/>
                    </a:lnTo>
                    <a:lnTo>
                      <a:pt x="804" y="1731"/>
                    </a:lnTo>
                    <a:lnTo>
                      <a:pt x="787" y="1738"/>
                    </a:lnTo>
                    <a:lnTo>
                      <a:pt x="775" y="1734"/>
                    </a:lnTo>
                    <a:lnTo>
                      <a:pt x="771" y="1734"/>
                    </a:lnTo>
                    <a:lnTo>
                      <a:pt x="762" y="1732"/>
                    </a:lnTo>
                    <a:lnTo>
                      <a:pt x="759" y="1735"/>
                    </a:lnTo>
                    <a:lnTo>
                      <a:pt x="756" y="1749"/>
                    </a:lnTo>
                    <a:lnTo>
                      <a:pt x="751" y="1750"/>
                    </a:lnTo>
                    <a:lnTo>
                      <a:pt x="742" y="1755"/>
                    </a:lnTo>
                    <a:lnTo>
                      <a:pt x="744" y="1744"/>
                    </a:lnTo>
                    <a:lnTo>
                      <a:pt x="733" y="1741"/>
                    </a:lnTo>
                    <a:lnTo>
                      <a:pt x="732" y="1749"/>
                    </a:lnTo>
                    <a:lnTo>
                      <a:pt x="727" y="1744"/>
                    </a:lnTo>
                    <a:lnTo>
                      <a:pt x="720" y="1744"/>
                    </a:lnTo>
                    <a:lnTo>
                      <a:pt x="715" y="1749"/>
                    </a:lnTo>
                    <a:lnTo>
                      <a:pt x="705" y="1749"/>
                    </a:lnTo>
                    <a:lnTo>
                      <a:pt x="702" y="1756"/>
                    </a:lnTo>
                    <a:lnTo>
                      <a:pt x="688" y="1755"/>
                    </a:lnTo>
                    <a:lnTo>
                      <a:pt x="684" y="1780"/>
                    </a:lnTo>
                    <a:lnTo>
                      <a:pt x="687" y="1788"/>
                    </a:lnTo>
                    <a:lnTo>
                      <a:pt x="682" y="1791"/>
                    </a:lnTo>
                    <a:lnTo>
                      <a:pt x="690" y="1795"/>
                    </a:lnTo>
                    <a:lnTo>
                      <a:pt x="693" y="1803"/>
                    </a:lnTo>
                    <a:lnTo>
                      <a:pt x="693" y="1809"/>
                    </a:lnTo>
                    <a:lnTo>
                      <a:pt x="687" y="1813"/>
                    </a:lnTo>
                    <a:lnTo>
                      <a:pt x="669" y="1810"/>
                    </a:lnTo>
                    <a:lnTo>
                      <a:pt x="661" y="1815"/>
                    </a:lnTo>
                    <a:lnTo>
                      <a:pt x="660" y="1807"/>
                    </a:lnTo>
                    <a:lnTo>
                      <a:pt x="652" y="1812"/>
                    </a:lnTo>
                    <a:lnTo>
                      <a:pt x="649" y="1807"/>
                    </a:lnTo>
                    <a:lnTo>
                      <a:pt x="654" y="1801"/>
                    </a:lnTo>
                    <a:lnTo>
                      <a:pt x="651" y="1795"/>
                    </a:lnTo>
                    <a:lnTo>
                      <a:pt x="634" y="1788"/>
                    </a:lnTo>
                    <a:lnTo>
                      <a:pt x="628" y="1794"/>
                    </a:lnTo>
                    <a:lnTo>
                      <a:pt x="627" y="1783"/>
                    </a:lnTo>
                    <a:lnTo>
                      <a:pt x="615" y="1773"/>
                    </a:lnTo>
                    <a:lnTo>
                      <a:pt x="607" y="1773"/>
                    </a:lnTo>
                    <a:lnTo>
                      <a:pt x="586" y="1782"/>
                    </a:lnTo>
                    <a:lnTo>
                      <a:pt x="555" y="1782"/>
                    </a:lnTo>
                    <a:lnTo>
                      <a:pt x="546" y="1785"/>
                    </a:lnTo>
                    <a:lnTo>
                      <a:pt x="540" y="1792"/>
                    </a:lnTo>
                    <a:lnTo>
                      <a:pt x="528" y="1803"/>
                    </a:lnTo>
                    <a:lnTo>
                      <a:pt x="520" y="1821"/>
                    </a:lnTo>
                    <a:lnTo>
                      <a:pt x="517" y="1864"/>
                    </a:lnTo>
                    <a:lnTo>
                      <a:pt x="520" y="1872"/>
                    </a:lnTo>
                    <a:lnTo>
                      <a:pt x="540" y="1875"/>
                    </a:lnTo>
                    <a:lnTo>
                      <a:pt x="540" y="1878"/>
                    </a:lnTo>
                    <a:lnTo>
                      <a:pt x="525" y="1884"/>
                    </a:lnTo>
                    <a:lnTo>
                      <a:pt x="519" y="1882"/>
                    </a:lnTo>
                    <a:lnTo>
                      <a:pt x="516" y="1885"/>
                    </a:lnTo>
                    <a:lnTo>
                      <a:pt x="507" y="1882"/>
                    </a:lnTo>
                    <a:lnTo>
                      <a:pt x="507" y="1875"/>
                    </a:lnTo>
                    <a:lnTo>
                      <a:pt x="502" y="1873"/>
                    </a:lnTo>
                    <a:lnTo>
                      <a:pt x="496" y="1881"/>
                    </a:lnTo>
                    <a:lnTo>
                      <a:pt x="490" y="1878"/>
                    </a:lnTo>
                    <a:lnTo>
                      <a:pt x="478" y="1882"/>
                    </a:lnTo>
                    <a:lnTo>
                      <a:pt x="475" y="1878"/>
                    </a:lnTo>
                    <a:lnTo>
                      <a:pt x="469" y="1872"/>
                    </a:lnTo>
                    <a:lnTo>
                      <a:pt x="474" y="1866"/>
                    </a:lnTo>
                    <a:lnTo>
                      <a:pt x="499" y="1866"/>
                    </a:lnTo>
                    <a:lnTo>
                      <a:pt x="501" y="1846"/>
                    </a:lnTo>
                    <a:lnTo>
                      <a:pt x="495" y="1822"/>
                    </a:lnTo>
                    <a:lnTo>
                      <a:pt x="475" y="1818"/>
                    </a:lnTo>
                    <a:lnTo>
                      <a:pt x="459" y="1813"/>
                    </a:lnTo>
                    <a:lnTo>
                      <a:pt x="451" y="1819"/>
                    </a:lnTo>
                    <a:lnTo>
                      <a:pt x="447" y="1816"/>
                    </a:lnTo>
                    <a:lnTo>
                      <a:pt x="441" y="1822"/>
                    </a:lnTo>
                    <a:lnTo>
                      <a:pt x="429" y="1821"/>
                    </a:lnTo>
                    <a:lnTo>
                      <a:pt x="417" y="1824"/>
                    </a:lnTo>
                    <a:lnTo>
                      <a:pt x="411" y="1819"/>
                    </a:lnTo>
                    <a:lnTo>
                      <a:pt x="420" y="1809"/>
                    </a:lnTo>
                    <a:lnTo>
                      <a:pt x="415" y="1800"/>
                    </a:lnTo>
                    <a:lnTo>
                      <a:pt x="391" y="1798"/>
                    </a:lnTo>
                    <a:lnTo>
                      <a:pt x="376" y="1794"/>
                    </a:lnTo>
                    <a:lnTo>
                      <a:pt x="369" y="1795"/>
                    </a:lnTo>
                    <a:lnTo>
                      <a:pt x="364" y="1792"/>
                    </a:lnTo>
                    <a:lnTo>
                      <a:pt x="348" y="1794"/>
                    </a:lnTo>
                    <a:lnTo>
                      <a:pt x="340" y="1798"/>
                    </a:lnTo>
                    <a:lnTo>
                      <a:pt x="339" y="1797"/>
                    </a:lnTo>
                    <a:lnTo>
                      <a:pt x="346" y="1782"/>
                    </a:lnTo>
                    <a:lnTo>
                      <a:pt x="337" y="1773"/>
                    </a:lnTo>
                    <a:lnTo>
                      <a:pt x="330" y="1780"/>
                    </a:lnTo>
                    <a:lnTo>
                      <a:pt x="318" y="1783"/>
                    </a:lnTo>
                    <a:lnTo>
                      <a:pt x="309" y="1776"/>
                    </a:lnTo>
                    <a:lnTo>
                      <a:pt x="309" y="1782"/>
                    </a:lnTo>
                    <a:lnTo>
                      <a:pt x="304" y="1788"/>
                    </a:lnTo>
                    <a:lnTo>
                      <a:pt x="304" y="1792"/>
                    </a:lnTo>
                    <a:lnTo>
                      <a:pt x="310" y="1795"/>
                    </a:lnTo>
                    <a:lnTo>
                      <a:pt x="321" y="1794"/>
                    </a:lnTo>
                    <a:lnTo>
                      <a:pt x="325" y="1800"/>
                    </a:lnTo>
                    <a:lnTo>
                      <a:pt x="324" y="1810"/>
                    </a:lnTo>
                    <a:lnTo>
                      <a:pt x="315" y="1816"/>
                    </a:lnTo>
                    <a:lnTo>
                      <a:pt x="318" y="1822"/>
                    </a:lnTo>
                    <a:lnTo>
                      <a:pt x="327" y="1825"/>
                    </a:lnTo>
                    <a:lnTo>
                      <a:pt x="333" y="1815"/>
                    </a:lnTo>
                    <a:lnTo>
                      <a:pt x="337" y="1822"/>
                    </a:lnTo>
                    <a:lnTo>
                      <a:pt x="340" y="1822"/>
                    </a:lnTo>
                    <a:lnTo>
                      <a:pt x="342" y="1819"/>
                    </a:lnTo>
                    <a:lnTo>
                      <a:pt x="351" y="1818"/>
                    </a:lnTo>
                    <a:lnTo>
                      <a:pt x="358" y="1825"/>
                    </a:lnTo>
                    <a:lnTo>
                      <a:pt x="360" y="1834"/>
                    </a:lnTo>
                    <a:lnTo>
                      <a:pt x="355" y="1839"/>
                    </a:lnTo>
                    <a:lnTo>
                      <a:pt x="346" y="1833"/>
                    </a:lnTo>
                    <a:lnTo>
                      <a:pt x="339" y="1834"/>
                    </a:lnTo>
                    <a:lnTo>
                      <a:pt x="333" y="1842"/>
                    </a:lnTo>
                    <a:lnTo>
                      <a:pt x="325" y="1840"/>
                    </a:lnTo>
                    <a:lnTo>
                      <a:pt x="324" y="1833"/>
                    </a:lnTo>
                    <a:lnTo>
                      <a:pt x="318" y="1828"/>
                    </a:lnTo>
                    <a:lnTo>
                      <a:pt x="310" y="1825"/>
                    </a:lnTo>
                    <a:lnTo>
                      <a:pt x="294" y="1843"/>
                    </a:lnTo>
                    <a:lnTo>
                      <a:pt x="291" y="1851"/>
                    </a:lnTo>
                    <a:lnTo>
                      <a:pt x="289" y="1863"/>
                    </a:lnTo>
                    <a:lnTo>
                      <a:pt x="280" y="1860"/>
                    </a:lnTo>
                    <a:lnTo>
                      <a:pt x="271" y="1855"/>
                    </a:lnTo>
                    <a:lnTo>
                      <a:pt x="261" y="1858"/>
                    </a:lnTo>
                    <a:lnTo>
                      <a:pt x="250" y="1843"/>
                    </a:lnTo>
                    <a:lnTo>
                      <a:pt x="247" y="1843"/>
                    </a:lnTo>
                    <a:lnTo>
                      <a:pt x="244" y="1839"/>
                    </a:lnTo>
                    <a:lnTo>
                      <a:pt x="237" y="1837"/>
                    </a:lnTo>
                    <a:lnTo>
                      <a:pt x="237" y="1830"/>
                    </a:lnTo>
                    <a:lnTo>
                      <a:pt x="243" y="1824"/>
                    </a:lnTo>
                    <a:lnTo>
                      <a:pt x="243" y="1813"/>
                    </a:lnTo>
                    <a:lnTo>
                      <a:pt x="247" y="1803"/>
                    </a:lnTo>
                    <a:lnTo>
                      <a:pt x="244" y="1803"/>
                    </a:lnTo>
                    <a:lnTo>
                      <a:pt x="243" y="1798"/>
                    </a:lnTo>
                    <a:lnTo>
                      <a:pt x="249" y="1791"/>
                    </a:lnTo>
                    <a:lnTo>
                      <a:pt x="244" y="1783"/>
                    </a:lnTo>
                    <a:lnTo>
                      <a:pt x="241" y="1783"/>
                    </a:lnTo>
                    <a:lnTo>
                      <a:pt x="240" y="1788"/>
                    </a:lnTo>
                    <a:lnTo>
                      <a:pt x="231" y="1789"/>
                    </a:lnTo>
                    <a:lnTo>
                      <a:pt x="231" y="1783"/>
                    </a:lnTo>
                    <a:lnTo>
                      <a:pt x="211" y="1783"/>
                    </a:lnTo>
                    <a:lnTo>
                      <a:pt x="220" y="1773"/>
                    </a:lnTo>
                    <a:lnTo>
                      <a:pt x="219" y="1768"/>
                    </a:lnTo>
                    <a:lnTo>
                      <a:pt x="223" y="1761"/>
                    </a:lnTo>
                    <a:lnTo>
                      <a:pt x="219" y="1756"/>
                    </a:lnTo>
                    <a:lnTo>
                      <a:pt x="207" y="1758"/>
                    </a:lnTo>
                    <a:lnTo>
                      <a:pt x="201" y="1762"/>
                    </a:lnTo>
                    <a:lnTo>
                      <a:pt x="187" y="1761"/>
                    </a:lnTo>
                    <a:lnTo>
                      <a:pt x="183" y="1758"/>
                    </a:lnTo>
                    <a:lnTo>
                      <a:pt x="177" y="1749"/>
                    </a:lnTo>
                    <a:lnTo>
                      <a:pt x="174" y="1752"/>
                    </a:lnTo>
                    <a:lnTo>
                      <a:pt x="157" y="1753"/>
                    </a:lnTo>
                    <a:lnTo>
                      <a:pt x="156" y="1743"/>
                    </a:lnTo>
                    <a:lnTo>
                      <a:pt x="147" y="1740"/>
                    </a:lnTo>
                    <a:lnTo>
                      <a:pt x="150" y="1734"/>
                    </a:lnTo>
                    <a:lnTo>
                      <a:pt x="145" y="1729"/>
                    </a:lnTo>
                    <a:lnTo>
                      <a:pt x="154" y="1719"/>
                    </a:lnTo>
                    <a:lnTo>
                      <a:pt x="151" y="1711"/>
                    </a:lnTo>
                    <a:lnTo>
                      <a:pt x="145" y="1713"/>
                    </a:lnTo>
                    <a:lnTo>
                      <a:pt x="133" y="1704"/>
                    </a:lnTo>
                    <a:lnTo>
                      <a:pt x="135" y="1689"/>
                    </a:lnTo>
                    <a:lnTo>
                      <a:pt x="136" y="1665"/>
                    </a:lnTo>
                    <a:lnTo>
                      <a:pt x="139" y="1642"/>
                    </a:lnTo>
                    <a:lnTo>
                      <a:pt x="145" y="1635"/>
                    </a:lnTo>
                    <a:lnTo>
                      <a:pt x="157" y="1629"/>
                    </a:lnTo>
                    <a:lnTo>
                      <a:pt x="156" y="1621"/>
                    </a:lnTo>
                    <a:lnTo>
                      <a:pt x="168" y="1611"/>
                    </a:lnTo>
                    <a:lnTo>
                      <a:pt x="175" y="1611"/>
                    </a:lnTo>
                    <a:lnTo>
                      <a:pt x="180" y="1606"/>
                    </a:lnTo>
                    <a:lnTo>
                      <a:pt x="202" y="1597"/>
                    </a:lnTo>
                    <a:lnTo>
                      <a:pt x="207" y="1581"/>
                    </a:lnTo>
                    <a:lnTo>
                      <a:pt x="193" y="1575"/>
                    </a:lnTo>
                    <a:lnTo>
                      <a:pt x="178" y="1545"/>
                    </a:lnTo>
                    <a:lnTo>
                      <a:pt x="156" y="1549"/>
                    </a:lnTo>
                    <a:lnTo>
                      <a:pt x="139" y="1548"/>
                    </a:lnTo>
                    <a:lnTo>
                      <a:pt x="136" y="1542"/>
                    </a:lnTo>
                    <a:lnTo>
                      <a:pt x="136" y="1537"/>
                    </a:lnTo>
                    <a:lnTo>
                      <a:pt x="147" y="1536"/>
                    </a:lnTo>
                    <a:lnTo>
                      <a:pt x="150" y="1531"/>
                    </a:lnTo>
                    <a:lnTo>
                      <a:pt x="145" y="1522"/>
                    </a:lnTo>
                    <a:lnTo>
                      <a:pt x="157" y="1503"/>
                    </a:lnTo>
                    <a:lnTo>
                      <a:pt x="145" y="1485"/>
                    </a:lnTo>
                    <a:lnTo>
                      <a:pt x="145" y="1458"/>
                    </a:lnTo>
                    <a:lnTo>
                      <a:pt x="138" y="1449"/>
                    </a:lnTo>
                    <a:lnTo>
                      <a:pt x="157" y="1444"/>
                    </a:lnTo>
                    <a:lnTo>
                      <a:pt x="195" y="1447"/>
                    </a:lnTo>
                    <a:lnTo>
                      <a:pt x="225" y="1437"/>
                    </a:lnTo>
                    <a:lnTo>
                      <a:pt x="229" y="1429"/>
                    </a:lnTo>
                    <a:lnTo>
                      <a:pt x="223" y="1428"/>
                    </a:lnTo>
                    <a:lnTo>
                      <a:pt x="211" y="1426"/>
                    </a:lnTo>
                    <a:lnTo>
                      <a:pt x="201" y="1413"/>
                    </a:lnTo>
                    <a:lnTo>
                      <a:pt x="172" y="1368"/>
                    </a:lnTo>
                    <a:lnTo>
                      <a:pt x="156" y="1353"/>
                    </a:lnTo>
                    <a:lnTo>
                      <a:pt x="171" y="1305"/>
                    </a:lnTo>
                    <a:lnTo>
                      <a:pt x="165" y="1294"/>
                    </a:lnTo>
                    <a:lnTo>
                      <a:pt x="171" y="1276"/>
                    </a:lnTo>
                    <a:lnTo>
                      <a:pt x="162" y="1269"/>
                    </a:lnTo>
                    <a:lnTo>
                      <a:pt x="153" y="1264"/>
                    </a:lnTo>
                    <a:lnTo>
                      <a:pt x="127" y="1257"/>
                    </a:lnTo>
                    <a:lnTo>
                      <a:pt x="124" y="1245"/>
                    </a:lnTo>
                    <a:lnTo>
                      <a:pt x="145" y="1239"/>
                    </a:lnTo>
                    <a:lnTo>
                      <a:pt x="136" y="1203"/>
                    </a:lnTo>
                    <a:lnTo>
                      <a:pt x="144" y="1198"/>
                    </a:lnTo>
                    <a:lnTo>
                      <a:pt x="151" y="1168"/>
                    </a:lnTo>
                    <a:lnTo>
                      <a:pt x="163" y="1167"/>
                    </a:lnTo>
                    <a:lnTo>
                      <a:pt x="174" y="1158"/>
                    </a:lnTo>
                    <a:lnTo>
                      <a:pt x="186" y="1153"/>
                    </a:lnTo>
                    <a:lnTo>
                      <a:pt x="207" y="1149"/>
                    </a:lnTo>
                    <a:lnTo>
                      <a:pt x="228" y="1149"/>
                    </a:lnTo>
                    <a:lnTo>
                      <a:pt x="231" y="1144"/>
                    </a:lnTo>
                    <a:lnTo>
                      <a:pt x="240" y="1123"/>
                    </a:lnTo>
                    <a:lnTo>
                      <a:pt x="232" y="1113"/>
                    </a:lnTo>
                    <a:lnTo>
                      <a:pt x="225" y="1116"/>
                    </a:lnTo>
                    <a:lnTo>
                      <a:pt x="217" y="1104"/>
                    </a:lnTo>
                    <a:lnTo>
                      <a:pt x="217" y="1092"/>
                    </a:lnTo>
                    <a:lnTo>
                      <a:pt x="202" y="1081"/>
                    </a:lnTo>
                    <a:lnTo>
                      <a:pt x="208" y="1071"/>
                    </a:lnTo>
                    <a:lnTo>
                      <a:pt x="168" y="1039"/>
                    </a:lnTo>
                    <a:lnTo>
                      <a:pt x="165" y="1008"/>
                    </a:lnTo>
                    <a:lnTo>
                      <a:pt x="151" y="1006"/>
                    </a:lnTo>
                    <a:lnTo>
                      <a:pt x="145" y="1000"/>
                    </a:lnTo>
                    <a:lnTo>
                      <a:pt x="133" y="979"/>
                    </a:lnTo>
                    <a:lnTo>
                      <a:pt x="121" y="963"/>
                    </a:lnTo>
                    <a:lnTo>
                      <a:pt x="114" y="955"/>
                    </a:lnTo>
                    <a:lnTo>
                      <a:pt x="103" y="955"/>
                    </a:lnTo>
                    <a:lnTo>
                      <a:pt x="91" y="957"/>
                    </a:lnTo>
                    <a:lnTo>
                      <a:pt x="66" y="954"/>
                    </a:lnTo>
                    <a:lnTo>
                      <a:pt x="58" y="960"/>
                    </a:lnTo>
                    <a:lnTo>
                      <a:pt x="43" y="966"/>
                    </a:lnTo>
                    <a:lnTo>
                      <a:pt x="39" y="966"/>
                    </a:lnTo>
                    <a:lnTo>
                      <a:pt x="42" y="930"/>
                    </a:lnTo>
                    <a:lnTo>
                      <a:pt x="48" y="925"/>
                    </a:lnTo>
                    <a:lnTo>
                      <a:pt x="46" y="918"/>
                    </a:lnTo>
                    <a:lnTo>
                      <a:pt x="54" y="910"/>
                    </a:lnTo>
                    <a:lnTo>
                      <a:pt x="60" y="900"/>
                    </a:lnTo>
                    <a:lnTo>
                      <a:pt x="70" y="901"/>
                    </a:lnTo>
                    <a:lnTo>
                      <a:pt x="76" y="885"/>
                    </a:lnTo>
                    <a:lnTo>
                      <a:pt x="88" y="861"/>
                    </a:lnTo>
                    <a:lnTo>
                      <a:pt x="69" y="852"/>
                    </a:lnTo>
                    <a:lnTo>
                      <a:pt x="67" y="840"/>
                    </a:lnTo>
                    <a:lnTo>
                      <a:pt x="58" y="820"/>
                    </a:lnTo>
                    <a:lnTo>
                      <a:pt x="37" y="823"/>
                    </a:lnTo>
                    <a:lnTo>
                      <a:pt x="28" y="819"/>
                    </a:lnTo>
                    <a:lnTo>
                      <a:pt x="9" y="820"/>
                    </a:lnTo>
                    <a:lnTo>
                      <a:pt x="13" y="795"/>
                    </a:lnTo>
                    <a:lnTo>
                      <a:pt x="16" y="777"/>
                    </a:lnTo>
                    <a:lnTo>
                      <a:pt x="25" y="756"/>
                    </a:lnTo>
                    <a:lnTo>
                      <a:pt x="24" y="739"/>
                    </a:lnTo>
                    <a:lnTo>
                      <a:pt x="33" y="715"/>
                    </a:lnTo>
                    <a:lnTo>
                      <a:pt x="33" y="694"/>
                    </a:lnTo>
                    <a:lnTo>
                      <a:pt x="34" y="678"/>
                    </a:lnTo>
                    <a:lnTo>
                      <a:pt x="21" y="685"/>
                    </a:lnTo>
                    <a:lnTo>
                      <a:pt x="9" y="684"/>
                    </a:lnTo>
                    <a:lnTo>
                      <a:pt x="0" y="625"/>
                    </a:lnTo>
                    <a:lnTo>
                      <a:pt x="16" y="610"/>
                    </a:lnTo>
                    <a:lnTo>
                      <a:pt x="27" y="606"/>
                    </a:lnTo>
                    <a:lnTo>
                      <a:pt x="46" y="591"/>
                    </a:lnTo>
                    <a:lnTo>
                      <a:pt x="48" y="583"/>
                    </a:lnTo>
                    <a:lnTo>
                      <a:pt x="64" y="582"/>
                    </a:lnTo>
                    <a:lnTo>
                      <a:pt x="66" y="574"/>
                    </a:lnTo>
                    <a:lnTo>
                      <a:pt x="55" y="558"/>
                    </a:lnTo>
                    <a:lnTo>
                      <a:pt x="60" y="543"/>
                    </a:lnTo>
                    <a:lnTo>
                      <a:pt x="82" y="540"/>
                    </a:lnTo>
                    <a:lnTo>
                      <a:pt x="97" y="538"/>
                    </a:lnTo>
                    <a:lnTo>
                      <a:pt x="100" y="552"/>
                    </a:lnTo>
                    <a:lnTo>
                      <a:pt x="109" y="553"/>
                    </a:lnTo>
                    <a:lnTo>
                      <a:pt x="109" y="565"/>
                    </a:lnTo>
                    <a:lnTo>
                      <a:pt x="115" y="565"/>
                    </a:lnTo>
                    <a:lnTo>
                      <a:pt x="112" y="582"/>
                    </a:lnTo>
                    <a:lnTo>
                      <a:pt x="144" y="586"/>
                    </a:lnTo>
                    <a:lnTo>
                      <a:pt x="145" y="571"/>
                    </a:lnTo>
                    <a:lnTo>
                      <a:pt x="144" y="567"/>
                    </a:lnTo>
                    <a:lnTo>
                      <a:pt x="124" y="562"/>
                    </a:lnTo>
                    <a:lnTo>
                      <a:pt x="129" y="543"/>
                    </a:lnTo>
                    <a:lnTo>
                      <a:pt x="153" y="541"/>
                    </a:lnTo>
                    <a:lnTo>
                      <a:pt x="186" y="526"/>
                    </a:lnTo>
                    <a:lnTo>
                      <a:pt x="207" y="522"/>
                    </a:lnTo>
                    <a:lnTo>
                      <a:pt x="220" y="523"/>
                    </a:lnTo>
                    <a:lnTo>
                      <a:pt x="232" y="514"/>
                    </a:lnTo>
                    <a:lnTo>
                      <a:pt x="243" y="513"/>
                    </a:lnTo>
                    <a:lnTo>
                      <a:pt x="259" y="520"/>
                    </a:lnTo>
                    <a:lnTo>
                      <a:pt x="268" y="529"/>
                    </a:lnTo>
                    <a:lnTo>
                      <a:pt x="288" y="534"/>
                    </a:lnTo>
                    <a:lnTo>
                      <a:pt x="298" y="538"/>
                    </a:lnTo>
                    <a:lnTo>
                      <a:pt x="304" y="537"/>
                    </a:lnTo>
                    <a:lnTo>
                      <a:pt x="321" y="538"/>
                    </a:lnTo>
                    <a:lnTo>
                      <a:pt x="327" y="532"/>
                    </a:lnTo>
                    <a:lnTo>
                      <a:pt x="325" y="520"/>
                    </a:lnTo>
                    <a:lnTo>
                      <a:pt x="309" y="514"/>
                    </a:lnTo>
                    <a:lnTo>
                      <a:pt x="295" y="492"/>
                    </a:lnTo>
                    <a:lnTo>
                      <a:pt x="280" y="466"/>
                    </a:lnTo>
                    <a:lnTo>
                      <a:pt x="265" y="457"/>
                    </a:lnTo>
                    <a:lnTo>
                      <a:pt x="265" y="448"/>
                    </a:lnTo>
                    <a:lnTo>
                      <a:pt x="265" y="430"/>
                    </a:lnTo>
                    <a:lnTo>
                      <a:pt x="273" y="406"/>
                    </a:lnTo>
                    <a:lnTo>
                      <a:pt x="297" y="424"/>
                    </a:lnTo>
                    <a:lnTo>
                      <a:pt x="295" y="435"/>
                    </a:lnTo>
                    <a:lnTo>
                      <a:pt x="301" y="439"/>
                    </a:lnTo>
                    <a:lnTo>
                      <a:pt x="322" y="459"/>
                    </a:lnTo>
                    <a:lnTo>
                      <a:pt x="334" y="460"/>
                    </a:lnTo>
                    <a:lnTo>
                      <a:pt x="337" y="442"/>
                    </a:lnTo>
                    <a:lnTo>
                      <a:pt x="328" y="438"/>
                    </a:lnTo>
                    <a:lnTo>
                      <a:pt x="330" y="424"/>
                    </a:lnTo>
                    <a:lnTo>
                      <a:pt x="340" y="421"/>
                    </a:lnTo>
                    <a:lnTo>
                      <a:pt x="337" y="409"/>
                    </a:lnTo>
                    <a:lnTo>
                      <a:pt x="339" y="406"/>
                    </a:lnTo>
                    <a:lnTo>
                      <a:pt x="339" y="399"/>
                    </a:lnTo>
                    <a:lnTo>
                      <a:pt x="336" y="390"/>
                    </a:lnTo>
                    <a:lnTo>
                      <a:pt x="325" y="393"/>
                    </a:lnTo>
                    <a:lnTo>
                      <a:pt x="321" y="387"/>
                    </a:lnTo>
                    <a:lnTo>
                      <a:pt x="325" y="369"/>
                    </a:lnTo>
                    <a:lnTo>
                      <a:pt x="339" y="363"/>
                    </a:lnTo>
                    <a:lnTo>
                      <a:pt x="342" y="358"/>
                    </a:lnTo>
                    <a:lnTo>
                      <a:pt x="354" y="327"/>
                    </a:lnTo>
                    <a:lnTo>
                      <a:pt x="360" y="312"/>
                    </a:lnTo>
                    <a:lnTo>
                      <a:pt x="370" y="297"/>
                    </a:lnTo>
                    <a:lnTo>
                      <a:pt x="373" y="292"/>
                    </a:lnTo>
                    <a:lnTo>
                      <a:pt x="378" y="285"/>
                    </a:lnTo>
                    <a:lnTo>
                      <a:pt x="385" y="283"/>
                    </a:lnTo>
                    <a:lnTo>
                      <a:pt x="402" y="277"/>
                    </a:lnTo>
                    <a:lnTo>
                      <a:pt x="421" y="262"/>
                    </a:lnTo>
                    <a:lnTo>
                      <a:pt x="424" y="252"/>
                    </a:lnTo>
                    <a:lnTo>
                      <a:pt x="430" y="249"/>
                    </a:lnTo>
                    <a:lnTo>
                      <a:pt x="438" y="238"/>
                    </a:lnTo>
                    <a:lnTo>
                      <a:pt x="442" y="238"/>
                    </a:lnTo>
                  </a:path>
                </a:pathLst>
              </a:custGeom>
              <a:no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303" name="Rectangle 389">
                <a:extLst>
                  <a:ext uri="{FF2B5EF4-FFF2-40B4-BE49-F238E27FC236}">
                    <a16:creationId xmlns:a16="http://schemas.microsoft.com/office/drawing/2014/main" id="{57AE7159-C135-88D6-B4DD-463AE014810A}"/>
                  </a:ext>
                </a:extLst>
              </p:cNvPr>
              <p:cNvSpPr>
                <a:spLocks noChangeArrowheads="1"/>
              </p:cNvSpPr>
              <p:nvPr/>
            </p:nvSpPr>
            <p:spPr bwMode="auto">
              <a:xfrm>
                <a:off x="4517" y="2293"/>
                <a:ext cx="294" cy="196"/>
              </a:xfrm>
              <a:prstGeom prst="rect">
                <a:avLst/>
              </a:prstGeom>
              <a:grpFill/>
              <a:ln w="9525">
                <a:noFill/>
                <a:miter lim="800000"/>
                <a:headEnd/>
                <a:tailEnd/>
              </a:ln>
            </p:spPr>
            <p:txBody>
              <a:bodyPr wrap="none" lIns="0" tIns="0" rIns="0" bIns="0">
                <a:spAutoFit/>
              </a:bodyPr>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100000"/>
                  </a:lnSpc>
                  <a:spcBef>
                    <a:spcPct val="0"/>
                  </a:spcBef>
                  <a:spcAft>
                    <a:spcPct val="0"/>
                  </a:spcAft>
                  <a:buClrTx/>
                  <a:buSzTx/>
                  <a:buFont typeface="Wingdings" pitchFamily="2" charset="2"/>
                  <a:buNone/>
                  <a:tabLst/>
                  <a:defRPr/>
                </a:pPr>
                <a:endParaRPr kumimoji="0" lang="fr-FR" altLang="fr-FR" sz="533" b="0" i="0" u="none" strike="noStrike" kern="0" cap="none" spc="0" normalizeH="0" baseline="0" noProof="0" dirty="0">
                  <a:ln>
                    <a:noFill/>
                  </a:ln>
                  <a:solidFill>
                    <a:srgbClr val="000000"/>
                  </a:solidFill>
                  <a:effectLst/>
                  <a:uLnTx/>
                  <a:uFillTx/>
                  <a:latin typeface="Arial" charset="0"/>
                  <a:ea typeface="MS PGothic" pitchFamily="34" charset="-128"/>
                  <a:cs typeface="Arial" charset="0"/>
                </a:endParaRPr>
              </a:p>
              <a:p>
                <a:pPr marL="0" marR="0" lvl="0" indent="0" algn="ctr" defTabSz="914377" eaLnBrk="1" fontAlgn="base" latinLnBrk="0" hangingPunct="1">
                  <a:lnSpc>
                    <a:spcPct val="100000"/>
                  </a:lnSpc>
                  <a:spcBef>
                    <a:spcPct val="0"/>
                  </a:spcBef>
                  <a:spcAft>
                    <a:spcPct val="0"/>
                  </a:spcAft>
                  <a:buClrTx/>
                  <a:buSzTx/>
                  <a:buFont typeface="Wingdings" pitchFamily="2" charset="2"/>
                  <a:buNone/>
                  <a:tabLst/>
                  <a:defRPr/>
                </a:pPr>
                <a:r>
                  <a:rPr kumimoji="0" lang="fr-FR" altLang="fr-FR" sz="533" b="0" i="0" u="none" strike="noStrike" kern="0" cap="none" spc="0" normalizeH="0" baseline="0" noProof="0" dirty="0">
                    <a:ln>
                      <a:noFill/>
                    </a:ln>
                    <a:solidFill>
                      <a:srgbClr val="000000"/>
                    </a:solidFill>
                    <a:effectLst/>
                    <a:uLnTx/>
                    <a:uFillTx/>
                    <a:latin typeface="Arial" charset="0"/>
                    <a:ea typeface="MS PGothic" pitchFamily="34" charset="-128"/>
                    <a:cs typeface="Arial" charset="0"/>
                  </a:rPr>
                  <a:t>881</a:t>
                </a:r>
              </a:p>
              <a:p>
                <a:pPr marL="0" marR="0" lvl="0" indent="0" algn="ctr" defTabSz="914377" eaLnBrk="1" fontAlgn="base" latinLnBrk="0" hangingPunct="1">
                  <a:lnSpc>
                    <a:spcPct val="100000"/>
                  </a:lnSpc>
                  <a:spcBef>
                    <a:spcPct val="0"/>
                  </a:spcBef>
                  <a:spcAft>
                    <a:spcPct val="0"/>
                  </a:spcAft>
                  <a:buClrTx/>
                  <a:buSzTx/>
                  <a:buFont typeface="Wingdings" pitchFamily="2" charset="2"/>
                  <a:buNone/>
                  <a:tabLst/>
                  <a:defRPr/>
                </a:pPr>
                <a:r>
                  <a:rPr kumimoji="0" lang="fr-FR" altLang="fr-FR" sz="533" b="0" i="0" u="none" strike="noStrike" kern="0" cap="none" spc="0" normalizeH="0" baseline="0" noProof="0" dirty="0">
                    <a:ln>
                      <a:noFill/>
                    </a:ln>
                    <a:solidFill>
                      <a:srgbClr val="000000"/>
                    </a:solidFill>
                    <a:effectLst/>
                    <a:uLnTx/>
                    <a:uFillTx/>
                    <a:latin typeface="Arial" charset="0"/>
                    <a:ea typeface="MS PGothic" pitchFamily="34" charset="-128"/>
                    <a:cs typeface="Arial" charset="0"/>
                  </a:rPr>
                  <a:t>Des Savoie</a:t>
                </a:r>
                <a:endParaRPr kumimoji="0" lang="fr-FR" altLang="fr-FR" sz="2400" b="0" i="0" u="none" strike="noStrike" kern="0" cap="none" spc="0" normalizeH="0" baseline="0" noProof="0" dirty="0">
                  <a:ln>
                    <a:noFill/>
                  </a:ln>
                  <a:solidFill>
                    <a:srgbClr val="000000"/>
                  </a:solidFill>
                  <a:effectLst/>
                  <a:uLnTx/>
                  <a:uFillTx/>
                  <a:latin typeface="Arial" charset="0"/>
                  <a:ea typeface="MS PGothic" pitchFamily="34" charset="-128"/>
                  <a:cs typeface="Arial" charset="0"/>
                </a:endParaRPr>
              </a:p>
            </p:txBody>
          </p:sp>
          <p:sp>
            <p:nvSpPr>
              <p:cNvPr id="304" name="Freeform 342">
                <a:extLst>
                  <a:ext uri="{FF2B5EF4-FFF2-40B4-BE49-F238E27FC236}">
                    <a16:creationId xmlns:a16="http://schemas.microsoft.com/office/drawing/2014/main" id="{C5DC8385-CF3B-AE75-ACA0-9581A2D57B1A}"/>
                  </a:ext>
                </a:extLst>
              </p:cNvPr>
              <p:cNvSpPr>
                <a:spLocks/>
              </p:cNvSpPr>
              <p:nvPr/>
            </p:nvSpPr>
            <p:spPr bwMode="auto">
              <a:xfrm>
                <a:off x="3762" y="687"/>
                <a:ext cx="644" cy="636"/>
              </a:xfrm>
              <a:custGeom>
                <a:avLst/>
                <a:gdLst>
                  <a:gd name="T0" fmla="*/ 0 w 1932"/>
                  <a:gd name="T1" fmla="*/ 0 h 1908"/>
                  <a:gd name="T2" fmla="*/ 0 w 1932"/>
                  <a:gd name="T3" fmla="*/ 0 h 1908"/>
                  <a:gd name="T4" fmla="*/ 0 w 1932"/>
                  <a:gd name="T5" fmla="*/ 0 h 1908"/>
                  <a:gd name="T6" fmla="*/ 0 w 1932"/>
                  <a:gd name="T7" fmla="*/ 0 h 1908"/>
                  <a:gd name="T8" fmla="*/ 0 w 1932"/>
                  <a:gd name="T9" fmla="*/ 0 h 1908"/>
                  <a:gd name="T10" fmla="*/ 0 w 1932"/>
                  <a:gd name="T11" fmla="*/ 0 h 1908"/>
                  <a:gd name="T12" fmla="*/ 0 w 1932"/>
                  <a:gd name="T13" fmla="*/ 0 h 1908"/>
                  <a:gd name="T14" fmla="*/ 0 w 1932"/>
                  <a:gd name="T15" fmla="*/ 0 h 1908"/>
                  <a:gd name="T16" fmla="*/ 0 w 1932"/>
                  <a:gd name="T17" fmla="*/ 0 h 1908"/>
                  <a:gd name="T18" fmla="*/ 0 w 1932"/>
                  <a:gd name="T19" fmla="*/ 0 h 1908"/>
                  <a:gd name="T20" fmla="*/ 0 w 1932"/>
                  <a:gd name="T21" fmla="*/ 0 h 1908"/>
                  <a:gd name="T22" fmla="*/ 0 w 1932"/>
                  <a:gd name="T23" fmla="*/ 0 h 1908"/>
                  <a:gd name="T24" fmla="*/ 0 w 1932"/>
                  <a:gd name="T25" fmla="*/ 0 h 1908"/>
                  <a:gd name="T26" fmla="*/ 0 w 1932"/>
                  <a:gd name="T27" fmla="*/ 0 h 1908"/>
                  <a:gd name="T28" fmla="*/ 0 w 1932"/>
                  <a:gd name="T29" fmla="*/ 0 h 1908"/>
                  <a:gd name="T30" fmla="*/ 0 w 1932"/>
                  <a:gd name="T31" fmla="*/ 0 h 1908"/>
                  <a:gd name="T32" fmla="*/ 0 w 1932"/>
                  <a:gd name="T33" fmla="*/ 0 h 1908"/>
                  <a:gd name="T34" fmla="*/ 0 w 1932"/>
                  <a:gd name="T35" fmla="*/ 0 h 1908"/>
                  <a:gd name="T36" fmla="*/ 0 w 1932"/>
                  <a:gd name="T37" fmla="*/ 0 h 1908"/>
                  <a:gd name="T38" fmla="*/ 0 w 1932"/>
                  <a:gd name="T39" fmla="*/ 0 h 1908"/>
                  <a:gd name="T40" fmla="*/ 0 w 1932"/>
                  <a:gd name="T41" fmla="*/ 0 h 1908"/>
                  <a:gd name="T42" fmla="*/ 0 w 1932"/>
                  <a:gd name="T43" fmla="*/ 0 h 1908"/>
                  <a:gd name="T44" fmla="*/ 0 w 1932"/>
                  <a:gd name="T45" fmla="*/ 0 h 1908"/>
                  <a:gd name="T46" fmla="*/ 0 w 1932"/>
                  <a:gd name="T47" fmla="*/ 0 h 1908"/>
                  <a:gd name="T48" fmla="*/ 0 w 1932"/>
                  <a:gd name="T49" fmla="*/ 0 h 1908"/>
                  <a:gd name="T50" fmla="*/ 0 w 1932"/>
                  <a:gd name="T51" fmla="*/ 0 h 1908"/>
                  <a:gd name="T52" fmla="*/ 0 w 1932"/>
                  <a:gd name="T53" fmla="*/ 0 h 1908"/>
                  <a:gd name="T54" fmla="*/ 0 w 1932"/>
                  <a:gd name="T55" fmla="*/ 0 h 1908"/>
                  <a:gd name="T56" fmla="*/ 0 w 1932"/>
                  <a:gd name="T57" fmla="*/ 0 h 1908"/>
                  <a:gd name="T58" fmla="*/ 0 w 1932"/>
                  <a:gd name="T59" fmla="*/ 0 h 1908"/>
                  <a:gd name="T60" fmla="*/ 0 w 1932"/>
                  <a:gd name="T61" fmla="*/ 0 h 1908"/>
                  <a:gd name="T62" fmla="*/ 0 w 1932"/>
                  <a:gd name="T63" fmla="*/ 0 h 1908"/>
                  <a:gd name="T64" fmla="*/ 0 w 1932"/>
                  <a:gd name="T65" fmla="*/ 0 h 1908"/>
                  <a:gd name="T66" fmla="*/ 0 w 1932"/>
                  <a:gd name="T67" fmla="*/ 0 h 1908"/>
                  <a:gd name="T68" fmla="*/ 0 w 1932"/>
                  <a:gd name="T69" fmla="*/ 0 h 1908"/>
                  <a:gd name="T70" fmla="*/ 0 w 1932"/>
                  <a:gd name="T71" fmla="*/ 0 h 1908"/>
                  <a:gd name="T72" fmla="*/ 0 w 1932"/>
                  <a:gd name="T73" fmla="*/ 0 h 1908"/>
                  <a:gd name="T74" fmla="*/ 0 w 1932"/>
                  <a:gd name="T75" fmla="*/ 0 h 1908"/>
                  <a:gd name="T76" fmla="*/ 0 w 1932"/>
                  <a:gd name="T77" fmla="*/ 0 h 1908"/>
                  <a:gd name="T78" fmla="*/ 0 w 1932"/>
                  <a:gd name="T79" fmla="*/ 0 h 1908"/>
                  <a:gd name="T80" fmla="*/ 0 w 1932"/>
                  <a:gd name="T81" fmla="*/ 0 h 1908"/>
                  <a:gd name="T82" fmla="*/ 0 w 1932"/>
                  <a:gd name="T83" fmla="*/ 0 h 1908"/>
                  <a:gd name="T84" fmla="*/ 0 w 1932"/>
                  <a:gd name="T85" fmla="*/ 0 h 1908"/>
                  <a:gd name="T86" fmla="*/ 0 w 1932"/>
                  <a:gd name="T87" fmla="*/ 0 h 1908"/>
                  <a:gd name="T88" fmla="*/ 0 w 1932"/>
                  <a:gd name="T89" fmla="*/ 0 h 1908"/>
                  <a:gd name="T90" fmla="*/ 0 w 1932"/>
                  <a:gd name="T91" fmla="*/ 0 h 1908"/>
                  <a:gd name="T92" fmla="*/ 0 w 1932"/>
                  <a:gd name="T93" fmla="*/ 0 h 1908"/>
                  <a:gd name="T94" fmla="*/ 0 w 1932"/>
                  <a:gd name="T95" fmla="*/ 0 h 1908"/>
                  <a:gd name="T96" fmla="*/ 0 w 1932"/>
                  <a:gd name="T97" fmla="*/ 0 h 1908"/>
                  <a:gd name="T98" fmla="*/ 0 w 1932"/>
                  <a:gd name="T99" fmla="*/ 0 h 1908"/>
                  <a:gd name="T100" fmla="*/ 0 w 1932"/>
                  <a:gd name="T101" fmla="*/ 0 h 1908"/>
                  <a:gd name="T102" fmla="*/ 0 w 1932"/>
                  <a:gd name="T103" fmla="*/ 0 h 1908"/>
                  <a:gd name="T104" fmla="*/ 0 w 1932"/>
                  <a:gd name="T105" fmla="*/ 0 h 1908"/>
                  <a:gd name="T106" fmla="*/ 0 w 1932"/>
                  <a:gd name="T107" fmla="*/ 0 h 1908"/>
                  <a:gd name="T108" fmla="*/ 0 w 1932"/>
                  <a:gd name="T109" fmla="*/ 0 h 1908"/>
                  <a:gd name="T110" fmla="*/ 0 w 1932"/>
                  <a:gd name="T111" fmla="*/ 0 h 1908"/>
                  <a:gd name="T112" fmla="*/ 0 w 1932"/>
                  <a:gd name="T113" fmla="*/ 0 h 1908"/>
                  <a:gd name="T114" fmla="*/ 0 w 1932"/>
                  <a:gd name="T115" fmla="*/ 0 h 1908"/>
                  <a:gd name="T116" fmla="*/ 0 w 1932"/>
                  <a:gd name="T117" fmla="*/ 0 h 1908"/>
                  <a:gd name="T118" fmla="*/ 0 w 1932"/>
                  <a:gd name="T119" fmla="*/ 0 h 1908"/>
                  <a:gd name="T120" fmla="*/ 0 w 1932"/>
                  <a:gd name="T121" fmla="*/ 0 h 19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932" h="1908">
                    <a:moveTo>
                      <a:pt x="1585" y="1073"/>
                    </a:moveTo>
                    <a:lnTo>
                      <a:pt x="1599" y="1076"/>
                    </a:lnTo>
                    <a:lnTo>
                      <a:pt x="1600" y="1083"/>
                    </a:lnTo>
                    <a:lnTo>
                      <a:pt x="1617" y="1103"/>
                    </a:lnTo>
                    <a:lnTo>
                      <a:pt x="1603" y="1113"/>
                    </a:lnTo>
                    <a:lnTo>
                      <a:pt x="1587" y="1118"/>
                    </a:lnTo>
                    <a:lnTo>
                      <a:pt x="1575" y="1131"/>
                    </a:lnTo>
                    <a:lnTo>
                      <a:pt x="1591" y="1160"/>
                    </a:lnTo>
                    <a:lnTo>
                      <a:pt x="1593" y="1166"/>
                    </a:lnTo>
                    <a:lnTo>
                      <a:pt x="1605" y="1191"/>
                    </a:lnTo>
                    <a:lnTo>
                      <a:pt x="1605" y="1197"/>
                    </a:lnTo>
                    <a:lnTo>
                      <a:pt x="1615" y="1206"/>
                    </a:lnTo>
                    <a:lnTo>
                      <a:pt x="1615" y="1232"/>
                    </a:lnTo>
                    <a:lnTo>
                      <a:pt x="1623" y="1262"/>
                    </a:lnTo>
                    <a:lnTo>
                      <a:pt x="1623" y="1271"/>
                    </a:lnTo>
                    <a:lnTo>
                      <a:pt x="1624" y="1280"/>
                    </a:lnTo>
                    <a:lnTo>
                      <a:pt x="1614" y="1295"/>
                    </a:lnTo>
                    <a:lnTo>
                      <a:pt x="1594" y="1308"/>
                    </a:lnTo>
                    <a:lnTo>
                      <a:pt x="1594" y="1317"/>
                    </a:lnTo>
                    <a:lnTo>
                      <a:pt x="1602" y="1319"/>
                    </a:lnTo>
                    <a:lnTo>
                      <a:pt x="1629" y="1307"/>
                    </a:lnTo>
                    <a:lnTo>
                      <a:pt x="1648" y="1320"/>
                    </a:lnTo>
                    <a:lnTo>
                      <a:pt x="1651" y="1325"/>
                    </a:lnTo>
                    <a:lnTo>
                      <a:pt x="1651" y="1332"/>
                    </a:lnTo>
                    <a:lnTo>
                      <a:pt x="1648" y="1340"/>
                    </a:lnTo>
                    <a:lnTo>
                      <a:pt x="1650" y="1347"/>
                    </a:lnTo>
                    <a:lnTo>
                      <a:pt x="1647" y="1352"/>
                    </a:lnTo>
                    <a:lnTo>
                      <a:pt x="1638" y="1347"/>
                    </a:lnTo>
                    <a:lnTo>
                      <a:pt x="1627" y="1347"/>
                    </a:lnTo>
                    <a:lnTo>
                      <a:pt x="1624" y="1352"/>
                    </a:lnTo>
                    <a:lnTo>
                      <a:pt x="1621" y="1358"/>
                    </a:lnTo>
                    <a:lnTo>
                      <a:pt x="1624" y="1367"/>
                    </a:lnTo>
                    <a:lnTo>
                      <a:pt x="1635" y="1370"/>
                    </a:lnTo>
                    <a:lnTo>
                      <a:pt x="1650" y="1371"/>
                    </a:lnTo>
                    <a:lnTo>
                      <a:pt x="1647" y="1380"/>
                    </a:lnTo>
                    <a:lnTo>
                      <a:pt x="1645" y="1394"/>
                    </a:lnTo>
                    <a:lnTo>
                      <a:pt x="1638" y="1400"/>
                    </a:lnTo>
                    <a:lnTo>
                      <a:pt x="1635" y="1409"/>
                    </a:lnTo>
                    <a:lnTo>
                      <a:pt x="1626" y="1413"/>
                    </a:lnTo>
                    <a:lnTo>
                      <a:pt x="1617" y="1415"/>
                    </a:lnTo>
                    <a:lnTo>
                      <a:pt x="1614" y="1421"/>
                    </a:lnTo>
                    <a:lnTo>
                      <a:pt x="1606" y="1419"/>
                    </a:lnTo>
                    <a:lnTo>
                      <a:pt x="1596" y="1427"/>
                    </a:lnTo>
                    <a:lnTo>
                      <a:pt x="1590" y="1425"/>
                    </a:lnTo>
                    <a:lnTo>
                      <a:pt x="1570" y="1433"/>
                    </a:lnTo>
                    <a:lnTo>
                      <a:pt x="1566" y="1442"/>
                    </a:lnTo>
                    <a:lnTo>
                      <a:pt x="1555" y="1454"/>
                    </a:lnTo>
                    <a:lnTo>
                      <a:pt x="1557" y="1463"/>
                    </a:lnTo>
                    <a:lnTo>
                      <a:pt x="1558" y="1469"/>
                    </a:lnTo>
                    <a:lnTo>
                      <a:pt x="1560" y="1476"/>
                    </a:lnTo>
                    <a:lnTo>
                      <a:pt x="1555" y="1482"/>
                    </a:lnTo>
                    <a:lnTo>
                      <a:pt x="1552" y="1493"/>
                    </a:lnTo>
                    <a:lnTo>
                      <a:pt x="1560" y="1499"/>
                    </a:lnTo>
                    <a:lnTo>
                      <a:pt x="1566" y="1511"/>
                    </a:lnTo>
                    <a:lnTo>
                      <a:pt x="1566" y="1520"/>
                    </a:lnTo>
                    <a:lnTo>
                      <a:pt x="1566" y="1526"/>
                    </a:lnTo>
                    <a:lnTo>
                      <a:pt x="1566" y="1532"/>
                    </a:lnTo>
                    <a:lnTo>
                      <a:pt x="1552" y="1538"/>
                    </a:lnTo>
                    <a:lnTo>
                      <a:pt x="1543" y="1544"/>
                    </a:lnTo>
                    <a:lnTo>
                      <a:pt x="1533" y="1556"/>
                    </a:lnTo>
                    <a:lnTo>
                      <a:pt x="1536" y="1562"/>
                    </a:lnTo>
                    <a:lnTo>
                      <a:pt x="1534" y="1571"/>
                    </a:lnTo>
                    <a:lnTo>
                      <a:pt x="1536" y="1581"/>
                    </a:lnTo>
                    <a:lnTo>
                      <a:pt x="1548" y="1580"/>
                    </a:lnTo>
                    <a:lnTo>
                      <a:pt x="1560" y="1584"/>
                    </a:lnTo>
                    <a:lnTo>
                      <a:pt x="1570" y="1587"/>
                    </a:lnTo>
                    <a:lnTo>
                      <a:pt x="1569" y="1593"/>
                    </a:lnTo>
                    <a:lnTo>
                      <a:pt x="1576" y="1599"/>
                    </a:lnTo>
                    <a:lnTo>
                      <a:pt x="1575" y="1607"/>
                    </a:lnTo>
                    <a:lnTo>
                      <a:pt x="1584" y="1614"/>
                    </a:lnTo>
                    <a:lnTo>
                      <a:pt x="1588" y="1617"/>
                    </a:lnTo>
                    <a:lnTo>
                      <a:pt x="1602" y="1634"/>
                    </a:lnTo>
                    <a:lnTo>
                      <a:pt x="1606" y="1641"/>
                    </a:lnTo>
                    <a:lnTo>
                      <a:pt x="1618" y="1644"/>
                    </a:lnTo>
                    <a:lnTo>
                      <a:pt x="1630" y="1643"/>
                    </a:lnTo>
                    <a:lnTo>
                      <a:pt x="1629" y="1652"/>
                    </a:lnTo>
                    <a:lnTo>
                      <a:pt x="1627" y="1662"/>
                    </a:lnTo>
                    <a:lnTo>
                      <a:pt x="1632" y="1670"/>
                    </a:lnTo>
                    <a:lnTo>
                      <a:pt x="1632" y="1679"/>
                    </a:lnTo>
                    <a:lnTo>
                      <a:pt x="1623" y="1676"/>
                    </a:lnTo>
                    <a:lnTo>
                      <a:pt x="1621" y="1680"/>
                    </a:lnTo>
                    <a:lnTo>
                      <a:pt x="1626" y="1686"/>
                    </a:lnTo>
                    <a:lnTo>
                      <a:pt x="1624" y="1691"/>
                    </a:lnTo>
                    <a:lnTo>
                      <a:pt x="1614" y="1701"/>
                    </a:lnTo>
                    <a:lnTo>
                      <a:pt x="1614" y="1709"/>
                    </a:lnTo>
                    <a:lnTo>
                      <a:pt x="1603" y="1709"/>
                    </a:lnTo>
                    <a:lnTo>
                      <a:pt x="1600" y="1715"/>
                    </a:lnTo>
                    <a:lnTo>
                      <a:pt x="1594" y="1710"/>
                    </a:lnTo>
                    <a:lnTo>
                      <a:pt x="1591" y="1710"/>
                    </a:lnTo>
                    <a:lnTo>
                      <a:pt x="1587" y="1713"/>
                    </a:lnTo>
                    <a:lnTo>
                      <a:pt x="1584" y="1712"/>
                    </a:lnTo>
                    <a:lnTo>
                      <a:pt x="1582" y="1709"/>
                    </a:lnTo>
                    <a:lnTo>
                      <a:pt x="1578" y="1718"/>
                    </a:lnTo>
                    <a:lnTo>
                      <a:pt x="1573" y="1724"/>
                    </a:lnTo>
                    <a:lnTo>
                      <a:pt x="1552" y="1709"/>
                    </a:lnTo>
                    <a:lnTo>
                      <a:pt x="1543" y="1719"/>
                    </a:lnTo>
                    <a:lnTo>
                      <a:pt x="1527" y="1727"/>
                    </a:lnTo>
                    <a:lnTo>
                      <a:pt x="1519" y="1730"/>
                    </a:lnTo>
                    <a:lnTo>
                      <a:pt x="1516" y="1734"/>
                    </a:lnTo>
                    <a:lnTo>
                      <a:pt x="1504" y="1733"/>
                    </a:lnTo>
                    <a:lnTo>
                      <a:pt x="1501" y="1730"/>
                    </a:lnTo>
                    <a:lnTo>
                      <a:pt x="1500" y="1727"/>
                    </a:lnTo>
                    <a:lnTo>
                      <a:pt x="1492" y="1725"/>
                    </a:lnTo>
                    <a:lnTo>
                      <a:pt x="1480" y="1725"/>
                    </a:lnTo>
                    <a:lnTo>
                      <a:pt x="1477" y="1721"/>
                    </a:lnTo>
                    <a:lnTo>
                      <a:pt x="1461" y="1724"/>
                    </a:lnTo>
                    <a:lnTo>
                      <a:pt x="1459" y="1728"/>
                    </a:lnTo>
                    <a:lnTo>
                      <a:pt x="1458" y="1730"/>
                    </a:lnTo>
                    <a:lnTo>
                      <a:pt x="1447" y="1730"/>
                    </a:lnTo>
                    <a:lnTo>
                      <a:pt x="1449" y="1734"/>
                    </a:lnTo>
                    <a:lnTo>
                      <a:pt x="1440" y="1745"/>
                    </a:lnTo>
                    <a:lnTo>
                      <a:pt x="1440" y="1749"/>
                    </a:lnTo>
                    <a:lnTo>
                      <a:pt x="1446" y="1748"/>
                    </a:lnTo>
                    <a:lnTo>
                      <a:pt x="1458" y="1749"/>
                    </a:lnTo>
                    <a:lnTo>
                      <a:pt x="1479" y="1751"/>
                    </a:lnTo>
                    <a:lnTo>
                      <a:pt x="1483" y="1754"/>
                    </a:lnTo>
                    <a:lnTo>
                      <a:pt x="1494" y="1754"/>
                    </a:lnTo>
                    <a:lnTo>
                      <a:pt x="1497" y="1758"/>
                    </a:lnTo>
                    <a:lnTo>
                      <a:pt x="1497" y="1761"/>
                    </a:lnTo>
                    <a:lnTo>
                      <a:pt x="1501" y="1763"/>
                    </a:lnTo>
                    <a:lnTo>
                      <a:pt x="1504" y="1769"/>
                    </a:lnTo>
                    <a:lnTo>
                      <a:pt x="1504" y="1773"/>
                    </a:lnTo>
                    <a:lnTo>
                      <a:pt x="1503" y="1778"/>
                    </a:lnTo>
                    <a:lnTo>
                      <a:pt x="1503" y="1788"/>
                    </a:lnTo>
                    <a:lnTo>
                      <a:pt x="1506" y="1794"/>
                    </a:lnTo>
                    <a:lnTo>
                      <a:pt x="1504" y="1797"/>
                    </a:lnTo>
                    <a:lnTo>
                      <a:pt x="1497" y="1796"/>
                    </a:lnTo>
                    <a:lnTo>
                      <a:pt x="1492" y="1797"/>
                    </a:lnTo>
                    <a:lnTo>
                      <a:pt x="1485" y="1796"/>
                    </a:lnTo>
                    <a:lnTo>
                      <a:pt x="1482" y="1803"/>
                    </a:lnTo>
                    <a:lnTo>
                      <a:pt x="1473" y="1803"/>
                    </a:lnTo>
                    <a:lnTo>
                      <a:pt x="1470" y="1809"/>
                    </a:lnTo>
                    <a:lnTo>
                      <a:pt x="1465" y="1812"/>
                    </a:lnTo>
                    <a:lnTo>
                      <a:pt x="1459" y="1817"/>
                    </a:lnTo>
                    <a:lnTo>
                      <a:pt x="1452" y="1811"/>
                    </a:lnTo>
                    <a:lnTo>
                      <a:pt x="1443" y="1818"/>
                    </a:lnTo>
                    <a:lnTo>
                      <a:pt x="1437" y="1815"/>
                    </a:lnTo>
                    <a:lnTo>
                      <a:pt x="1435" y="1817"/>
                    </a:lnTo>
                    <a:lnTo>
                      <a:pt x="1438" y="1829"/>
                    </a:lnTo>
                    <a:lnTo>
                      <a:pt x="1438" y="1838"/>
                    </a:lnTo>
                    <a:lnTo>
                      <a:pt x="1440" y="1841"/>
                    </a:lnTo>
                    <a:lnTo>
                      <a:pt x="1443" y="1848"/>
                    </a:lnTo>
                    <a:lnTo>
                      <a:pt x="1455" y="1847"/>
                    </a:lnTo>
                    <a:lnTo>
                      <a:pt x="1461" y="1848"/>
                    </a:lnTo>
                    <a:lnTo>
                      <a:pt x="1462" y="1851"/>
                    </a:lnTo>
                    <a:lnTo>
                      <a:pt x="1471" y="1845"/>
                    </a:lnTo>
                    <a:lnTo>
                      <a:pt x="1476" y="1847"/>
                    </a:lnTo>
                    <a:lnTo>
                      <a:pt x="1479" y="1845"/>
                    </a:lnTo>
                    <a:lnTo>
                      <a:pt x="1483" y="1850"/>
                    </a:lnTo>
                    <a:lnTo>
                      <a:pt x="1482" y="1854"/>
                    </a:lnTo>
                    <a:lnTo>
                      <a:pt x="1482" y="1863"/>
                    </a:lnTo>
                    <a:lnTo>
                      <a:pt x="1473" y="1877"/>
                    </a:lnTo>
                    <a:lnTo>
                      <a:pt x="1461" y="1875"/>
                    </a:lnTo>
                    <a:lnTo>
                      <a:pt x="1458" y="1881"/>
                    </a:lnTo>
                    <a:lnTo>
                      <a:pt x="1461" y="1890"/>
                    </a:lnTo>
                    <a:lnTo>
                      <a:pt x="1458" y="1893"/>
                    </a:lnTo>
                    <a:lnTo>
                      <a:pt x="1455" y="1893"/>
                    </a:lnTo>
                    <a:lnTo>
                      <a:pt x="1450" y="1890"/>
                    </a:lnTo>
                    <a:lnTo>
                      <a:pt x="1441" y="1887"/>
                    </a:lnTo>
                    <a:lnTo>
                      <a:pt x="1435" y="1886"/>
                    </a:lnTo>
                    <a:lnTo>
                      <a:pt x="1434" y="1887"/>
                    </a:lnTo>
                    <a:lnTo>
                      <a:pt x="1422" y="1884"/>
                    </a:lnTo>
                    <a:lnTo>
                      <a:pt x="1417" y="1880"/>
                    </a:lnTo>
                    <a:lnTo>
                      <a:pt x="1413" y="1880"/>
                    </a:lnTo>
                    <a:lnTo>
                      <a:pt x="1411" y="1881"/>
                    </a:lnTo>
                    <a:lnTo>
                      <a:pt x="1402" y="1880"/>
                    </a:lnTo>
                    <a:lnTo>
                      <a:pt x="1395" y="1878"/>
                    </a:lnTo>
                    <a:lnTo>
                      <a:pt x="1390" y="1884"/>
                    </a:lnTo>
                    <a:lnTo>
                      <a:pt x="1384" y="1884"/>
                    </a:lnTo>
                    <a:lnTo>
                      <a:pt x="1375" y="1883"/>
                    </a:lnTo>
                    <a:lnTo>
                      <a:pt x="1372" y="1884"/>
                    </a:lnTo>
                    <a:lnTo>
                      <a:pt x="1365" y="1881"/>
                    </a:lnTo>
                    <a:lnTo>
                      <a:pt x="1362" y="1890"/>
                    </a:lnTo>
                    <a:lnTo>
                      <a:pt x="1359" y="1886"/>
                    </a:lnTo>
                    <a:lnTo>
                      <a:pt x="1357" y="1880"/>
                    </a:lnTo>
                    <a:lnTo>
                      <a:pt x="1344" y="1878"/>
                    </a:lnTo>
                    <a:lnTo>
                      <a:pt x="1342" y="1875"/>
                    </a:lnTo>
                    <a:lnTo>
                      <a:pt x="1338" y="1875"/>
                    </a:lnTo>
                    <a:lnTo>
                      <a:pt x="1330" y="1872"/>
                    </a:lnTo>
                    <a:lnTo>
                      <a:pt x="1330" y="1869"/>
                    </a:lnTo>
                    <a:lnTo>
                      <a:pt x="1332" y="1865"/>
                    </a:lnTo>
                    <a:lnTo>
                      <a:pt x="1336" y="1860"/>
                    </a:lnTo>
                    <a:lnTo>
                      <a:pt x="1324" y="1860"/>
                    </a:lnTo>
                    <a:lnTo>
                      <a:pt x="1320" y="1863"/>
                    </a:lnTo>
                    <a:lnTo>
                      <a:pt x="1311" y="1860"/>
                    </a:lnTo>
                    <a:lnTo>
                      <a:pt x="1302" y="1863"/>
                    </a:lnTo>
                    <a:lnTo>
                      <a:pt x="1297" y="1862"/>
                    </a:lnTo>
                    <a:lnTo>
                      <a:pt x="1297" y="1866"/>
                    </a:lnTo>
                    <a:lnTo>
                      <a:pt x="1287" y="1868"/>
                    </a:lnTo>
                    <a:lnTo>
                      <a:pt x="1281" y="1865"/>
                    </a:lnTo>
                    <a:lnTo>
                      <a:pt x="1275" y="1869"/>
                    </a:lnTo>
                    <a:lnTo>
                      <a:pt x="1266" y="1877"/>
                    </a:lnTo>
                    <a:lnTo>
                      <a:pt x="1264" y="1881"/>
                    </a:lnTo>
                    <a:lnTo>
                      <a:pt x="1260" y="1881"/>
                    </a:lnTo>
                    <a:lnTo>
                      <a:pt x="1258" y="1893"/>
                    </a:lnTo>
                    <a:lnTo>
                      <a:pt x="1252" y="1889"/>
                    </a:lnTo>
                    <a:lnTo>
                      <a:pt x="1246" y="1890"/>
                    </a:lnTo>
                    <a:lnTo>
                      <a:pt x="1242" y="1886"/>
                    </a:lnTo>
                    <a:lnTo>
                      <a:pt x="1246" y="1877"/>
                    </a:lnTo>
                    <a:lnTo>
                      <a:pt x="1240" y="1877"/>
                    </a:lnTo>
                    <a:lnTo>
                      <a:pt x="1240" y="1871"/>
                    </a:lnTo>
                    <a:lnTo>
                      <a:pt x="1236" y="1874"/>
                    </a:lnTo>
                    <a:lnTo>
                      <a:pt x="1233" y="1869"/>
                    </a:lnTo>
                    <a:lnTo>
                      <a:pt x="1228" y="1868"/>
                    </a:lnTo>
                    <a:lnTo>
                      <a:pt x="1221" y="1880"/>
                    </a:lnTo>
                    <a:lnTo>
                      <a:pt x="1213" y="1877"/>
                    </a:lnTo>
                    <a:lnTo>
                      <a:pt x="1206" y="1871"/>
                    </a:lnTo>
                    <a:lnTo>
                      <a:pt x="1201" y="1872"/>
                    </a:lnTo>
                    <a:lnTo>
                      <a:pt x="1198" y="1869"/>
                    </a:lnTo>
                    <a:lnTo>
                      <a:pt x="1194" y="1868"/>
                    </a:lnTo>
                    <a:lnTo>
                      <a:pt x="1168" y="1862"/>
                    </a:lnTo>
                    <a:lnTo>
                      <a:pt x="1162" y="1860"/>
                    </a:lnTo>
                    <a:lnTo>
                      <a:pt x="1147" y="1854"/>
                    </a:lnTo>
                    <a:lnTo>
                      <a:pt x="1101" y="1811"/>
                    </a:lnTo>
                    <a:lnTo>
                      <a:pt x="1095" y="1811"/>
                    </a:lnTo>
                    <a:lnTo>
                      <a:pt x="1090" y="1808"/>
                    </a:lnTo>
                    <a:lnTo>
                      <a:pt x="1086" y="1803"/>
                    </a:lnTo>
                    <a:lnTo>
                      <a:pt x="1078" y="1790"/>
                    </a:lnTo>
                    <a:lnTo>
                      <a:pt x="1083" y="1782"/>
                    </a:lnTo>
                    <a:lnTo>
                      <a:pt x="1090" y="1772"/>
                    </a:lnTo>
                    <a:lnTo>
                      <a:pt x="1083" y="1761"/>
                    </a:lnTo>
                    <a:lnTo>
                      <a:pt x="1078" y="1757"/>
                    </a:lnTo>
                    <a:lnTo>
                      <a:pt x="1077" y="1748"/>
                    </a:lnTo>
                    <a:lnTo>
                      <a:pt x="1084" y="1743"/>
                    </a:lnTo>
                    <a:lnTo>
                      <a:pt x="1083" y="1739"/>
                    </a:lnTo>
                    <a:lnTo>
                      <a:pt x="1084" y="1733"/>
                    </a:lnTo>
                    <a:lnTo>
                      <a:pt x="1090" y="1718"/>
                    </a:lnTo>
                    <a:lnTo>
                      <a:pt x="1087" y="1713"/>
                    </a:lnTo>
                    <a:lnTo>
                      <a:pt x="1081" y="1715"/>
                    </a:lnTo>
                    <a:lnTo>
                      <a:pt x="1080" y="1706"/>
                    </a:lnTo>
                    <a:lnTo>
                      <a:pt x="1084" y="1698"/>
                    </a:lnTo>
                    <a:lnTo>
                      <a:pt x="1084" y="1692"/>
                    </a:lnTo>
                    <a:lnTo>
                      <a:pt x="1072" y="1679"/>
                    </a:lnTo>
                    <a:lnTo>
                      <a:pt x="1068" y="1680"/>
                    </a:lnTo>
                    <a:lnTo>
                      <a:pt x="1063" y="1674"/>
                    </a:lnTo>
                    <a:lnTo>
                      <a:pt x="1059" y="1679"/>
                    </a:lnTo>
                    <a:lnTo>
                      <a:pt x="1045" y="1682"/>
                    </a:lnTo>
                    <a:lnTo>
                      <a:pt x="1042" y="1679"/>
                    </a:lnTo>
                    <a:lnTo>
                      <a:pt x="1036" y="1685"/>
                    </a:lnTo>
                    <a:lnTo>
                      <a:pt x="1026" y="1683"/>
                    </a:lnTo>
                    <a:lnTo>
                      <a:pt x="1020" y="1679"/>
                    </a:lnTo>
                    <a:lnTo>
                      <a:pt x="1021" y="1673"/>
                    </a:lnTo>
                    <a:lnTo>
                      <a:pt x="1018" y="1671"/>
                    </a:lnTo>
                    <a:lnTo>
                      <a:pt x="1011" y="1683"/>
                    </a:lnTo>
                    <a:lnTo>
                      <a:pt x="1008" y="1689"/>
                    </a:lnTo>
                    <a:lnTo>
                      <a:pt x="1000" y="1686"/>
                    </a:lnTo>
                    <a:lnTo>
                      <a:pt x="996" y="1688"/>
                    </a:lnTo>
                    <a:lnTo>
                      <a:pt x="988" y="1688"/>
                    </a:lnTo>
                    <a:lnTo>
                      <a:pt x="982" y="1689"/>
                    </a:lnTo>
                    <a:lnTo>
                      <a:pt x="976" y="1685"/>
                    </a:lnTo>
                    <a:lnTo>
                      <a:pt x="972" y="1686"/>
                    </a:lnTo>
                    <a:lnTo>
                      <a:pt x="966" y="1682"/>
                    </a:lnTo>
                    <a:lnTo>
                      <a:pt x="954" y="1683"/>
                    </a:lnTo>
                    <a:lnTo>
                      <a:pt x="952" y="1686"/>
                    </a:lnTo>
                    <a:lnTo>
                      <a:pt x="940" y="1691"/>
                    </a:lnTo>
                    <a:lnTo>
                      <a:pt x="937" y="1698"/>
                    </a:lnTo>
                    <a:lnTo>
                      <a:pt x="930" y="1706"/>
                    </a:lnTo>
                    <a:lnTo>
                      <a:pt x="921" y="1703"/>
                    </a:lnTo>
                    <a:lnTo>
                      <a:pt x="900" y="1694"/>
                    </a:lnTo>
                    <a:lnTo>
                      <a:pt x="888" y="1689"/>
                    </a:lnTo>
                    <a:lnTo>
                      <a:pt x="876" y="1710"/>
                    </a:lnTo>
                    <a:lnTo>
                      <a:pt x="879" y="1718"/>
                    </a:lnTo>
                    <a:lnTo>
                      <a:pt x="874" y="1728"/>
                    </a:lnTo>
                    <a:lnTo>
                      <a:pt x="867" y="1730"/>
                    </a:lnTo>
                    <a:lnTo>
                      <a:pt x="868" y="1734"/>
                    </a:lnTo>
                    <a:lnTo>
                      <a:pt x="855" y="1736"/>
                    </a:lnTo>
                    <a:lnTo>
                      <a:pt x="850" y="1740"/>
                    </a:lnTo>
                    <a:lnTo>
                      <a:pt x="844" y="1734"/>
                    </a:lnTo>
                    <a:lnTo>
                      <a:pt x="828" y="1733"/>
                    </a:lnTo>
                    <a:lnTo>
                      <a:pt x="826" y="1739"/>
                    </a:lnTo>
                    <a:lnTo>
                      <a:pt x="817" y="1743"/>
                    </a:lnTo>
                    <a:lnTo>
                      <a:pt x="808" y="1773"/>
                    </a:lnTo>
                    <a:lnTo>
                      <a:pt x="811" y="1775"/>
                    </a:lnTo>
                    <a:lnTo>
                      <a:pt x="811" y="1778"/>
                    </a:lnTo>
                    <a:lnTo>
                      <a:pt x="805" y="1779"/>
                    </a:lnTo>
                    <a:lnTo>
                      <a:pt x="802" y="1773"/>
                    </a:lnTo>
                    <a:lnTo>
                      <a:pt x="792" y="1787"/>
                    </a:lnTo>
                    <a:lnTo>
                      <a:pt x="786" y="1803"/>
                    </a:lnTo>
                    <a:lnTo>
                      <a:pt x="762" y="1799"/>
                    </a:lnTo>
                    <a:lnTo>
                      <a:pt x="762" y="1805"/>
                    </a:lnTo>
                    <a:lnTo>
                      <a:pt x="754" y="1806"/>
                    </a:lnTo>
                    <a:lnTo>
                      <a:pt x="753" y="1826"/>
                    </a:lnTo>
                    <a:lnTo>
                      <a:pt x="745" y="1829"/>
                    </a:lnTo>
                    <a:lnTo>
                      <a:pt x="745" y="1832"/>
                    </a:lnTo>
                    <a:lnTo>
                      <a:pt x="750" y="1835"/>
                    </a:lnTo>
                    <a:lnTo>
                      <a:pt x="748" y="1838"/>
                    </a:lnTo>
                    <a:lnTo>
                      <a:pt x="738" y="1832"/>
                    </a:lnTo>
                    <a:lnTo>
                      <a:pt x="735" y="1836"/>
                    </a:lnTo>
                    <a:lnTo>
                      <a:pt x="730" y="1832"/>
                    </a:lnTo>
                    <a:lnTo>
                      <a:pt x="724" y="1829"/>
                    </a:lnTo>
                    <a:lnTo>
                      <a:pt x="721" y="1833"/>
                    </a:lnTo>
                    <a:lnTo>
                      <a:pt x="717" y="1833"/>
                    </a:lnTo>
                    <a:lnTo>
                      <a:pt x="712" y="1829"/>
                    </a:lnTo>
                    <a:lnTo>
                      <a:pt x="712" y="1839"/>
                    </a:lnTo>
                    <a:lnTo>
                      <a:pt x="718" y="1839"/>
                    </a:lnTo>
                    <a:lnTo>
                      <a:pt x="723" y="1842"/>
                    </a:lnTo>
                    <a:lnTo>
                      <a:pt x="720" y="1845"/>
                    </a:lnTo>
                    <a:lnTo>
                      <a:pt x="720" y="1851"/>
                    </a:lnTo>
                    <a:lnTo>
                      <a:pt x="715" y="1854"/>
                    </a:lnTo>
                    <a:lnTo>
                      <a:pt x="718" y="1863"/>
                    </a:lnTo>
                    <a:lnTo>
                      <a:pt x="715" y="1871"/>
                    </a:lnTo>
                    <a:lnTo>
                      <a:pt x="721" y="1874"/>
                    </a:lnTo>
                    <a:lnTo>
                      <a:pt x="721" y="1878"/>
                    </a:lnTo>
                    <a:lnTo>
                      <a:pt x="717" y="1883"/>
                    </a:lnTo>
                    <a:lnTo>
                      <a:pt x="709" y="1898"/>
                    </a:lnTo>
                    <a:lnTo>
                      <a:pt x="699" y="1902"/>
                    </a:lnTo>
                    <a:lnTo>
                      <a:pt x="688" y="1908"/>
                    </a:lnTo>
                    <a:lnTo>
                      <a:pt x="675" y="1898"/>
                    </a:lnTo>
                    <a:lnTo>
                      <a:pt x="670" y="1898"/>
                    </a:lnTo>
                    <a:lnTo>
                      <a:pt x="664" y="1890"/>
                    </a:lnTo>
                    <a:lnTo>
                      <a:pt x="661" y="1890"/>
                    </a:lnTo>
                    <a:lnTo>
                      <a:pt x="658" y="1892"/>
                    </a:lnTo>
                    <a:lnTo>
                      <a:pt x="655" y="1895"/>
                    </a:lnTo>
                    <a:lnTo>
                      <a:pt x="654" y="1890"/>
                    </a:lnTo>
                    <a:lnTo>
                      <a:pt x="645" y="1892"/>
                    </a:lnTo>
                    <a:lnTo>
                      <a:pt x="630" y="1884"/>
                    </a:lnTo>
                    <a:lnTo>
                      <a:pt x="625" y="1886"/>
                    </a:lnTo>
                    <a:lnTo>
                      <a:pt x="621" y="1884"/>
                    </a:lnTo>
                    <a:lnTo>
                      <a:pt x="616" y="1881"/>
                    </a:lnTo>
                    <a:lnTo>
                      <a:pt x="609" y="1881"/>
                    </a:lnTo>
                    <a:lnTo>
                      <a:pt x="606" y="1883"/>
                    </a:lnTo>
                    <a:lnTo>
                      <a:pt x="598" y="1883"/>
                    </a:lnTo>
                    <a:lnTo>
                      <a:pt x="595" y="1884"/>
                    </a:lnTo>
                    <a:lnTo>
                      <a:pt x="588" y="1884"/>
                    </a:lnTo>
                    <a:lnTo>
                      <a:pt x="588" y="1881"/>
                    </a:lnTo>
                    <a:lnTo>
                      <a:pt x="582" y="1880"/>
                    </a:lnTo>
                    <a:lnTo>
                      <a:pt x="580" y="1883"/>
                    </a:lnTo>
                    <a:lnTo>
                      <a:pt x="577" y="1884"/>
                    </a:lnTo>
                    <a:lnTo>
                      <a:pt x="576" y="1883"/>
                    </a:lnTo>
                    <a:lnTo>
                      <a:pt x="571" y="1884"/>
                    </a:lnTo>
                    <a:lnTo>
                      <a:pt x="568" y="1883"/>
                    </a:lnTo>
                    <a:lnTo>
                      <a:pt x="561" y="1887"/>
                    </a:lnTo>
                    <a:lnTo>
                      <a:pt x="558" y="1883"/>
                    </a:lnTo>
                    <a:lnTo>
                      <a:pt x="553" y="1883"/>
                    </a:lnTo>
                    <a:lnTo>
                      <a:pt x="550" y="1881"/>
                    </a:lnTo>
                    <a:lnTo>
                      <a:pt x="538" y="1878"/>
                    </a:lnTo>
                    <a:lnTo>
                      <a:pt x="538" y="1869"/>
                    </a:lnTo>
                    <a:lnTo>
                      <a:pt x="541" y="1866"/>
                    </a:lnTo>
                    <a:lnTo>
                      <a:pt x="534" y="1851"/>
                    </a:lnTo>
                    <a:lnTo>
                      <a:pt x="538" y="1845"/>
                    </a:lnTo>
                    <a:lnTo>
                      <a:pt x="535" y="1839"/>
                    </a:lnTo>
                    <a:lnTo>
                      <a:pt x="529" y="1833"/>
                    </a:lnTo>
                    <a:lnTo>
                      <a:pt x="523" y="1835"/>
                    </a:lnTo>
                    <a:lnTo>
                      <a:pt x="517" y="1839"/>
                    </a:lnTo>
                    <a:lnTo>
                      <a:pt x="513" y="1836"/>
                    </a:lnTo>
                    <a:lnTo>
                      <a:pt x="513" y="1827"/>
                    </a:lnTo>
                    <a:lnTo>
                      <a:pt x="505" y="1821"/>
                    </a:lnTo>
                    <a:lnTo>
                      <a:pt x="501" y="1824"/>
                    </a:lnTo>
                    <a:lnTo>
                      <a:pt x="496" y="1803"/>
                    </a:lnTo>
                    <a:lnTo>
                      <a:pt x="490" y="1805"/>
                    </a:lnTo>
                    <a:lnTo>
                      <a:pt x="481" y="1805"/>
                    </a:lnTo>
                    <a:lnTo>
                      <a:pt x="484" y="1797"/>
                    </a:lnTo>
                    <a:lnTo>
                      <a:pt x="480" y="1790"/>
                    </a:lnTo>
                    <a:lnTo>
                      <a:pt x="468" y="1773"/>
                    </a:lnTo>
                    <a:lnTo>
                      <a:pt x="451" y="1770"/>
                    </a:lnTo>
                    <a:lnTo>
                      <a:pt x="450" y="1764"/>
                    </a:lnTo>
                    <a:lnTo>
                      <a:pt x="459" y="1757"/>
                    </a:lnTo>
                    <a:lnTo>
                      <a:pt x="432" y="1754"/>
                    </a:lnTo>
                    <a:lnTo>
                      <a:pt x="418" y="1763"/>
                    </a:lnTo>
                    <a:lnTo>
                      <a:pt x="394" y="1770"/>
                    </a:lnTo>
                    <a:lnTo>
                      <a:pt x="403" y="1748"/>
                    </a:lnTo>
                    <a:lnTo>
                      <a:pt x="387" y="1734"/>
                    </a:lnTo>
                    <a:lnTo>
                      <a:pt x="391" y="1725"/>
                    </a:lnTo>
                    <a:lnTo>
                      <a:pt x="402" y="1712"/>
                    </a:lnTo>
                    <a:lnTo>
                      <a:pt x="411" y="1707"/>
                    </a:lnTo>
                    <a:lnTo>
                      <a:pt x="414" y="1697"/>
                    </a:lnTo>
                    <a:lnTo>
                      <a:pt x="415" y="1694"/>
                    </a:lnTo>
                    <a:lnTo>
                      <a:pt x="406" y="1688"/>
                    </a:lnTo>
                    <a:lnTo>
                      <a:pt x="408" y="1667"/>
                    </a:lnTo>
                    <a:lnTo>
                      <a:pt x="409" y="1661"/>
                    </a:lnTo>
                    <a:lnTo>
                      <a:pt x="409" y="1650"/>
                    </a:lnTo>
                    <a:lnTo>
                      <a:pt x="394" y="1653"/>
                    </a:lnTo>
                    <a:lnTo>
                      <a:pt x="384" y="1646"/>
                    </a:lnTo>
                    <a:lnTo>
                      <a:pt x="385" y="1632"/>
                    </a:lnTo>
                    <a:lnTo>
                      <a:pt x="382" y="1631"/>
                    </a:lnTo>
                    <a:lnTo>
                      <a:pt x="379" y="1628"/>
                    </a:lnTo>
                    <a:lnTo>
                      <a:pt x="370" y="1632"/>
                    </a:lnTo>
                    <a:lnTo>
                      <a:pt x="355" y="1631"/>
                    </a:lnTo>
                    <a:lnTo>
                      <a:pt x="352" y="1622"/>
                    </a:lnTo>
                    <a:lnTo>
                      <a:pt x="360" y="1608"/>
                    </a:lnTo>
                    <a:lnTo>
                      <a:pt x="361" y="1599"/>
                    </a:lnTo>
                    <a:lnTo>
                      <a:pt x="364" y="1596"/>
                    </a:lnTo>
                    <a:lnTo>
                      <a:pt x="370" y="1598"/>
                    </a:lnTo>
                    <a:lnTo>
                      <a:pt x="379" y="1602"/>
                    </a:lnTo>
                    <a:lnTo>
                      <a:pt x="387" y="1599"/>
                    </a:lnTo>
                    <a:lnTo>
                      <a:pt x="387" y="1593"/>
                    </a:lnTo>
                    <a:lnTo>
                      <a:pt x="388" y="1577"/>
                    </a:lnTo>
                    <a:lnTo>
                      <a:pt x="375" y="1578"/>
                    </a:lnTo>
                    <a:lnTo>
                      <a:pt x="366" y="1575"/>
                    </a:lnTo>
                    <a:lnTo>
                      <a:pt x="361" y="1568"/>
                    </a:lnTo>
                    <a:lnTo>
                      <a:pt x="366" y="1559"/>
                    </a:lnTo>
                    <a:lnTo>
                      <a:pt x="381" y="1565"/>
                    </a:lnTo>
                    <a:lnTo>
                      <a:pt x="402" y="1565"/>
                    </a:lnTo>
                    <a:lnTo>
                      <a:pt x="403" y="1559"/>
                    </a:lnTo>
                    <a:lnTo>
                      <a:pt x="412" y="1556"/>
                    </a:lnTo>
                    <a:lnTo>
                      <a:pt x="417" y="1563"/>
                    </a:lnTo>
                    <a:lnTo>
                      <a:pt x="423" y="1557"/>
                    </a:lnTo>
                    <a:lnTo>
                      <a:pt x="424" y="1548"/>
                    </a:lnTo>
                    <a:lnTo>
                      <a:pt x="429" y="1541"/>
                    </a:lnTo>
                    <a:lnTo>
                      <a:pt x="424" y="1518"/>
                    </a:lnTo>
                    <a:lnTo>
                      <a:pt x="421" y="1520"/>
                    </a:lnTo>
                    <a:lnTo>
                      <a:pt x="412" y="1521"/>
                    </a:lnTo>
                    <a:lnTo>
                      <a:pt x="408" y="1533"/>
                    </a:lnTo>
                    <a:lnTo>
                      <a:pt x="394" y="1530"/>
                    </a:lnTo>
                    <a:lnTo>
                      <a:pt x="396" y="1524"/>
                    </a:lnTo>
                    <a:lnTo>
                      <a:pt x="397" y="1512"/>
                    </a:lnTo>
                    <a:lnTo>
                      <a:pt x="391" y="1508"/>
                    </a:lnTo>
                    <a:lnTo>
                      <a:pt x="381" y="1509"/>
                    </a:lnTo>
                    <a:lnTo>
                      <a:pt x="375" y="1502"/>
                    </a:lnTo>
                    <a:lnTo>
                      <a:pt x="361" y="1505"/>
                    </a:lnTo>
                    <a:lnTo>
                      <a:pt x="355" y="1499"/>
                    </a:lnTo>
                    <a:lnTo>
                      <a:pt x="360" y="1493"/>
                    </a:lnTo>
                    <a:lnTo>
                      <a:pt x="351" y="1491"/>
                    </a:lnTo>
                    <a:lnTo>
                      <a:pt x="346" y="1497"/>
                    </a:lnTo>
                    <a:lnTo>
                      <a:pt x="339" y="1484"/>
                    </a:lnTo>
                    <a:lnTo>
                      <a:pt x="343" y="1475"/>
                    </a:lnTo>
                    <a:lnTo>
                      <a:pt x="333" y="1470"/>
                    </a:lnTo>
                    <a:lnTo>
                      <a:pt x="336" y="1452"/>
                    </a:lnTo>
                    <a:lnTo>
                      <a:pt x="331" y="1431"/>
                    </a:lnTo>
                    <a:lnTo>
                      <a:pt x="330" y="1434"/>
                    </a:lnTo>
                    <a:lnTo>
                      <a:pt x="319" y="1445"/>
                    </a:lnTo>
                    <a:lnTo>
                      <a:pt x="315" y="1443"/>
                    </a:lnTo>
                    <a:lnTo>
                      <a:pt x="300" y="1452"/>
                    </a:lnTo>
                    <a:lnTo>
                      <a:pt x="285" y="1440"/>
                    </a:lnTo>
                    <a:lnTo>
                      <a:pt x="285" y="1428"/>
                    </a:lnTo>
                    <a:lnTo>
                      <a:pt x="286" y="1419"/>
                    </a:lnTo>
                    <a:lnTo>
                      <a:pt x="279" y="1409"/>
                    </a:lnTo>
                    <a:lnTo>
                      <a:pt x="253" y="1419"/>
                    </a:lnTo>
                    <a:lnTo>
                      <a:pt x="249" y="1418"/>
                    </a:lnTo>
                    <a:lnTo>
                      <a:pt x="247" y="1418"/>
                    </a:lnTo>
                    <a:lnTo>
                      <a:pt x="243" y="1407"/>
                    </a:lnTo>
                    <a:lnTo>
                      <a:pt x="243" y="1401"/>
                    </a:lnTo>
                    <a:lnTo>
                      <a:pt x="238" y="1389"/>
                    </a:lnTo>
                    <a:lnTo>
                      <a:pt x="235" y="1377"/>
                    </a:lnTo>
                    <a:lnTo>
                      <a:pt x="225" y="1374"/>
                    </a:lnTo>
                    <a:lnTo>
                      <a:pt x="219" y="1371"/>
                    </a:lnTo>
                    <a:lnTo>
                      <a:pt x="216" y="1359"/>
                    </a:lnTo>
                    <a:lnTo>
                      <a:pt x="205" y="1353"/>
                    </a:lnTo>
                    <a:lnTo>
                      <a:pt x="193" y="1337"/>
                    </a:lnTo>
                    <a:lnTo>
                      <a:pt x="172" y="1331"/>
                    </a:lnTo>
                    <a:lnTo>
                      <a:pt x="171" y="1325"/>
                    </a:lnTo>
                    <a:lnTo>
                      <a:pt x="166" y="1323"/>
                    </a:lnTo>
                    <a:lnTo>
                      <a:pt x="166" y="1317"/>
                    </a:lnTo>
                    <a:lnTo>
                      <a:pt x="180" y="1311"/>
                    </a:lnTo>
                    <a:lnTo>
                      <a:pt x="181" y="1295"/>
                    </a:lnTo>
                    <a:lnTo>
                      <a:pt x="189" y="1292"/>
                    </a:lnTo>
                    <a:lnTo>
                      <a:pt x="187" y="1286"/>
                    </a:lnTo>
                    <a:lnTo>
                      <a:pt x="183" y="1286"/>
                    </a:lnTo>
                    <a:lnTo>
                      <a:pt x="180" y="1277"/>
                    </a:lnTo>
                    <a:lnTo>
                      <a:pt x="180" y="1269"/>
                    </a:lnTo>
                    <a:lnTo>
                      <a:pt x="165" y="1256"/>
                    </a:lnTo>
                    <a:lnTo>
                      <a:pt x="160" y="1253"/>
                    </a:lnTo>
                    <a:lnTo>
                      <a:pt x="168" y="1232"/>
                    </a:lnTo>
                    <a:lnTo>
                      <a:pt x="147" y="1223"/>
                    </a:lnTo>
                    <a:lnTo>
                      <a:pt x="138" y="1223"/>
                    </a:lnTo>
                    <a:lnTo>
                      <a:pt x="127" y="1223"/>
                    </a:lnTo>
                    <a:lnTo>
                      <a:pt x="100" y="1215"/>
                    </a:lnTo>
                    <a:lnTo>
                      <a:pt x="96" y="1212"/>
                    </a:lnTo>
                    <a:lnTo>
                      <a:pt x="100" y="1209"/>
                    </a:lnTo>
                    <a:lnTo>
                      <a:pt x="115" y="1199"/>
                    </a:lnTo>
                    <a:lnTo>
                      <a:pt x="112" y="1184"/>
                    </a:lnTo>
                    <a:lnTo>
                      <a:pt x="127" y="1187"/>
                    </a:lnTo>
                    <a:lnTo>
                      <a:pt x="127" y="1178"/>
                    </a:lnTo>
                    <a:lnTo>
                      <a:pt x="132" y="1173"/>
                    </a:lnTo>
                    <a:lnTo>
                      <a:pt x="148" y="1169"/>
                    </a:lnTo>
                    <a:lnTo>
                      <a:pt x="151" y="1161"/>
                    </a:lnTo>
                    <a:lnTo>
                      <a:pt x="150" y="1158"/>
                    </a:lnTo>
                    <a:lnTo>
                      <a:pt x="142" y="1160"/>
                    </a:lnTo>
                    <a:lnTo>
                      <a:pt x="132" y="1155"/>
                    </a:lnTo>
                    <a:lnTo>
                      <a:pt x="129" y="1145"/>
                    </a:lnTo>
                    <a:lnTo>
                      <a:pt x="129" y="1130"/>
                    </a:lnTo>
                    <a:lnTo>
                      <a:pt x="118" y="1121"/>
                    </a:lnTo>
                    <a:lnTo>
                      <a:pt x="106" y="1143"/>
                    </a:lnTo>
                    <a:lnTo>
                      <a:pt x="115" y="1163"/>
                    </a:lnTo>
                    <a:lnTo>
                      <a:pt x="112" y="1167"/>
                    </a:lnTo>
                    <a:lnTo>
                      <a:pt x="109" y="1169"/>
                    </a:lnTo>
                    <a:lnTo>
                      <a:pt x="103" y="1163"/>
                    </a:lnTo>
                    <a:lnTo>
                      <a:pt x="102" y="1160"/>
                    </a:lnTo>
                    <a:lnTo>
                      <a:pt x="99" y="1151"/>
                    </a:lnTo>
                    <a:lnTo>
                      <a:pt x="100" y="1127"/>
                    </a:lnTo>
                    <a:lnTo>
                      <a:pt x="97" y="1119"/>
                    </a:lnTo>
                    <a:lnTo>
                      <a:pt x="85" y="1121"/>
                    </a:lnTo>
                    <a:lnTo>
                      <a:pt x="84" y="1119"/>
                    </a:lnTo>
                    <a:lnTo>
                      <a:pt x="82" y="1115"/>
                    </a:lnTo>
                    <a:lnTo>
                      <a:pt x="87" y="1113"/>
                    </a:lnTo>
                    <a:lnTo>
                      <a:pt x="90" y="1109"/>
                    </a:lnTo>
                    <a:lnTo>
                      <a:pt x="79" y="1104"/>
                    </a:lnTo>
                    <a:lnTo>
                      <a:pt x="73" y="1104"/>
                    </a:lnTo>
                    <a:lnTo>
                      <a:pt x="69" y="1110"/>
                    </a:lnTo>
                    <a:lnTo>
                      <a:pt x="63" y="1110"/>
                    </a:lnTo>
                    <a:lnTo>
                      <a:pt x="57" y="1103"/>
                    </a:lnTo>
                    <a:lnTo>
                      <a:pt x="43" y="1101"/>
                    </a:lnTo>
                    <a:lnTo>
                      <a:pt x="36" y="1107"/>
                    </a:lnTo>
                    <a:lnTo>
                      <a:pt x="39" y="1122"/>
                    </a:lnTo>
                    <a:lnTo>
                      <a:pt x="43" y="1125"/>
                    </a:lnTo>
                    <a:lnTo>
                      <a:pt x="52" y="1124"/>
                    </a:lnTo>
                    <a:lnTo>
                      <a:pt x="58" y="1119"/>
                    </a:lnTo>
                    <a:lnTo>
                      <a:pt x="61" y="1128"/>
                    </a:lnTo>
                    <a:lnTo>
                      <a:pt x="69" y="1133"/>
                    </a:lnTo>
                    <a:lnTo>
                      <a:pt x="70" y="1133"/>
                    </a:lnTo>
                    <a:lnTo>
                      <a:pt x="70" y="1143"/>
                    </a:lnTo>
                    <a:lnTo>
                      <a:pt x="69" y="1151"/>
                    </a:lnTo>
                    <a:lnTo>
                      <a:pt x="54" y="1148"/>
                    </a:lnTo>
                    <a:lnTo>
                      <a:pt x="51" y="1137"/>
                    </a:lnTo>
                    <a:lnTo>
                      <a:pt x="28" y="1131"/>
                    </a:lnTo>
                    <a:lnTo>
                      <a:pt x="24" y="1137"/>
                    </a:lnTo>
                    <a:lnTo>
                      <a:pt x="16" y="1131"/>
                    </a:lnTo>
                    <a:lnTo>
                      <a:pt x="13" y="1122"/>
                    </a:lnTo>
                    <a:lnTo>
                      <a:pt x="18" y="1116"/>
                    </a:lnTo>
                    <a:lnTo>
                      <a:pt x="12" y="1104"/>
                    </a:lnTo>
                    <a:lnTo>
                      <a:pt x="10" y="1079"/>
                    </a:lnTo>
                    <a:lnTo>
                      <a:pt x="19" y="1076"/>
                    </a:lnTo>
                    <a:lnTo>
                      <a:pt x="33" y="1074"/>
                    </a:lnTo>
                    <a:lnTo>
                      <a:pt x="37" y="1074"/>
                    </a:lnTo>
                    <a:lnTo>
                      <a:pt x="43" y="1074"/>
                    </a:lnTo>
                    <a:lnTo>
                      <a:pt x="43" y="1079"/>
                    </a:lnTo>
                    <a:lnTo>
                      <a:pt x="37" y="1086"/>
                    </a:lnTo>
                    <a:lnTo>
                      <a:pt x="27" y="1092"/>
                    </a:lnTo>
                    <a:lnTo>
                      <a:pt x="34" y="1098"/>
                    </a:lnTo>
                    <a:lnTo>
                      <a:pt x="51" y="1089"/>
                    </a:lnTo>
                    <a:lnTo>
                      <a:pt x="58" y="1094"/>
                    </a:lnTo>
                    <a:lnTo>
                      <a:pt x="61" y="1088"/>
                    </a:lnTo>
                    <a:lnTo>
                      <a:pt x="72" y="1085"/>
                    </a:lnTo>
                    <a:lnTo>
                      <a:pt x="66" y="1070"/>
                    </a:lnTo>
                    <a:lnTo>
                      <a:pt x="66" y="1061"/>
                    </a:lnTo>
                    <a:lnTo>
                      <a:pt x="61" y="1038"/>
                    </a:lnTo>
                    <a:lnTo>
                      <a:pt x="58" y="1028"/>
                    </a:lnTo>
                    <a:lnTo>
                      <a:pt x="66" y="1017"/>
                    </a:lnTo>
                    <a:lnTo>
                      <a:pt x="63" y="1011"/>
                    </a:lnTo>
                    <a:lnTo>
                      <a:pt x="57" y="1016"/>
                    </a:lnTo>
                    <a:lnTo>
                      <a:pt x="52" y="1014"/>
                    </a:lnTo>
                    <a:lnTo>
                      <a:pt x="48" y="1014"/>
                    </a:lnTo>
                    <a:lnTo>
                      <a:pt x="45" y="1008"/>
                    </a:lnTo>
                    <a:lnTo>
                      <a:pt x="33" y="1013"/>
                    </a:lnTo>
                    <a:lnTo>
                      <a:pt x="31" y="1005"/>
                    </a:lnTo>
                    <a:lnTo>
                      <a:pt x="19" y="1004"/>
                    </a:lnTo>
                    <a:lnTo>
                      <a:pt x="10" y="999"/>
                    </a:lnTo>
                    <a:lnTo>
                      <a:pt x="0" y="984"/>
                    </a:lnTo>
                    <a:lnTo>
                      <a:pt x="9" y="977"/>
                    </a:lnTo>
                    <a:lnTo>
                      <a:pt x="21" y="974"/>
                    </a:lnTo>
                    <a:lnTo>
                      <a:pt x="33" y="965"/>
                    </a:lnTo>
                    <a:lnTo>
                      <a:pt x="40" y="953"/>
                    </a:lnTo>
                    <a:lnTo>
                      <a:pt x="51" y="953"/>
                    </a:lnTo>
                    <a:lnTo>
                      <a:pt x="67" y="968"/>
                    </a:lnTo>
                    <a:lnTo>
                      <a:pt x="75" y="962"/>
                    </a:lnTo>
                    <a:lnTo>
                      <a:pt x="78" y="953"/>
                    </a:lnTo>
                    <a:lnTo>
                      <a:pt x="85" y="950"/>
                    </a:lnTo>
                    <a:lnTo>
                      <a:pt x="90" y="944"/>
                    </a:lnTo>
                    <a:lnTo>
                      <a:pt x="96" y="938"/>
                    </a:lnTo>
                    <a:lnTo>
                      <a:pt x="99" y="923"/>
                    </a:lnTo>
                    <a:lnTo>
                      <a:pt x="102" y="917"/>
                    </a:lnTo>
                    <a:lnTo>
                      <a:pt x="106" y="914"/>
                    </a:lnTo>
                    <a:lnTo>
                      <a:pt x="114" y="909"/>
                    </a:lnTo>
                    <a:lnTo>
                      <a:pt x="114" y="896"/>
                    </a:lnTo>
                    <a:lnTo>
                      <a:pt x="111" y="885"/>
                    </a:lnTo>
                    <a:lnTo>
                      <a:pt x="111" y="882"/>
                    </a:lnTo>
                    <a:lnTo>
                      <a:pt x="111" y="858"/>
                    </a:lnTo>
                    <a:lnTo>
                      <a:pt x="112" y="848"/>
                    </a:lnTo>
                    <a:lnTo>
                      <a:pt x="118" y="842"/>
                    </a:lnTo>
                    <a:lnTo>
                      <a:pt x="130" y="840"/>
                    </a:lnTo>
                    <a:lnTo>
                      <a:pt x="145" y="848"/>
                    </a:lnTo>
                    <a:lnTo>
                      <a:pt x="165" y="839"/>
                    </a:lnTo>
                    <a:lnTo>
                      <a:pt x="171" y="825"/>
                    </a:lnTo>
                    <a:lnTo>
                      <a:pt x="159" y="819"/>
                    </a:lnTo>
                    <a:lnTo>
                      <a:pt x="132" y="810"/>
                    </a:lnTo>
                    <a:lnTo>
                      <a:pt x="124" y="804"/>
                    </a:lnTo>
                    <a:lnTo>
                      <a:pt x="124" y="791"/>
                    </a:lnTo>
                    <a:lnTo>
                      <a:pt x="127" y="788"/>
                    </a:lnTo>
                    <a:lnTo>
                      <a:pt x="130" y="791"/>
                    </a:lnTo>
                    <a:lnTo>
                      <a:pt x="138" y="789"/>
                    </a:lnTo>
                    <a:lnTo>
                      <a:pt x="138" y="783"/>
                    </a:lnTo>
                    <a:lnTo>
                      <a:pt x="135" y="777"/>
                    </a:lnTo>
                    <a:lnTo>
                      <a:pt x="124" y="764"/>
                    </a:lnTo>
                    <a:lnTo>
                      <a:pt x="124" y="762"/>
                    </a:lnTo>
                    <a:lnTo>
                      <a:pt x="121" y="759"/>
                    </a:lnTo>
                    <a:lnTo>
                      <a:pt x="120" y="746"/>
                    </a:lnTo>
                    <a:lnTo>
                      <a:pt x="136" y="737"/>
                    </a:lnTo>
                    <a:lnTo>
                      <a:pt x="136" y="722"/>
                    </a:lnTo>
                    <a:lnTo>
                      <a:pt x="141" y="713"/>
                    </a:lnTo>
                    <a:lnTo>
                      <a:pt x="138" y="707"/>
                    </a:lnTo>
                    <a:lnTo>
                      <a:pt x="139" y="696"/>
                    </a:lnTo>
                    <a:lnTo>
                      <a:pt x="138" y="684"/>
                    </a:lnTo>
                    <a:lnTo>
                      <a:pt x="151" y="677"/>
                    </a:lnTo>
                    <a:lnTo>
                      <a:pt x="150" y="672"/>
                    </a:lnTo>
                    <a:lnTo>
                      <a:pt x="148" y="666"/>
                    </a:lnTo>
                    <a:lnTo>
                      <a:pt x="135" y="653"/>
                    </a:lnTo>
                    <a:lnTo>
                      <a:pt x="132" y="647"/>
                    </a:lnTo>
                    <a:lnTo>
                      <a:pt x="123" y="638"/>
                    </a:lnTo>
                    <a:lnTo>
                      <a:pt x="115" y="626"/>
                    </a:lnTo>
                    <a:lnTo>
                      <a:pt x="126" y="614"/>
                    </a:lnTo>
                    <a:lnTo>
                      <a:pt x="121" y="605"/>
                    </a:lnTo>
                    <a:lnTo>
                      <a:pt x="117" y="594"/>
                    </a:lnTo>
                    <a:lnTo>
                      <a:pt x="114" y="590"/>
                    </a:lnTo>
                    <a:lnTo>
                      <a:pt x="123" y="581"/>
                    </a:lnTo>
                    <a:lnTo>
                      <a:pt x="124" y="572"/>
                    </a:lnTo>
                    <a:lnTo>
                      <a:pt x="127" y="573"/>
                    </a:lnTo>
                    <a:lnTo>
                      <a:pt x="130" y="578"/>
                    </a:lnTo>
                    <a:lnTo>
                      <a:pt x="136" y="578"/>
                    </a:lnTo>
                    <a:lnTo>
                      <a:pt x="136" y="567"/>
                    </a:lnTo>
                    <a:lnTo>
                      <a:pt x="130" y="548"/>
                    </a:lnTo>
                    <a:lnTo>
                      <a:pt x="135" y="542"/>
                    </a:lnTo>
                    <a:lnTo>
                      <a:pt x="132" y="524"/>
                    </a:lnTo>
                    <a:lnTo>
                      <a:pt x="129" y="503"/>
                    </a:lnTo>
                    <a:lnTo>
                      <a:pt x="121" y="500"/>
                    </a:lnTo>
                    <a:lnTo>
                      <a:pt x="120" y="497"/>
                    </a:lnTo>
                    <a:lnTo>
                      <a:pt x="120" y="486"/>
                    </a:lnTo>
                    <a:lnTo>
                      <a:pt x="117" y="459"/>
                    </a:lnTo>
                    <a:lnTo>
                      <a:pt x="94" y="455"/>
                    </a:lnTo>
                    <a:lnTo>
                      <a:pt x="90" y="443"/>
                    </a:lnTo>
                    <a:lnTo>
                      <a:pt x="105" y="428"/>
                    </a:lnTo>
                    <a:lnTo>
                      <a:pt x="106" y="419"/>
                    </a:lnTo>
                    <a:lnTo>
                      <a:pt x="103" y="407"/>
                    </a:lnTo>
                    <a:lnTo>
                      <a:pt x="105" y="396"/>
                    </a:lnTo>
                    <a:lnTo>
                      <a:pt x="99" y="393"/>
                    </a:lnTo>
                    <a:lnTo>
                      <a:pt x="90" y="395"/>
                    </a:lnTo>
                    <a:lnTo>
                      <a:pt x="88" y="389"/>
                    </a:lnTo>
                    <a:lnTo>
                      <a:pt x="87" y="381"/>
                    </a:lnTo>
                    <a:lnTo>
                      <a:pt x="97" y="374"/>
                    </a:lnTo>
                    <a:lnTo>
                      <a:pt x="105" y="368"/>
                    </a:lnTo>
                    <a:lnTo>
                      <a:pt x="93" y="330"/>
                    </a:lnTo>
                    <a:lnTo>
                      <a:pt x="99" y="318"/>
                    </a:lnTo>
                    <a:lnTo>
                      <a:pt x="108" y="336"/>
                    </a:lnTo>
                    <a:lnTo>
                      <a:pt x="129" y="321"/>
                    </a:lnTo>
                    <a:lnTo>
                      <a:pt x="129" y="315"/>
                    </a:lnTo>
                    <a:lnTo>
                      <a:pt x="129" y="308"/>
                    </a:lnTo>
                    <a:lnTo>
                      <a:pt x="127" y="287"/>
                    </a:lnTo>
                    <a:lnTo>
                      <a:pt x="130" y="276"/>
                    </a:lnTo>
                    <a:lnTo>
                      <a:pt x="145" y="260"/>
                    </a:lnTo>
                    <a:lnTo>
                      <a:pt x="160" y="243"/>
                    </a:lnTo>
                    <a:lnTo>
                      <a:pt x="165" y="236"/>
                    </a:lnTo>
                    <a:lnTo>
                      <a:pt x="166" y="224"/>
                    </a:lnTo>
                    <a:lnTo>
                      <a:pt x="196" y="203"/>
                    </a:lnTo>
                    <a:lnTo>
                      <a:pt x="186" y="201"/>
                    </a:lnTo>
                    <a:lnTo>
                      <a:pt x="171" y="204"/>
                    </a:lnTo>
                    <a:lnTo>
                      <a:pt x="166" y="197"/>
                    </a:lnTo>
                    <a:lnTo>
                      <a:pt x="166" y="191"/>
                    </a:lnTo>
                    <a:lnTo>
                      <a:pt x="175" y="186"/>
                    </a:lnTo>
                    <a:lnTo>
                      <a:pt x="175" y="176"/>
                    </a:lnTo>
                    <a:lnTo>
                      <a:pt x="190" y="176"/>
                    </a:lnTo>
                    <a:lnTo>
                      <a:pt x="217" y="153"/>
                    </a:lnTo>
                    <a:lnTo>
                      <a:pt x="222" y="158"/>
                    </a:lnTo>
                    <a:lnTo>
                      <a:pt x="234" y="153"/>
                    </a:lnTo>
                    <a:lnTo>
                      <a:pt x="240" y="162"/>
                    </a:lnTo>
                    <a:lnTo>
                      <a:pt x="246" y="153"/>
                    </a:lnTo>
                    <a:lnTo>
                      <a:pt x="247" y="153"/>
                    </a:lnTo>
                    <a:lnTo>
                      <a:pt x="252" y="153"/>
                    </a:lnTo>
                    <a:lnTo>
                      <a:pt x="252" y="171"/>
                    </a:lnTo>
                    <a:lnTo>
                      <a:pt x="258" y="174"/>
                    </a:lnTo>
                    <a:lnTo>
                      <a:pt x="274" y="170"/>
                    </a:lnTo>
                    <a:lnTo>
                      <a:pt x="280" y="167"/>
                    </a:lnTo>
                    <a:lnTo>
                      <a:pt x="306" y="171"/>
                    </a:lnTo>
                    <a:lnTo>
                      <a:pt x="316" y="158"/>
                    </a:lnTo>
                    <a:lnTo>
                      <a:pt x="321" y="149"/>
                    </a:lnTo>
                    <a:lnTo>
                      <a:pt x="334" y="147"/>
                    </a:lnTo>
                    <a:lnTo>
                      <a:pt x="349" y="156"/>
                    </a:lnTo>
                    <a:lnTo>
                      <a:pt x="355" y="149"/>
                    </a:lnTo>
                    <a:lnTo>
                      <a:pt x="367" y="159"/>
                    </a:lnTo>
                    <a:lnTo>
                      <a:pt x="373" y="156"/>
                    </a:lnTo>
                    <a:lnTo>
                      <a:pt x="376" y="165"/>
                    </a:lnTo>
                    <a:lnTo>
                      <a:pt x="426" y="165"/>
                    </a:lnTo>
                    <a:lnTo>
                      <a:pt x="439" y="153"/>
                    </a:lnTo>
                    <a:lnTo>
                      <a:pt x="442" y="149"/>
                    </a:lnTo>
                    <a:lnTo>
                      <a:pt x="459" y="146"/>
                    </a:lnTo>
                    <a:lnTo>
                      <a:pt x="463" y="135"/>
                    </a:lnTo>
                    <a:lnTo>
                      <a:pt x="471" y="135"/>
                    </a:lnTo>
                    <a:lnTo>
                      <a:pt x="471" y="126"/>
                    </a:lnTo>
                    <a:lnTo>
                      <a:pt x="481" y="126"/>
                    </a:lnTo>
                    <a:lnTo>
                      <a:pt x="492" y="128"/>
                    </a:lnTo>
                    <a:lnTo>
                      <a:pt x="496" y="135"/>
                    </a:lnTo>
                    <a:lnTo>
                      <a:pt x="507" y="144"/>
                    </a:lnTo>
                    <a:lnTo>
                      <a:pt x="513" y="155"/>
                    </a:lnTo>
                    <a:lnTo>
                      <a:pt x="519" y="158"/>
                    </a:lnTo>
                    <a:lnTo>
                      <a:pt x="526" y="162"/>
                    </a:lnTo>
                    <a:lnTo>
                      <a:pt x="540" y="149"/>
                    </a:lnTo>
                    <a:lnTo>
                      <a:pt x="547" y="146"/>
                    </a:lnTo>
                    <a:lnTo>
                      <a:pt x="562" y="155"/>
                    </a:lnTo>
                    <a:lnTo>
                      <a:pt x="564" y="144"/>
                    </a:lnTo>
                    <a:lnTo>
                      <a:pt x="552" y="140"/>
                    </a:lnTo>
                    <a:lnTo>
                      <a:pt x="564" y="134"/>
                    </a:lnTo>
                    <a:lnTo>
                      <a:pt x="564" y="131"/>
                    </a:lnTo>
                    <a:lnTo>
                      <a:pt x="574" y="122"/>
                    </a:lnTo>
                    <a:lnTo>
                      <a:pt x="586" y="119"/>
                    </a:lnTo>
                    <a:lnTo>
                      <a:pt x="601" y="111"/>
                    </a:lnTo>
                    <a:lnTo>
                      <a:pt x="607" y="107"/>
                    </a:lnTo>
                    <a:lnTo>
                      <a:pt x="622" y="126"/>
                    </a:lnTo>
                    <a:lnTo>
                      <a:pt x="640" y="135"/>
                    </a:lnTo>
                    <a:lnTo>
                      <a:pt x="655" y="129"/>
                    </a:lnTo>
                    <a:lnTo>
                      <a:pt x="672" y="131"/>
                    </a:lnTo>
                    <a:lnTo>
                      <a:pt x="684" y="143"/>
                    </a:lnTo>
                    <a:lnTo>
                      <a:pt x="688" y="143"/>
                    </a:lnTo>
                    <a:lnTo>
                      <a:pt x="699" y="131"/>
                    </a:lnTo>
                    <a:lnTo>
                      <a:pt x="712" y="146"/>
                    </a:lnTo>
                    <a:lnTo>
                      <a:pt x="733" y="156"/>
                    </a:lnTo>
                    <a:lnTo>
                      <a:pt x="744" y="179"/>
                    </a:lnTo>
                    <a:lnTo>
                      <a:pt x="771" y="158"/>
                    </a:lnTo>
                    <a:lnTo>
                      <a:pt x="790" y="152"/>
                    </a:lnTo>
                    <a:lnTo>
                      <a:pt x="792" y="155"/>
                    </a:lnTo>
                    <a:lnTo>
                      <a:pt x="817" y="137"/>
                    </a:lnTo>
                    <a:lnTo>
                      <a:pt x="825" y="143"/>
                    </a:lnTo>
                    <a:lnTo>
                      <a:pt x="826" y="165"/>
                    </a:lnTo>
                    <a:lnTo>
                      <a:pt x="814" y="185"/>
                    </a:lnTo>
                    <a:lnTo>
                      <a:pt x="817" y="195"/>
                    </a:lnTo>
                    <a:lnTo>
                      <a:pt x="835" y="191"/>
                    </a:lnTo>
                    <a:lnTo>
                      <a:pt x="843" y="204"/>
                    </a:lnTo>
                    <a:lnTo>
                      <a:pt x="850" y="204"/>
                    </a:lnTo>
                    <a:lnTo>
                      <a:pt x="859" y="206"/>
                    </a:lnTo>
                    <a:lnTo>
                      <a:pt x="897" y="210"/>
                    </a:lnTo>
                    <a:lnTo>
                      <a:pt x="897" y="222"/>
                    </a:lnTo>
                    <a:lnTo>
                      <a:pt x="910" y="219"/>
                    </a:lnTo>
                    <a:lnTo>
                      <a:pt x="942" y="212"/>
                    </a:lnTo>
                    <a:lnTo>
                      <a:pt x="964" y="215"/>
                    </a:lnTo>
                    <a:lnTo>
                      <a:pt x="979" y="218"/>
                    </a:lnTo>
                    <a:lnTo>
                      <a:pt x="990" y="231"/>
                    </a:lnTo>
                    <a:lnTo>
                      <a:pt x="997" y="239"/>
                    </a:lnTo>
                    <a:lnTo>
                      <a:pt x="1015" y="237"/>
                    </a:lnTo>
                    <a:lnTo>
                      <a:pt x="1033" y="234"/>
                    </a:lnTo>
                    <a:lnTo>
                      <a:pt x="1056" y="234"/>
                    </a:lnTo>
                    <a:lnTo>
                      <a:pt x="1069" y="230"/>
                    </a:lnTo>
                    <a:lnTo>
                      <a:pt x="1075" y="227"/>
                    </a:lnTo>
                    <a:lnTo>
                      <a:pt x="1084" y="231"/>
                    </a:lnTo>
                    <a:lnTo>
                      <a:pt x="1098" y="233"/>
                    </a:lnTo>
                    <a:lnTo>
                      <a:pt x="1105" y="240"/>
                    </a:lnTo>
                    <a:lnTo>
                      <a:pt x="1113" y="245"/>
                    </a:lnTo>
                    <a:lnTo>
                      <a:pt x="1126" y="245"/>
                    </a:lnTo>
                    <a:lnTo>
                      <a:pt x="1132" y="242"/>
                    </a:lnTo>
                    <a:lnTo>
                      <a:pt x="1144" y="249"/>
                    </a:lnTo>
                    <a:lnTo>
                      <a:pt x="1159" y="251"/>
                    </a:lnTo>
                    <a:lnTo>
                      <a:pt x="1167" y="255"/>
                    </a:lnTo>
                    <a:lnTo>
                      <a:pt x="1182" y="261"/>
                    </a:lnTo>
                    <a:lnTo>
                      <a:pt x="1186" y="263"/>
                    </a:lnTo>
                    <a:lnTo>
                      <a:pt x="1212" y="252"/>
                    </a:lnTo>
                    <a:lnTo>
                      <a:pt x="1215" y="251"/>
                    </a:lnTo>
                    <a:lnTo>
                      <a:pt x="1218" y="252"/>
                    </a:lnTo>
                    <a:lnTo>
                      <a:pt x="1222" y="249"/>
                    </a:lnTo>
                    <a:lnTo>
                      <a:pt x="1231" y="251"/>
                    </a:lnTo>
                    <a:lnTo>
                      <a:pt x="1233" y="254"/>
                    </a:lnTo>
                    <a:lnTo>
                      <a:pt x="1236" y="252"/>
                    </a:lnTo>
                    <a:lnTo>
                      <a:pt x="1237" y="249"/>
                    </a:lnTo>
                    <a:lnTo>
                      <a:pt x="1243" y="248"/>
                    </a:lnTo>
                    <a:lnTo>
                      <a:pt x="1255" y="228"/>
                    </a:lnTo>
                    <a:lnTo>
                      <a:pt x="1278" y="227"/>
                    </a:lnTo>
                    <a:lnTo>
                      <a:pt x="1287" y="212"/>
                    </a:lnTo>
                    <a:lnTo>
                      <a:pt x="1300" y="209"/>
                    </a:lnTo>
                    <a:lnTo>
                      <a:pt x="1335" y="204"/>
                    </a:lnTo>
                    <a:lnTo>
                      <a:pt x="1348" y="200"/>
                    </a:lnTo>
                    <a:lnTo>
                      <a:pt x="1359" y="200"/>
                    </a:lnTo>
                    <a:lnTo>
                      <a:pt x="1359" y="195"/>
                    </a:lnTo>
                    <a:lnTo>
                      <a:pt x="1380" y="198"/>
                    </a:lnTo>
                    <a:lnTo>
                      <a:pt x="1372" y="183"/>
                    </a:lnTo>
                    <a:lnTo>
                      <a:pt x="1374" y="179"/>
                    </a:lnTo>
                    <a:lnTo>
                      <a:pt x="1375" y="170"/>
                    </a:lnTo>
                    <a:lnTo>
                      <a:pt x="1377" y="168"/>
                    </a:lnTo>
                    <a:lnTo>
                      <a:pt x="1377" y="164"/>
                    </a:lnTo>
                    <a:lnTo>
                      <a:pt x="1374" y="162"/>
                    </a:lnTo>
                    <a:lnTo>
                      <a:pt x="1374" y="158"/>
                    </a:lnTo>
                    <a:lnTo>
                      <a:pt x="1375" y="155"/>
                    </a:lnTo>
                    <a:lnTo>
                      <a:pt x="1377" y="152"/>
                    </a:lnTo>
                    <a:lnTo>
                      <a:pt x="1381" y="146"/>
                    </a:lnTo>
                    <a:lnTo>
                      <a:pt x="1383" y="140"/>
                    </a:lnTo>
                    <a:lnTo>
                      <a:pt x="1380" y="140"/>
                    </a:lnTo>
                    <a:lnTo>
                      <a:pt x="1380" y="135"/>
                    </a:lnTo>
                    <a:lnTo>
                      <a:pt x="1383" y="134"/>
                    </a:lnTo>
                    <a:lnTo>
                      <a:pt x="1383" y="128"/>
                    </a:lnTo>
                    <a:lnTo>
                      <a:pt x="1380" y="125"/>
                    </a:lnTo>
                    <a:lnTo>
                      <a:pt x="1374" y="125"/>
                    </a:lnTo>
                    <a:lnTo>
                      <a:pt x="1372" y="119"/>
                    </a:lnTo>
                    <a:lnTo>
                      <a:pt x="1369" y="116"/>
                    </a:lnTo>
                    <a:lnTo>
                      <a:pt x="1374" y="111"/>
                    </a:lnTo>
                    <a:lnTo>
                      <a:pt x="1375" y="101"/>
                    </a:lnTo>
                    <a:lnTo>
                      <a:pt x="1386" y="83"/>
                    </a:lnTo>
                    <a:lnTo>
                      <a:pt x="1395" y="81"/>
                    </a:lnTo>
                    <a:lnTo>
                      <a:pt x="1401" y="74"/>
                    </a:lnTo>
                    <a:lnTo>
                      <a:pt x="1426" y="63"/>
                    </a:lnTo>
                    <a:lnTo>
                      <a:pt x="1423" y="54"/>
                    </a:lnTo>
                    <a:lnTo>
                      <a:pt x="1423" y="51"/>
                    </a:lnTo>
                    <a:lnTo>
                      <a:pt x="1431" y="53"/>
                    </a:lnTo>
                    <a:lnTo>
                      <a:pt x="1432" y="44"/>
                    </a:lnTo>
                    <a:lnTo>
                      <a:pt x="1437" y="33"/>
                    </a:lnTo>
                    <a:lnTo>
                      <a:pt x="1446" y="30"/>
                    </a:lnTo>
                    <a:lnTo>
                      <a:pt x="1473" y="14"/>
                    </a:lnTo>
                    <a:lnTo>
                      <a:pt x="1482" y="0"/>
                    </a:lnTo>
                    <a:lnTo>
                      <a:pt x="1485" y="0"/>
                    </a:lnTo>
                    <a:lnTo>
                      <a:pt x="1486" y="8"/>
                    </a:lnTo>
                    <a:lnTo>
                      <a:pt x="1494" y="15"/>
                    </a:lnTo>
                    <a:lnTo>
                      <a:pt x="1500" y="15"/>
                    </a:lnTo>
                    <a:lnTo>
                      <a:pt x="1501" y="14"/>
                    </a:lnTo>
                    <a:lnTo>
                      <a:pt x="1506" y="14"/>
                    </a:lnTo>
                    <a:lnTo>
                      <a:pt x="1507" y="17"/>
                    </a:lnTo>
                    <a:lnTo>
                      <a:pt x="1516" y="17"/>
                    </a:lnTo>
                    <a:lnTo>
                      <a:pt x="1518" y="14"/>
                    </a:lnTo>
                    <a:lnTo>
                      <a:pt x="1522" y="14"/>
                    </a:lnTo>
                    <a:lnTo>
                      <a:pt x="1527" y="20"/>
                    </a:lnTo>
                    <a:lnTo>
                      <a:pt x="1527" y="23"/>
                    </a:lnTo>
                    <a:lnTo>
                      <a:pt x="1528" y="27"/>
                    </a:lnTo>
                    <a:lnTo>
                      <a:pt x="1531" y="33"/>
                    </a:lnTo>
                    <a:lnTo>
                      <a:pt x="1540" y="33"/>
                    </a:lnTo>
                    <a:lnTo>
                      <a:pt x="1540" y="35"/>
                    </a:lnTo>
                    <a:lnTo>
                      <a:pt x="1540" y="38"/>
                    </a:lnTo>
                    <a:lnTo>
                      <a:pt x="1531" y="44"/>
                    </a:lnTo>
                    <a:lnTo>
                      <a:pt x="1527" y="44"/>
                    </a:lnTo>
                    <a:lnTo>
                      <a:pt x="1518" y="53"/>
                    </a:lnTo>
                    <a:lnTo>
                      <a:pt x="1518" y="59"/>
                    </a:lnTo>
                    <a:lnTo>
                      <a:pt x="1518" y="63"/>
                    </a:lnTo>
                    <a:lnTo>
                      <a:pt x="1521" y="68"/>
                    </a:lnTo>
                    <a:lnTo>
                      <a:pt x="1521" y="74"/>
                    </a:lnTo>
                    <a:lnTo>
                      <a:pt x="1519" y="78"/>
                    </a:lnTo>
                    <a:lnTo>
                      <a:pt x="1519" y="83"/>
                    </a:lnTo>
                    <a:lnTo>
                      <a:pt x="1521" y="84"/>
                    </a:lnTo>
                    <a:lnTo>
                      <a:pt x="1524" y="84"/>
                    </a:lnTo>
                    <a:lnTo>
                      <a:pt x="1524" y="87"/>
                    </a:lnTo>
                    <a:lnTo>
                      <a:pt x="1521" y="90"/>
                    </a:lnTo>
                    <a:lnTo>
                      <a:pt x="1516" y="90"/>
                    </a:lnTo>
                    <a:lnTo>
                      <a:pt x="1512" y="87"/>
                    </a:lnTo>
                    <a:lnTo>
                      <a:pt x="1510" y="78"/>
                    </a:lnTo>
                    <a:lnTo>
                      <a:pt x="1509" y="77"/>
                    </a:lnTo>
                    <a:lnTo>
                      <a:pt x="1503" y="80"/>
                    </a:lnTo>
                    <a:lnTo>
                      <a:pt x="1495" y="84"/>
                    </a:lnTo>
                    <a:lnTo>
                      <a:pt x="1497" y="89"/>
                    </a:lnTo>
                    <a:lnTo>
                      <a:pt x="1501" y="96"/>
                    </a:lnTo>
                    <a:lnTo>
                      <a:pt x="1497" y="98"/>
                    </a:lnTo>
                    <a:lnTo>
                      <a:pt x="1495" y="107"/>
                    </a:lnTo>
                    <a:lnTo>
                      <a:pt x="1492" y="114"/>
                    </a:lnTo>
                    <a:lnTo>
                      <a:pt x="1485" y="116"/>
                    </a:lnTo>
                    <a:lnTo>
                      <a:pt x="1479" y="120"/>
                    </a:lnTo>
                    <a:lnTo>
                      <a:pt x="1480" y="126"/>
                    </a:lnTo>
                    <a:lnTo>
                      <a:pt x="1488" y="128"/>
                    </a:lnTo>
                    <a:lnTo>
                      <a:pt x="1486" y="137"/>
                    </a:lnTo>
                    <a:lnTo>
                      <a:pt x="1497" y="140"/>
                    </a:lnTo>
                    <a:lnTo>
                      <a:pt x="1495" y="146"/>
                    </a:lnTo>
                    <a:lnTo>
                      <a:pt x="1486" y="153"/>
                    </a:lnTo>
                    <a:lnTo>
                      <a:pt x="1485" y="159"/>
                    </a:lnTo>
                    <a:lnTo>
                      <a:pt x="1482" y="159"/>
                    </a:lnTo>
                    <a:lnTo>
                      <a:pt x="1479" y="167"/>
                    </a:lnTo>
                    <a:lnTo>
                      <a:pt x="1477" y="170"/>
                    </a:lnTo>
                    <a:lnTo>
                      <a:pt x="1480" y="177"/>
                    </a:lnTo>
                    <a:lnTo>
                      <a:pt x="1477" y="186"/>
                    </a:lnTo>
                    <a:lnTo>
                      <a:pt x="1477" y="203"/>
                    </a:lnTo>
                    <a:lnTo>
                      <a:pt x="1467" y="212"/>
                    </a:lnTo>
                    <a:lnTo>
                      <a:pt x="1459" y="212"/>
                    </a:lnTo>
                    <a:lnTo>
                      <a:pt x="1462" y="218"/>
                    </a:lnTo>
                    <a:lnTo>
                      <a:pt x="1456" y="227"/>
                    </a:lnTo>
                    <a:lnTo>
                      <a:pt x="1459" y="240"/>
                    </a:lnTo>
                    <a:lnTo>
                      <a:pt x="1464" y="240"/>
                    </a:lnTo>
                    <a:lnTo>
                      <a:pt x="1470" y="243"/>
                    </a:lnTo>
                    <a:lnTo>
                      <a:pt x="1474" y="245"/>
                    </a:lnTo>
                    <a:lnTo>
                      <a:pt x="1485" y="246"/>
                    </a:lnTo>
                    <a:lnTo>
                      <a:pt x="1488" y="249"/>
                    </a:lnTo>
                    <a:lnTo>
                      <a:pt x="1492" y="249"/>
                    </a:lnTo>
                    <a:lnTo>
                      <a:pt x="1498" y="249"/>
                    </a:lnTo>
                    <a:lnTo>
                      <a:pt x="1506" y="255"/>
                    </a:lnTo>
                    <a:lnTo>
                      <a:pt x="1507" y="267"/>
                    </a:lnTo>
                    <a:lnTo>
                      <a:pt x="1522" y="276"/>
                    </a:lnTo>
                    <a:lnTo>
                      <a:pt x="1528" y="279"/>
                    </a:lnTo>
                    <a:lnTo>
                      <a:pt x="1530" y="294"/>
                    </a:lnTo>
                    <a:lnTo>
                      <a:pt x="1534" y="300"/>
                    </a:lnTo>
                    <a:lnTo>
                      <a:pt x="1530" y="303"/>
                    </a:lnTo>
                    <a:lnTo>
                      <a:pt x="1525" y="303"/>
                    </a:lnTo>
                    <a:lnTo>
                      <a:pt x="1525" y="308"/>
                    </a:lnTo>
                    <a:lnTo>
                      <a:pt x="1531" y="308"/>
                    </a:lnTo>
                    <a:lnTo>
                      <a:pt x="1531" y="311"/>
                    </a:lnTo>
                    <a:lnTo>
                      <a:pt x="1519" y="318"/>
                    </a:lnTo>
                    <a:lnTo>
                      <a:pt x="1519" y="330"/>
                    </a:lnTo>
                    <a:lnTo>
                      <a:pt x="1521" y="333"/>
                    </a:lnTo>
                    <a:lnTo>
                      <a:pt x="1513" y="336"/>
                    </a:lnTo>
                    <a:lnTo>
                      <a:pt x="1513" y="348"/>
                    </a:lnTo>
                    <a:lnTo>
                      <a:pt x="1510" y="350"/>
                    </a:lnTo>
                    <a:lnTo>
                      <a:pt x="1506" y="350"/>
                    </a:lnTo>
                    <a:lnTo>
                      <a:pt x="1504" y="359"/>
                    </a:lnTo>
                    <a:lnTo>
                      <a:pt x="1506" y="365"/>
                    </a:lnTo>
                    <a:lnTo>
                      <a:pt x="1506" y="368"/>
                    </a:lnTo>
                    <a:lnTo>
                      <a:pt x="1510" y="375"/>
                    </a:lnTo>
                    <a:lnTo>
                      <a:pt x="1516" y="377"/>
                    </a:lnTo>
                    <a:lnTo>
                      <a:pt x="1518" y="393"/>
                    </a:lnTo>
                    <a:lnTo>
                      <a:pt x="1516" y="398"/>
                    </a:lnTo>
                    <a:lnTo>
                      <a:pt x="1525" y="401"/>
                    </a:lnTo>
                    <a:lnTo>
                      <a:pt x="1515" y="410"/>
                    </a:lnTo>
                    <a:lnTo>
                      <a:pt x="1513" y="425"/>
                    </a:lnTo>
                    <a:lnTo>
                      <a:pt x="1507" y="431"/>
                    </a:lnTo>
                    <a:lnTo>
                      <a:pt x="1513" y="438"/>
                    </a:lnTo>
                    <a:lnTo>
                      <a:pt x="1518" y="435"/>
                    </a:lnTo>
                    <a:lnTo>
                      <a:pt x="1519" y="432"/>
                    </a:lnTo>
                    <a:lnTo>
                      <a:pt x="1527" y="432"/>
                    </a:lnTo>
                    <a:lnTo>
                      <a:pt x="1531" y="437"/>
                    </a:lnTo>
                    <a:lnTo>
                      <a:pt x="1539" y="437"/>
                    </a:lnTo>
                    <a:lnTo>
                      <a:pt x="1545" y="441"/>
                    </a:lnTo>
                    <a:lnTo>
                      <a:pt x="1549" y="441"/>
                    </a:lnTo>
                    <a:lnTo>
                      <a:pt x="1551" y="438"/>
                    </a:lnTo>
                    <a:lnTo>
                      <a:pt x="1566" y="438"/>
                    </a:lnTo>
                    <a:lnTo>
                      <a:pt x="1569" y="434"/>
                    </a:lnTo>
                    <a:lnTo>
                      <a:pt x="1576" y="432"/>
                    </a:lnTo>
                    <a:lnTo>
                      <a:pt x="1582" y="422"/>
                    </a:lnTo>
                    <a:lnTo>
                      <a:pt x="1590" y="423"/>
                    </a:lnTo>
                    <a:lnTo>
                      <a:pt x="1593" y="426"/>
                    </a:lnTo>
                    <a:lnTo>
                      <a:pt x="1597" y="422"/>
                    </a:lnTo>
                    <a:lnTo>
                      <a:pt x="1617" y="423"/>
                    </a:lnTo>
                    <a:lnTo>
                      <a:pt x="1621" y="429"/>
                    </a:lnTo>
                    <a:lnTo>
                      <a:pt x="1620" y="434"/>
                    </a:lnTo>
                    <a:lnTo>
                      <a:pt x="1627" y="438"/>
                    </a:lnTo>
                    <a:lnTo>
                      <a:pt x="1633" y="450"/>
                    </a:lnTo>
                    <a:lnTo>
                      <a:pt x="1647" y="458"/>
                    </a:lnTo>
                    <a:lnTo>
                      <a:pt x="1651" y="456"/>
                    </a:lnTo>
                    <a:lnTo>
                      <a:pt x="1656" y="456"/>
                    </a:lnTo>
                    <a:lnTo>
                      <a:pt x="1663" y="461"/>
                    </a:lnTo>
                    <a:lnTo>
                      <a:pt x="1672" y="462"/>
                    </a:lnTo>
                    <a:lnTo>
                      <a:pt x="1672" y="470"/>
                    </a:lnTo>
                    <a:lnTo>
                      <a:pt x="1692" y="467"/>
                    </a:lnTo>
                    <a:lnTo>
                      <a:pt x="1693" y="464"/>
                    </a:lnTo>
                    <a:lnTo>
                      <a:pt x="1699" y="470"/>
                    </a:lnTo>
                    <a:lnTo>
                      <a:pt x="1710" y="488"/>
                    </a:lnTo>
                    <a:lnTo>
                      <a:pt x="1720" y="507"/>
                    </a:lnTo>
                    <a:lnTo>
                      <a:pt x="1719" y="519"/>
                    </a:lnTo>
                    <a:lnTo>
                      <a:pt x="1725" y="527"/>
                    </a:lnTo>
                    <a:lnTo>
                      <a:pt x="1729" y="527"/>
                    </a:lnTo>
                    <a:lnTo>
                      <a:pt x="1732" y="524"/>
                    </a:lnTo>
                    <a:lnTo>
                      <a:pt x="1735" y="530"/>
                    </a:lnTo>
                    <a:lnTo>
                      <a:pt x="1740" y="527"/>
                    </a:lnTo>
                    <a:lnTo>
                      <a:pt x="1743" y="521"/>
                    </a:lnTo>
                    <a:lnTo>
                      <a:pt x="1747" y="521"/>
                    </a:lnTo>
                    <a:lnTo>
                      <a:pt x="1752" y="527"/>
                    </a:lnTo>
                    <a:lnTo>
                      <a:pt x="1752" y="536"/>
                    </a:lnTo>
                    <a:lnTo>
                      <a:pt x="1753" y="548"/>
                    </a:lnTo>
                    <a:lnTo>
                      <a:pt x="1773" y="548"/>
                    </a:lnTo>
                    <a:lnTo>
                      <a:pt x="1783" y="548"/>
                    </a:lnTo>
                    <a:lnTo>
                      <a:pt x="1785" y="546"/>
                    </a:lnTo>
                    <a:lnTo>
                      <a:pt x="1789" y="552"/>
                    </a:lnTo>
                    <a:lnTo>
                      <a:pt x="1794" y="554"/>
                    </a:lnTo>
                    <a:lnTo>
                      <a:pt x="1798" y="554"/>
                    </a:lnTo>
                    <a:lnTo>
                      <a:pt x="1806" y="552"/>
                    </a:lnTo>
                    <a:lnTo>
                      <a:pt x="1810" y="557"/>
                    </a:lnTo>
                    <a:lnTo>
                      <a:pt x="1815" y="557"/>
                    </a:lnTo>
                    <a:lnTo>
                      <a:pt x="1821" y="554"/>
                    </a:lnTo>
                    <a:lnTo>
                      <a:pt x="1830" y="545"/>
                    </a:lnTo>
                    <a:lnTo>
                      <a:pt x="1839" y="552"/>
                    </a:lnTo>
                    <a:lnTo>
                      <a:pt x="1842" y="560"/>
                    </a:lnTo>
                    <a:lnTo>
                      <a:pt x="1849" y="564"/>
                    </a:lnTo>
                    <a:lnTo>
                      <a:pt x="1855" y="569"/>
                    </a:lnTo>
                    <a:lnTo>
                      <a:pt x="1864" y="575"/>
                    </a:lnTo>
                    <a:lnTo>
                      <a:pt x="1872" y="584"/>
                    </a:lnTo>
                    <a:lnTo>
                      <a:pt x="1875" y="588"/>
                    </a:lnTo>
                    <a:lnTo>
                      <a:pt x="1882" y="596"/>
                    </a:lnTo>
                    <a:lnTo>
                      <a:pt x="1878" y="599"/>
                    </a:lnTo>
                    <a:lnTo>
                      <a:pt x="1870" y="603"/>
                    </a:lnTo>
                    <a:lnTo>
                      <a:pt x="1866" y="609"/>
                    </a:lnTo>
                    <a:lnTo>
                      <a:pt x="1861" y="620"/>
                    </a:lnTo>
                    <a:lnTo>
                      <a:pt x="1861" y="623"/>
                    </a:lnTo>
                    <a:lnTo>
                      <a:pt x="1860" y="630"/>
                    </a:lnTo>
                    <a:lnTo>
                      <a:pt x="1861" y="635"/>
                    </a:lnTo>
                    <a:lnTo>
                      <a:pt x="1866" y="642"/>
                    </a:lnTo>
                    <a:lnTo>
                      <a:pt x="1870" y="641"/>
                    </a:lnTo>
                    <a:lnTo>
                      <a:pt x="1873" y="638"/>
                    </a:lnTo>
                    <a:lnTo>
                      <a:pt x="1881" y="636"/>
                    </a:lnTo>
                    <a:lnTo>
                      <a:pt x="1887" y="638"/>
                    </a:lnTo>
                    <a:lnTo>
                      <a:pt x="1888" y="636"/>
                    </a:lnTo>
                    <a:lnTo>
                      <a:pt x="1887" y="630"/>
                    </a:lnTo>
                    <a:lnTo>
                      <a:pt x="1888" y="624"/>
                    </a:lnTo>
                    <a:lnTo>
                      <a:pt x="1893" y="620"/>
                    </a:lnTo>
                    <a:lnTo>
                      <a:pt x="1896" y="621"/>
                    </a:lnTo>
                    <a:lnTo>
                      <a:pt x="1900" y="626"/>
                    </a:lnTo>
                    <a:lnTo>
                      <a:pt x="1906" y="629"/>
                    </a:lnTo>
                    <a:lnTo>
                      <a:pt x="1918" y="630"/>
                    </a:lnTo>
                    <a:lnTo>
                      <a:pt x="1932" y="632"/>
                    </a:lnTo>
                    <a:lnTo>
                      <a:pt x="1927" y="633"/>
                    </a:lnTo>
                    <a:lnTo>
                      <a:pt x="1921" y="647"/>
                    </a:lnTo>
                    <a:lnTo>
                      <a:pt x="1915" y="663"/>
                    </a:lnTo>
                    <a:lnTo>
                      <a:pt x="1912" y="663"/>
                    </a:lnTo>
                    <a:lnTo>
                      <a:pt x="1906" y="666"/>
                    </a:lnTo>
                    <a:lnTo>
                      <a:pt x="1900" y="666"/>
                    </a:lnTo>
                    <a:lnTo>
                      <a:pt x="1897" y="669"/>
                    </a:lnTo>
                    <a:lnTo>
                      <a:pt x="1891" y="669"/>
                    </a:lnTo>
                    <a:lnTo>
                      <a:pt x="1890" y="663"/>
                    </a:lnTo>
                    <a:lnTo>
                      <a:pt x="1885" y="665"/>
                    </a:lnTo>
                    <a:lnTo>
                      <a:pt x="1885" y="669"/>
                    </a:lnTo>
                    <a:lnTo>
                      <a:pt x="1878" y="683"/>
                    </a:lnTo>
                    <a:lnTo>
                      <a:pt x="1873" y="684"/>
                    </a:lnTo>
                    <a:lnTo>
                      <a:pt x="1870" y="687"/>
                    </a:lnTo>
                    <a:lnTo>
                      <a:pt x="1870" y="693"/>
                    </a:lnTo>
                    <a:lnTo>
                      <a:pt x="1867" y="698"/>
                    </a:lnTo>
                    <a:lnTo>
                      <a:pt x="1861" y="698"/>
                    </a:lnTo>
                    <a:lnTo>
                      <a:pt x="1863" y="705"/>
                    </a:lnTo>
                    <a:lnTo>
                      <a:pt x="1846" y="708"/>
                    </a:lnTo>
                    <a:lnTo>
                      <a:pt x="1840" y="714"/>
                    </a:lnTo>
                    <a:lnTo>
                      <a:pt x="1837" y="720"/>
                    </a:lnTo>
                    <a:lnTo>
                      <a:pt x="1834" y="719"/>
                    </a:lnTo>
                    <a:lnTo>
                      <a:pt x="1825" y="713"/>
                    </a:lnTo>
                    <a:lnTo>
                      <a:pt x="1824" y="707"/>
                    </a:lnTo>
                    <a:lnTo>
                      <a:pt x="1822" y="705"/>
                    </a:lnTo>
                    <a:lnTo>
                      <a:pt x="1819" y="708"/>
                    </a:lnTo>
                    <a:lnTo>
                      <a:pt x="1809" y="702"/>
                    </a:lnTo>
                    <a:lnTo>
                      <a:pt x="1806" y="696"/>
                    </a:lnTo>
                    <a:lnTo>
                      <a:pt x="1804" y="689"/>
                    </a:lnTo>
                    <a:lnTo>
                      <a:pt x="1795" y="690"/>
                    </a:lnTo>
                    <a:lnTo>
                      <a:pt x="1792" y="687"/>
                    </a:lnTo>
                    <a:lnTo>
                      <a:pt x="1789" y="686"/>
                    </a:lnTo>
                    <a:lnTo>
                      <a:pt x="1783" y="687"/>
                    </a:lnTo>
                    <a:lnTo>
                      <a:pt x="1782" y="692"/>
                    </a:lnTo>
                    <a:lnTo>
                      <a:pt x="1780" y="693"/>
                    </a:lnTo>
                    <a:lnTo>
                      <a:pt x="1777" y="693"/>
                    </a:lnTo>
                    <a:lnTo>
                      <a:pt x="1774" y="690"/>
                    </a:lnTo>
                    <a:lnTo>
                      <a:pt x="1770" y="690"/>
                    </a:lnTo>
                    <a:lnTo>
                      <a:pt x="1764" y="692"/>
                    </a:lnTo>
                    <a:lnTo>
                      <a:pt x="1761" y="693"/>
                    </a:lnTo>
                    <a:lnTo>
                      <a:pt x="1759" y="696"/>
                    </a:lnTo>
                    <a:lnTo>
                      <a:pt x="1756" y="698"/>
                    </a:lnTo>
                    <a:lnTo>
                      <a:pt x="1750" y="698"/>
                    </a:lnTo>
                    <a:lnTo>
                      <a:pt x="1747" y="690"/>
                    </a:lnTo>
                    <a:lnTo>
                      <a:pt x="1744" y="687"/>
                    </a:lnTo>
                    <a:lnTo>
                      <a:pt x="1743" y="683"/>
                    </a:lnTo>
                    <a:lnTo>
                      <a:pt x="1740" y="675"/>
                    </a:lnTo>
                    <a:lnTo>
                      <a:pt x="1735" y="668"/>
                    </a:lnTo>
                    <a:lnTo>
                      <a:pt x="1725" y="668"/>
                    </a:lnTo>
                    <a:lnTo>
                      <a:pt x="1717" y="665"/>
                    </a:lnTo>
                    <a:lnTo>
                      <a:pt x="1711" y="665"/>
                    </a:lnTo>
                    <a:lnTo>
                      <a:pt x="1705" y="681"/>
                    </a:lnTo>
                    <a:lnTo>
                      <a:pt x="1713" y="683"/>
                    </a:lnTo>
                    <a:lnTo>
                      <a:pt x="1713" y="689"/>
                    </a:lnTo>
                    <a:lnTo>
                      <a:pt x="1710" y="692"/>
                    </a:lnTo>
                    <a:lnTo>
                      <a:pt x="1710" y="698"/>
                    </a:lnTo>
                    <a:lnTo>
                      <a:pt x="1711" y="699"/>
                    </a:lnTo>
                    <a:lnTo>
                      <a:pt x="1710" y="707"/>
                    </a:lnTo>
                    <a:lnTo>
                      <a:pt x="1704" y="707"/>
                    </a:lnTo>
                    <a:lnTo>
                      <a:pt x="1696" y="705"/>
                    </a:lnTo>
                    <a:lnTo>
                      <a:pt x="1699" y="710"/>
                    </a:lnTo>
                    <a:lnTo>
                      <a:pt x="1696" y="716"/>
                    </a:lnTo>
                    <a:lnTo>
                      <a:pt x="1692" y="722"/>
                    </a:lnTo>
                    <a:lnTo>
                      <a:pt x="1693" y="725"/>
                    </a:lnTo>
                    <a:lnTo>
                      <a:pt x="1690" y="729"/>
                    </a:lnTo>
                    <a:lnTo>
                      <a:pt x="1693" y="732"/>
                    </a:lnTo>
                    <a:lnTo>
                      <a:pt x="1701" y="731"/>
                    </a:lnTo>
                    <a:lnTo>
                      <a:pt x="1701" y="735"/>
                    </a:lnTo>
                    <a:lnTo>
                      <a:pt x="1690" y="749"/>
                    </a:lnTo>
                    <a:lnTo>
                      <a:pt x="1686" y="755"/>
                    </a:lnTo>
                    <a:lnTo>
                      <a:pt x="1684" y="761"/>
                    </a:lnTo>
                    <a:lnTo>
                      <a:pt x="1674" y="762"/>
                    </a:lnTo>
                    <a:lnTo>
                      <a:pt x="1671" y="765"/>
                    </a:lnTo>
                    <a:lnTo>
                      <a:pt x="1671" y="770"/>
                    </a:lnTo>
                    <a:lnTo>
                      <a:pt x="1681" y="780"/>
                    </a:lnTo>
                    <a:lnTo>
                      <a:pt x="1680" y="785"/>
                    </a:lnTo>
                    <a:lnTo>
                      <a:pt x="1689" y="791"/>
                    </a:lnTo>
                    <a:lnTo>
                      <a:pt x="1689" y="806"/>
                    </a:lnTo>
                    <a:lnTo>
                      <a:pt x="1692" y="812"/>
                    </a:lnTo>
                    <a:lnTo>
                      <a:pt x="1696" y="816"/>
                    </a:lnTo>
                    <a:lnTo>
                      <a:pt x="1705" y="816"/>
                    </a:lnTo>
                    <a:lnTo>
                      <a:pt x="1707" y="822"/>
                    </a:lnTo>
                    <a:lnTo>
                      <a:pt x="1710" y="827"/>
                    </a:lnTo>
                    <a:lnTo>
                      <a:pt x="1704" y="831"/>
                    </a:lnTo>
                    <a:lnTo>
                      <a:pt x="1701" y="837"/>
                    </a:lnTo>
                    <a:lnTo>
                      <a:pt x="1702" y="851"/>
                    </a:lnTo>
                    <a:lnTo>
                      <a:pt x="1702" y="857"/>
                    </a:lnTo>
                    <a:lnTo>
                      <a:pt x="1705" y="860"/>
                    </a:lnTo>
                    <a:lnTo>
                      <a:pt x="1711" y="857"/>
                    </a:lnTo>
                    <a:lnTo>
                      <a:pt x="1713" y="861"/>
                    </a:lnTo>
                    <a:lnTo>
                      <a:pt x="1708" y="866"/>
                    </a:lnTo>
                    <a:lnTo>
                      <a:pt x="1699" y="866"/>
                    </a:lnTo>
                    <a:lnTo>
                      <a:pt x="1696" y="873"/>
                    </a:lnTo>
                    <a:lnTo>
                      <a:pt x="1689" y="878"/>
                    </a:lnTo>
                    <a:lnTo>
                      <a:pt x="1684" y="882"/>
                    </a:lnTo>
                    <a:lnTo>
                      <a:pt x="1696" y="885"/>
                    </a:lnTo>
                    <a:lnTo>
                      <a:pt x="1701" y="893"/>
                    </a:lnTo>
                    <a:lnTo>
                      <a:pt x="1699" y="900"/>
                    </a:lnTo>
                    <a:lnTo>
                      <a:pt x="1696" y="914"/>
                    </a:lnTo>
                    <a:lnTo>
                      <a:pt x="1690" y="923"/>
                    </a:lnTo>
                    <a:lnTo>
                      <a:pt x="1686" y="921"/>
                    </a:lnTo>
                    <a:lnTo>
                      <a:pt x="1681" y="923"/>
                    </a:lnTo>
                    <a:lnTo>
                      <a:pt x="1671" y="921"/>
                    </a:lnTo>
                    <a:lnTo>
                      <a:pt x="1668" y="921"/>
                    </a:lnTo>
                    <a:lnTo>
                      <a:pt x="1665" y="929"/>
                    </a:lnTo>
                    <a:lnTo>
                      <a:pt x="1666" y="933"/>
                    </a:lnTo>
                    <a:lnTo>
                      <a:pt x="1657" y="941"/>
                    </a:lnTo>
                    <a:lnTo>
                      <a:pt x="1653" y="950"/>
                    </a:lnTo>
                    <a:lnTo>
                      <a:pt x="1650" y="956"/>
                    </a:lnTo>
                    <a:lnTo>
                      <a:pt x="1642" y="960"/>
                    </a:lnTo>
                    <a:lnTo>
                      <a:pt x="1644" y="965"/>
                    </a:lnTo>
                    <a:lnTo>
                      <a:pt x="1645" y="968"/>
                    </a:lnTo>
                    <a:lnTo>
                      <a:pt x="1645" y="974"/>
                    </a:lnTo>
                    <a:lnTo>
                      <a:pt x="1651" y="980"/>
                    </a:lnTo>
                    <a:lnTo>
                      <a:pt x="1650" y="984"/>
                    </a:lnTo>
                    <a:lnTo>
                      <a:pt x="1642" y="989"/>
                    </a:lnTo>
                    <a:lnTo>
                      <a:pt x="1642" y="990"/>
                    </a:lnTo>
                    <a:lnTo>
                      <a:pt x="1654" y="1002"/>
                    </a:lnTo>
                    <a:lnTo>
                      <a:pt x="1654" y="1004"/>
                    </a:lnTo>
                    <a:lnTo>
                      <a:pt x="1651" y="1005"/>
                    </a:lnTo>
                    <a:lnTo>
                      <a:pt x="1651" y="1008"/>
                    </a:lnTo>
                    <a:lnTo>
                      <a:pt x="1666" y="1010"/>
                    </a:lnTo>
                    <a:lnTo>
                      <a:pt x="1668" y="1013"/>
                    </a:lnTo>
                    <a:lnTo>
                      <a:pt x="1660" y="1019"/>
                    </a:lnTo>
                    <a:lnTo>
                      <a:pt x="1660" y="1034"/>
                    </a:lnTo>
                    <a:lnTo>
                      <a:pt x="1656" y="1035"/>
                    </a:lnTo>
                    <a:lnTo>
                      <a:pt x="1642" y="1034"/>
                    </a:lnTo>
                    <a:lnTo>
                      <a:pt x="1632" y="1035"/>
                    </a:lnTo>
                    <a:lnTo>
                      <a:pt x="1620" y="1043"/>
                    </a:lnTo>
                    <a:lnTo>
                      <a:pt x="1621" y="1047"/>
                    </a:lnTo>
                    <a:lnTo>
                      <a:pt x="1597" y="1058"/>
                    </a:lnTo>
                    <a:lnTo>
                      <a:pt x="1593" y="1062"/>
                    </a:lnTo>
                    <a:lnTo>
                      <a:pt x="1591" y="1068"/>
                    </a:lnTo>
                    <a:lnTo>
                      <a:pt x="1585" y="1073"/>
                    </a:lnTo>
                    <a:lnTo>
                      <a:pt x="543" y="996"/>
                    </a:lnTo>
                    <a:lnTo>
                      <a:pt x="544" y="1001"/>
                    </a:lnTo>
                    <a:lnTo>
                      <a:pt x="546" y="1004"/>
                    </a:lnTo>
                    <a:lnTo>
                      <a:pt x="543" y="996"/>
                    </a:lnTo>
                    <a:lnTo>
                      <a:pt x="1585" y="1073"/>
                    </a:lnTo>
                    <a:close/>
                  </a:path>
                </a:pathLst>
              </a:custGeom>
              <a:no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305" name="Freeform 356">
                <a:extLst>
                  <a:ext uri="{FF2B5EF4-FFF2-40B4-BE49-F238E27FC236}">
                    <a16:creationId xmlns:a16="http://schemas.microsoft.com/office/drawing/2014/main" id="{7B2C4C64-3E07-208A-FBA2-CFEB17897D66}"/>
                  </a:ext>
                </a:extLst>
              </p:cNvPr>
              <p:cNvSpPr>
                <a:spLocks/>
              </p:cNvSpPr>
              <p:nvPr/>
            </p:nvSpPr>
            <p:spPr bwMode="auto">
              <a:xfrm>
                <a:off x="4274" y="893"/>
                <a:ext cx="725" cy="489"/>
              </a:xfrm>
              <a:custGeom>
                <a:avLst/>
                <a:gdLst>
                  <a:gd name="T0" fmla="*/ 0 w 2176"/>
                  <a:gd name="T1" fmla="*/ 0 h 1468"/>
                  <a:gd name="T2" fmla="*/ 0 w 2176"/>
                  <a:gd name="T3" fmla="*/ 0 h 1468"/>
                  <a:gd name="T4" fmla="*/ 0 w 2176"/>
                  <a:gd name="T5" fmla="*/ 0 h 1468"/>
                  <a:gd name="T6" fmla="*/ 0 w 2176"/>
                  <a:gd name="T7" fmla="*/ 0 h 1468"/>
                  <a:gd name="T8" fmla="*/ 0 w 2176"/>
                  <a:gd name="T9" fmla="*/ 0 h 1468"/>
                  <a:gd name="T10" fmla="*/ 0 w 2176"/>
                  <a:gd name="T11" fmla="*/ 0 h 1468"/>
                  <a:gd name="T12" fmla="*/ 0 w 2176"/>
                  <a:gd name="T13" fmla="*/ 0 h 1468"/>
                  <a:gd name="T14" fmla="*/ 0 w 2176"/>
                  <a:gd name="T15" fmla="*/ 0 h 1468"/>
                  <a:gd name="T16" fmla="*/ 0 w 2176"/>
                  <a:gd name="T17" fmla="*/ 0 h 1468"/>
                  <a:gd name="T18" fmla="*/ 0 w 2176"/>
                  <a:gd name="T19" fmla="*/ 0 h 1468"/>
                  <a:gd name="T20" fmla="*/ 0 w 2176"/>
                  <a:gd name="T21" fmla="*/ 0 h 1468"/>
                  <a:gd name="T22" fmla="*/ 0 w 2176"/>
                  <a:gd name="T23" fmla="*/ 0 h 1468"/>
                  <a:gd name="T24" fmla="*/ 0 w 2176"/>
                  <a:gd name="T25" fmla="*/ 0 h 1468"/>
                  <a:gd name="T26" fmla="*/ 0 w 2176"/>
                  <a:gd name="T27" fmla="*/ 0 h 1468"/>
                  <a:gd name="T28" fmla="*/ 0 w 2176"/>
                  <a:gd name="T29" fmla="*/ 0 h 1468"/>
                  <a:gd name="T30" fmla="*/ 0 w 2176"/>
                  <a:gd name="T31" fmla="*/ 0 h 1468"/>
                  <a:gd name="T32" fmla="*/ 0 w 2176"/>
                  <a:gd name="T33" fmla="*/ 0 h 1468"/>
                  <a:gd name="T34" fmla="*/ 0 w 2176"/>
                  <a:gd name="T35" fmla="*/ 0 h 1468"/>
                  <a:gd name="T36" fmla="*/ 0 w 2176"/>
                  <a:gd name="T37" fmla="*/ 0 h 1468"/>
                  <a:gd name="T38" fmla="*/ 0 w 2176"/>
                  <a:gd name="T39" fmla="*/ 0 h 1468"/>
                  <a:gd name="T40" fmla="*/ 0 w 2176"/>
                  <a:gd name="T41" fmla="*/ 0 h 1468"/>
                  <a:gd name="T42" fmla="*/ 0 w 2176"/>
                  <a:gd name="T43" fmla="*/ 0 h 1468"/>
                  <a:gd name="T44" fmla="*/ 0 w 2176"/>
                  <a:gd name="T45" fmla="*/ 0 h 1468"/>
                  <a:gd name="T46" fmla="*/ 0 w 2176"/>
                  <a:gd name="T47" fmla="*/ 0 h 1468"/>
                  <a:gd name="T48" fmla="*/ 0 w 2176"/>
                  <a:gd name="T49" fmla="*/ 0 h 1468"/>
                  <a:gd name="T50" fmla="*/ 0 w 2176"/>
                  <a:gd name="T51" fmla="*/ 0 h 1468"/>
                  <a:gd name="T52" fmla="*/ 0 w 2176"/>
                  <a:gd name="T53" fmla="*/ 0 h 1468"/>
                  <a:gd name="T54" fmla="*/ 0 w 2176"/>
                  <a:gd name="T55" fmla="*/ 0 h 1468"/>
                  <a:gd name="T56" fmla="*/ 0 w 2176"/>
                  <a:gd name="T57" fmla="*/ 0 h 1468"/>
                  <a:gd name="T58" fmla="*/ 0 w 2176"/>
                  <a:gd name="T59" fmla="*/ 0 h 1468"/>
                  <a:gd name="T60" fmla="*/ 0 w 2176"/>
                  <a:gd name="T61" fmla="*/ 0 h 1468"/>
                  <a:gd name="T62" fmla="*/ 0 w 2176"/>
                  <a:gd name="T63" fmla="*/ 0 h 1468"/>
                  <a:gd name="T64" fmla="*/ 0 w 2176"/>
                  <a:gd name="T65" fmla="*/ 0 h 1468"/>
                  <a:gd name="T66" fmla="*/ 0 w 2176"/>
                  <a:gd name="T67" fmla="*/ 0 h 1468"/>
                  <a:gd name="T68" fmla="*/ 0 w 2176"/>
                  <a:gd name="T69" fmla="*/ 0 h 1468"/>
                  <a:gd name="T70" fmla="*/ 0 w 2176"/>
                  <a:gd name="T71" fmla="*/ 0 h 1468"/>
                  <a:gd name="T72" fmla="*/ 0 w 2176"/>
                  <a:gd name="T73" fmla="*/ 0 h 1468"/>
                  <a:gd name="T74" fmla="*/ 0 w 2176"/>
                  <a:gd name="T75" fmla="*/ 0 h 1468"/>
                  <a:gd name="T76" fmla="*/ 0 w 2176"/>
                  <a:gd name="T77" fmla="*/ 0 h 1468"/>
                  <a:gd name="T78" fmla="*/ 0 w 2176"/>
                  <a:gd name="T79" fmla="*/ 0 h 1468"/>
                  <a:gd name="T80" fmla="*/ 0 w 2176"/>
                  <a:gd name="T81" fmla="*/ 0 h 1468"/>
                  <a:gd name="T82" fmla="*/ 0 w 2176"/>
                  <a:gd name="T83" fmla="*/ 0 h 1468"/>
                  <a:gd name="T84" fmla="*/ 0 w 2176"/>
                  <a:gd name="T85" fmla="*/ 0 h 1468"/>
                  <a:gd name="T86" fmla="*/ 0 w 2176"/>
                  <a:gd name="T87" fmla="*/ 0 h 1468"/>
                  <a:gd name="T88" fmla="*/ 0 w 2176"/>
                  <a:gd name="T89" fmla="*/ 0 h 1468"/>
                  <a:gd name="T90" fmla="*/ 0 w 2176"/>
                  <a:gd name="T91" fmla="*/ 0 h 1468"/>
                  <a:gd name="T92" fmla="*/ 0 w 2176"/>
                  <a:gd name="T93" fmla="*/ 0 h 1468"/>
                  <a:gd name="T94" fmla="*/ 0 w 2176"/>
                  <a:gd name="T95" fmla="*/ 0 h 1468"/>
                  <a:gd name="T96" fmla="*/ 0 w 2176"/>
                  <a:gd name="T97" fmla="*/ 0 h 1468"/>
                  <a:gd name="T98" fmla="*/ 0 w 2176"/>
                  <a:gd name="T99" fmla="*/ 0 h 1468"/>
                  <a:gd name="T100" fmla="*/ 0 w 2176"/>
                  <a:gd name="T101" fmla="*/ 0 h 1468"/>
                  <a:gd name="T102" fmla="*/ 0 w 2176"/>
                  <a:gd name="T103" fmla="*/ 0 h 1468"/>
                  <a:gd name="T104" fmla="*/ 0 w 2176"/>
                  <a:gd name="T105" fmla="*/ 0 h 1468"/>
                  <a:gd name="T106" fmla="*/ 0 w 2176"/>
                  <a:gd name="T107" fmla="*/ 0 h 1468"/>
                  <a:gd name="T108" fmla="*/ 0 w 2176"/>
                  <a:gd name="T109" fmla="*/ 0 h 1468"/>
                  <a:gd name="T110" fmla="*/ 0 w 2176"/>
                  <a:gd name="T111" fmla="*/ 0 h 1468"/>
                  <a:gd name="T112" fmla="*/ 0 w 2176"/>
                  <a:gd name="T113" fmla="*/ 0 h 1468"/>
                  <a:gd name="T114" fmla="*/ 0 w 2176"/>
                  <a:gd name="T115" fmla="*/ 0 h 1468"/>
                  <a:gd name="T116" fmla="*/ 0 w 2176"/>
                  <a:gd name="T117" fmla="*/ 0 h 1468"/>
                  <a:gd name="T118" fmla="*/ 0 w 2176"/>
                  <a:gd name="T119" fmla="*/ 0 h 1468"/>
                  <a:gd name="T120" fmla="*/ 0 w 2176"/>
                  <a:gd name="T121" fmla="*/ 0 h 1468"/>
                  <a:gd name="T122" fmla="*/ 0 w 2176"/>
                  <a:gd name="T123" fmla="*/ 0 h 14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76" h="1468">
                    <a:moveTo>
                      <a:pt x="1731" y="1260"/>
                    </a:moveTo>
                    <a:lnTo>
                      <a:pt x="1731" y="1266"/>
                    </a:lnTo>
                    <a:lnTo>
                      <a:pt x="1731" y="1269"/>
                    </a:lnTo>
                    <a:lnTo>
                      <a:pt x="1732" y="1272"/>
                    </a:lnTo>
                    <a:lnTo>
                      <a:pt x="1740" y="1278"/>
                    </a:lnTo>
                    <a:lnTo>
                      <a:pt x="1741" y="1275"/>
                    </a:lnTo>
                    <a:lnTo>
                      <a:pt x="1758" y="1272"/>
                    </a:lnTo>
                    <a:lnTo>
                      <a:pt x="1773" y="1276"/>
                    </a:lnTo>
                    <a:lnTo>
                      <a:pt x="1773" y="1282"/>
                    </a:lnTo>
                    <a:lnTo>
                      <a:pt x="1764" y="1282"/>
                    </a:lnTo>
                    <a:lnTo>
                      <a:pt x="1744" y="1282"/>
                    </a:lnTo>
                    <a:lnTo>
                      <a:pt x="1723" y="1293"/>
                    </a:lnTo>
                    <a:lnTo>
                      <a:pt x="1710" y="1302"/>
                    </a:lnTo>
                    <a:lnTo>
                      <a:pt x="1692" y="1305"/>
                    </a:lnTo>
                    <a:lnTo>
                      <a:pt x="1681" y="1317"/>
                    </a:lnTo>
                    <a:lnTo>
                      <a:pt x="1659" y="1320"/>
                    </a:lnTo>
                    <a:lnTo>
                      <a:pt x="1645" y="1326"/>
                    </a:lnTo>
                    <a:lnTo>
                      <a:pt x="1638" y="1335"/>
                    </a:lnTo>
                    <a:lnTo>
                      <a:pt x="1626" y="1348"/>
                    </a:lnTo>
                    <a:lnTo>
                      <a:pt x="1617" y="1351"/>
                    </a:lnTo>
                    <a:lnTo>
                      <a:pt x="1614" y="1359"/>
                    </a:lnTo>
                    <a:lnTo>
                      <a:pt x="1608" y="1368"/>
                    </a:lnTo>
                    <a:lnTo>
                      <a:pt x="1599" y="1371"/>
                    </a:lnTo>
                    <a:lnTo>
                      <a:pt x="1591" y="1384"/>
                    </a:lnTo>
                    <a:lnTo>
                      <a:pt x="1579" y="1390"/>
                    </a:lnTo>
                    <a:lnTo>
                      <a:pt x="1569" y="1392"/>
                    </a:lnTo>
                    <a:lnTo>
                      <a:pt x="1566" y="1386"/>
                    </a:lnTo>
                    <a:lnTo>
                      <a:pt x="1566" y="1378"/>
                    </a:lnTo>
                    <a:lnTo>
                      <a:pt x="1567" y="1371"/>
                    </a:lnTo>
                    <a:lnTo>
                      <a:pt x="1564" y="1368"/>
                    </a:lnTo>
                    <a:lnTo>
                      <a:pt x="1558" y="1371"/>
                    </a:lnTo>
                    <a:lnTo>
                      <a:pt x="1555" y="1374"/>
                    </a:lnTo>
                    <a:lnTo>
                      <a:pt x="1552" y="1380"/>
                    </a:lnTo>
                    <a:lnTo>
                      <a:pt x="1534" y="1389"/>
                    </a:lnTo>
                    <a:lnTo>
                      <a:pt x="1531" y="1393"/>
                    </a:lnTo>
                    <a:lnTo>
                      <a:pt x="1533" y="1398"/>
                    </a:lnTo>
                    <a:lnTo>
                      <a:pt x="1528" y="1407"/>
                    </a:lnTo>
                    <a:lnTo>
                      <a:pt x="1524" y="1413"/>
                    </a:lnTo>
                    <a:lnTo>
                      <a:pt x="1521" y="1411"/>
                    </a:lnTo>
                    <a:lnTo>
                      <a:pt x="1516" y="1411"/>
                    </a:lnTo>
                    <a:lnTo>
                      <a:pt x="1513" y="1407"/>
                    </a:lnTo>
                    <a:lnTo>
                      <a:pt x="1507" y="1410"/>
                    </a:lnTo>
                    <a:lnTo>
                      <a:pt x="1506" y="1419"/>
                    </a:lnTo>
                    <a:lnTo>
                      <a:pt x="1500" y="1425"/>
                    </a:lnTo>
                    <a:lnTo>
                      <a:pt x="1495" y="1423"/>
                    </a:lnTo>
                    <a:lnTo>
                      <a:pt x="1494" y="1419"/>
                    </a:lnTo>
                    <a:lnTo>
                      <a:pt x="1500" y="1407"/>
                    </a:lnTo>
                    <a:lnTo>
                      <a:pt x="1494" y="1407"/>
                    </a:lnTo>
                    <a:lnTo>
                      <a:pt x="1488" y="1410"/>
                    </a:lnTo>
                    <a:lnTo>
                      <a:pt x="1485" y="1408"/>
                    </a:lnTo>
                    <a:lnTo>
                      <a:pt x="1485" y="1398"/>
                    </a:lnTo>
                    <a:lnTo>
                      <a:pt x="1479" y="1398"/>
                    </a:lnTo>
                    <a:lnTo>
                      <a:pt x="1474" y="1396"/>
                    </a:lnTo>
                    <a:lnTo>
                      <a:pt x="1467" y="1396"/>
                    </a:lnTo>
                    <a:lnTo>
                      <a:pt x="1464" y="1392"/>
                    </a:lnTo>
                    <a:lnTo>
                      <a:pt x="1456" y="1390"/>
                    </a:lnTo>
                    <a:lnTo>
                      <a:pt x="1453" y="1393"/>
                    </a:lnTo>
                    <a:lnTo>
                      <a:pt x="1450" y="1395"/>
                    </a:lnTo>
                    <a:lnTo>
                      <a:pt x="1447" y="1387"/>
                    </a:lnTo>
                    <a:lnTo>
                      <a:pt x="1440" y="1386"/>
                    </a:lnTo>
                    <a:lnTo>
                      <a:pt x="1437" y="1393"/>
                    </a:lnTo>
                    <a:lnTo>
                      <a:pt x="1432" y="1396"/>
                    </a:lnTo>
                    <a:lnTo>
                      <a:pt x="1428" y="1393"/>
                    </a:lnTo>
                    <a:lnTo>
                      <a:pt x="1423" y="1390"/>
                    </a:lnTo>
                    <a:lnTo>
                      <a:pt x="1417" y="1389"/>
                    </a:lnTo>
                    <a:lnTo>
                      <a:pt x="1416" y="1383"/>
                    </a:lnTo>
                    <a:lnTo>
                      <a:pt x="1413" y="1383"/>
                    </a:lnTo>
                    <a:lnTo>
                      <a:pt x="1411" y="1377"/>
                    </a:lnTo>
                    <a:lnTo>
                      <a:pt x="1405" y="1377"/>
                    </a:lnTo>
                    <a:lnTo>
                      <a:pt x="1393" y="1380"/>
                    </a:lnTo>
                    <a:lnTo>
                      <a:pt x="1390" y="1375"/>
                    </a:lnTo>
                    <a:lnTo>
                      <a:pt x="1389" y="1357"/>
                    </a:lnTo>
                    <a:lnTo>
                      <a:pt x="1383" y="1351"/>
                    </a:lnTo>
                    <a:lnTo>
                      <a:pt x="1386" y="1342"/>
                    </a:lnTo>
                    <a:lnTo>
                      <a:pt x="1383" y="1336"/>
                    </a:lnTo>
                    <a:lnTo>
                      <a:pt x="1386" y="1332"/>
                    </a:lnTo>
                    <a:lnTo>
                      <a:pt x="1386" y="1329"/>
                    </a:lnTo>
                    <a:lnTo>
                      <a:pt x="1375" y="1326"/>
                    </a:lnTo>
                    <a:lnTo>
                      <a:pt x="1371" y="1329"/>
                    </a:lnTo>
                    <a:lnTo>
                      <a:pt x="1365" y="1330"/>
                    </a:lnTo>
                    <a:lnTo>
                      <a:pt x="1353" y="1332"/>
                    </a:lnTo>
                    <a:lnTo>
                      <a:pt x="1348" y="1335"/>
                    </a:lnTo>
                    <a:lnTo>
                      <a:pt x="1344" y="1338"/>
                    </a:lnTo>
                    <a:lnTo>
                      <a:pt x="1338" y="1339"/>
                    </a:lnTo>
                    <a:lnTo>
                      <a:pt x="1336" y="1350"/>
                    </a:lnTo>
                    <a:lnTo>
                      <a:pt x="1330" y="1353"/>
                    </a:lnTo>
                    <a:lnTo>
                      <a:pt x="1330" y="1360"/>
                    </a:lnTo>
                    <a:lnTo>
                      <a:pt x="1326" y="1366"/>
                    </a:lnTo>
                    <a:lnTo>
                      <a:pt x="1336" y="1374"/>
                    </a:lnTo>
                    <a:lnTo>
                      <a:pt x="1339" y="1380"/>
                    </a:lnTo>
                    <a:lnTo>
                      <a:pt x="1335" y="1383"/>
                    </a:lnTo>
                    <a:lnTo>
                      <a:pt x="1330" y="1389"/>
                    </a:lnTo>
                    <a:lnTo>
                      <a:pt x="1320" y="1381"/>
                    </a:lnTo>
                    <a:lnTo>
                      <a:pt x="1318" y="1384"/>
                    </a:lnTo>
                    <a:lnTo>
                      <a:pt x="1311" y="1380"/>
                    </a:lnTo>
                    <a:lnTo>
                      <a:pt x="1305" y="1380"/>
                    </a:lnTo>
                    <a:lnTo>
                      <a:pt x="1302" y="1375"/>
                    </a:lnTo>
                    <a:lnTo>
                      <a:pt x="1299" y="1374"/>
                    </a:lnTo>
                    <a:lnTo>
                      <a:pt x="1294" y="1374"/>
                    </a:lnTo>
                    <a:lnTo>
                      <a:pt x="1291" y="1380"/>
                    </a:lnTo>
                    <a:lnTo>
                      <a:pt x="1282" y="1383"/>
                    </a:lnTo>
                    <a:lnTo>
                      <a:pt x="1273" y="1390"/>
                    </a:lnTo>
                    <a:lnTo>
                      <a:pt x="1269" y="1390"/>
                    </a:lnTo>
                    <a:lnTo>
                      <a:pt x="1261" y="1393"/>
                    </a:lnTo>
                    <a:lnTo>
                      <a:pt x="1255" y="1392"/>
                    </a:lnTo>
                    <a:lnTo>
                      <a:pt x="1246" y="1396"/>
                    </a:lnTo>
                    <a:lnTo>
                      <a:pt x="1237" y="1389"/>
                    </a:lnTo>
                    <a:lnTo>
                      <a:pt x="1234" y="1389"/>
                    </a:lnTo>
                    <a:lnTo>
                      <a:pt x="1228" y="1392"/>
                    </a:lnTo>
                    <a:lnTo>
                      <a:pt x="1227" y="1395"/>
                    </a:lnTo>
                    <a:lnTo>
                      <a:pt x="1213" y="1398"/>
                    </a:lnTo>
                    <a:lnTo>
                      <a:pt x="1210" y="1404"/>
                    </a:lnTo>
                    <a:lnTo>
                      <a:pt x="1201" y="1410"/>
                    </a:lnTo>
                    <a:lnTo>
                      <a:pt x="1203" y="1416"/>
                    </a:lnTo>
                    <a:lnTo>
                      <a:pt x="1197" y="1419"/>
                    </a:lnTo>
                    <a:lnTo>
                      <a:pt x="1195" y="1414"/>
                    </a:lnTo>
                    <a:lnTo>
                      <a:pt x="1191" y="1413"/>
                    </a:lnTo>
                    <a:lnTo>
                      <a:pt x="1183" y="1420"/>
                    </a:lnTo>
                    <a:lnTo>
                      <a:pt x="1182" y="1414"/>
                    </a:lnTo>
                    <a:lnTo>
                      <a:pt x="1191" y="1404"/>
                    </a:lnTo>
                    <a:lnTo>
                      <a:pt x="1188" y="1398"/>
                    </a:lnTo>
                    <a:lnTo>
                      <a:pt x="1179" y="1401"/>
                    </a:lnTo>
                    <a:lnTo>
                      <a:pt x="1182" y="1392"/>
                    </a:lnTo>
                    <a:lnTo>
                      <a:pt x="1179" y="1390"/>
                    </a:lnTo>
                    <a:lnTo>
                      <a:pt x="1176" y="1392"/>
                    </a:lnTo>
                    <a:lnTo>
                      <a:pt x="1173" y="1396"/>
                    </a:lnTo>
                    <a:lnTo>
                      <a:pt x="1168" y="1398"/>
                    </a:lnTo>
                    <a:lnTo>
                      <a:pt x="1164" y="1399"/>
                    </a:lnTo>
                    <a:lnTo>
                      <a:pt x="1162" y="1402"/>
                    </a:lnTo>
                    <a:lnTo>
                      <a:pt x="1155" y="1402"/>
                    </a:lnTo>
                    <a:lnTo>
                      <a:pt x="1150" y="1398"/>
                    </a:lnTo>
                    <a:lnTo>
                      <a:pt x="1146" y="1401"/>
                    </a:lnTo>
                    <a:lnTo>
                      <a:pt x="1138" y="1398"/>
                    </a:lnTo>
                    <a:lnTo>
                      <a:pt x="1134" y="1399"/>
                    </a:lnTo>
                    <a:lnTo>
                      <a:pt x="1131" y="1395"/>
                    </a:lnTo>
                    <a:lnTo>
                      <a:pt x="1122" y="1398"/>
                    </a:lnTo>
                    <a:lnTo>
                      <a:pt x="1122" y="1392"/>
                    </a:lnTo>
                    <a:lnTo>
                      <a:pt x="1123" y="1386"/>
                    </a:lnTo>
                    <a:lnTo>
                      <a:pt x="1119" y="1384"/>
                    </a:lnTo>
                    <a:lnTo>
                      <a:pt x="1119" y="1380"/>
                    </a:lnTo>
                    <a:lnTo>
                      <a:pt x="1119" y="1374"/>
                    </a:lnTo>
                    <a:lnTo>
                      <a:pt x="1116" y="1371"/>
                    </a:lnTo>
                    <a:lnTo>
                      <a:pt x="1110" y="1375"/>
                    </a:lnTo>
                    <a:lnTo>
                      <a:pt x="1105" y="1374"/>
                    </a:lnTo>
                    <a:lnTo>
                      <a:pt x="1102" y="1380"/>
                    </a:lnTo>
                    <a:lnTo>
                      <a:pt x="1095" y="1378"/>
                    </a:lnTo>
                    <a:lnTo>
                      <a:pt x="1090" y="1378"/>
                    </a:lnTo>
                    <a:lnTo>
                      <a:pt x="1086" y="1393"/>
                    </a:lnTo>
                    <a:lnTo>
                      <a:pt x="1080" y="1402"/>
                    </a:lnTo>
                    <a:lnTo>
                      <a:pt x="1072" y="1402"/>
                    </a:lnTo>
                    <a:lnTo>
                      <a:pt x="1066" y="1407"/>
                    </a:lnTo>
                    <a:lnTo>
                      <a:pt x="1065" y="1408"/>
                    </a:lnTo>
                    <a:lnTo>
                      <a:pt x="1062" y="1411"/>
                    </a:lnTo>
                    <a:lnTo>
                      <a:pt x="1057" y="1407"/>
                    </a:lnTo>
                    <a:lnTo>
                      <a:pt x="1051" y="1410"/>
                    </a:lnTo>
                    <a:lnTo>
                      <a:pt x="1047" y="1407"/>
                    </a:lnTo>
                    <a:lnTo>
                      <a:pt x="1042" y="1410"/>
                    </a:lnTo>
                    <a:lnTo>
                      <a:pt x="1038" y="1411"/>
                    </a:lnTo>
                    <a:lnTo>
                      <a:pt x="1035" y="1411"/>
                    </a:lnTo>
                    <a:lnTo>
                      <a:pt x="1029" y="1413"/>
                    </a:lnTo>
                    <a:lnTo>
                      <a:pt x="1027" y="1411"/>
                    </a:lnTo>
                    <a:lnTo>
                      <a:pt x="1018" y="1410"/>
                    </a:lnTo>
                    <a:lnTo>
                      <a:pt x="1017" y="1405"/>
                    </a:lnTo>
                    <a:lnTo>
                      <a:pt x="1017" y="1399"/>
                    </a:lnTo>
                    <a:lnTo>
                      <a:pt x="1008" y="1402"/>
                    </a:lnTo>
                    <a:lnTo>
                      <a:pt x="1002" y="1399"/>
                    </a:lnTo>
                    <a:lnTo>
                      <a:pt x="997" y="1402"/>
                    </a:lnTo>
                    <a:lnTo>
                      <a:pt x="996" y="1411"/>
                    </a:lnTo>
                    <a:lnTo>
                      <a:pt x="993" y="1420"/>
                    </a:lnTo>
                    <a:lnTo>
                      <a:pt x="999" y="1429"/>
                    </a:lnTo>
                    <a:lnTo>
                      <a:pt x="988" y="1443"/>
                    </a:lnTo>
                    <a:lnTo>
                      <a:pt x="988" y="1450"/>
                    </a:lnTo>
                    <a:lnTo>
                      <a:pt x="978" y="1449"/>
                    </a:lnTo>
                    <a:lnTo>
                      <a:pt x="973" y="1450"/>
                    </a:lnTo>
                    <a:lnTo>
                      <a:pt x="972" y="1459"/>
                    </a:lnTo>
                    <a:lnTo>
                      <a:pt x="958" y="1462"/>
                    </a:lnTo>
                    <a:lnTo>
                      <a:pt x="955" y="1458"/>
                    </a:lnTo>
                    <a:lnTo>
                      <a:pt x="958" y="1453"/>
                    </a:lnTo>
                    <a:lnTo>
                      <a:pt x="946" y="1449"/>
                    </a:lnTo>
                    <a:lnTo>
                      <a:pt x="955" y="1444"/>
                    </a:lnTo>
                    <a:lnTo>
                      <a:pt x="955" y="1438"/>
                    </a:lnTo>
                    <a:lnTo>
                      <a:pt x="946" y="1437"/>
                    </a:lnTo>
                    <a:lnTo>
                      <a:pt x="949" y="1428"/>
                    </a:lnTo>
                    <a:lnTo>
                      <a:pt x="937" y="1429"/>
                    </a:lnTo>
                    <a:lnTo>
                      <a:pt x="937" y="1434"/>
                    </a:lnTo>
                    <a:lnTo>
                      <a:pt x="933" y="1438"/>
                    </a:lnTo>
                    <a:lnTo>
                      <a:pt x="939" y="1440"/>
                    </a:lnTo>
                    <a:lnTo>
                      <a:pt x="940" y="1447"/>
                    </a:lnTo>
                    <a:lnTo>
                      <a:pt x="934" y="1453"/>
                    </a:lnTo>
                    <a:lnTo>
                      <a:pt x="930" y="1455"/>
                    </a:lnTo>
                    <a:lnTo>
                      <a:pt x="925" y="1447"/>
                    </a:lnTo>
                    <a:lnTo>
                      <a:pt x="916" y="1446"/>
                    </a:lnTo>
                    <a:lnTo>
                      <a:pt x="910" y="1452"/>
                    </a:lnTo>
                    <a:lnTo>
                      <a:pt x="903" y="1452"/>
                    </a:lnTo>
                    <a:lnTo>
                      <a:pt x="901" y="1456"/>
                    </a:lnTo>
                    <a:lnTo>
                      <a:pt x="897" y="1459"/>
                    </a:lnTo>
                    <a:lnTo>
                      <a:pt x="891" y="1455"/>
                    </a:lnTo>
                    <a:lnTo>
                      <a:pt x="886" y="1456"/>
                    </a:lnTo>
                    <a:lnTo>
                      <a:pt x="882" y="1453"/>
                    </a:lnTo>
                    <a:lnTo>
                      <a:pt x="879" y="1459"/>
                    </a:lnTo>
                    <a:lnTo>
                      <a:pt x="871" y="1461"/>
                    </a:lnTo>
                    <a:lnTo>
                      <a:pt x="870" y="1467"/>
                    </a:lnTo>
                    <a:lnTo>
                      <a:pt x="867" y="1468"/>
                    </a:lnTo>
                    <a:lnTo>
                      <a:pt x="862" y="1462"/>
                    </a:lnTo>
                    <a:lnTo>
                      <a:pt x="852" y="1465"/>
                    </a:lnTo>
                    <a:lnTo>
                      <a:pt x="846" y="1464"/>
                    </a:lnTo>
                    <a:lnTo>
                      <a:pt x="841" y="1453"/>
                    </a:lnTo>
                    <a:lnTo>
                      <a:pt x="846" y="1449"/>
                    </a:lnTo>
                    <a:lnTo>
                      <a:pt x="837" y="1444"/>
                    </a:lnTo>
                    <a:lnTo>
                      <a:pt x="838" y="1438"/>
                    </a:lnTo>
                    <a:lnTo>
                      <a:pt x="832" y="1435"/>
                    </a:lnTo>
                    <a:lnTo>
                      <a:pt x="835" y="1429"/>
                    </a:lnTo>
                    <a:lnTo>
                      <a:pt x="843" y="1425"/>
                    </a:lnTo>
                    <a:lnTo>
                      <a:pt x="843" y="1416"/>
                    </a:lnTo>
                    <a:lnTo>
                      <a:pt x="840" y="1410"/>
                    </a:lnTo>
                    <a:lnTo>
                      <a:pt x="831" y="1407"/>
                    </a:lnTo>
                    <a:lnTo>
                      <a:pt x="825" y="1405"/>
                    </a:lnTo>
                    <a:lnTo>
                      <a:pt x="822" y="1416"/>
                    </a:lnTo>
                    <a:lnTo>
                      <a:pt x="817" y="1414"/>
                    </a:lnTo>
                    <a:lnTo>
                      <a:pt x="816" y="1402"/>
                    </a:lnTo>
                    <a:lnTo>
                      <a:pt x="808" y="1410"/>
                    </a:lnTo>
                    <a:lnTo>
                      <a:pt x="804" y="1410"/>
                    </a:lnTo>
                    <a:lnTo>
                      <a:pt x="802" y="1404"/>
                    </a:lnTo>
                    <a:lnTo>
                      <a:pt x="811" y="1387"/>
                    </a:lnTo>
                    <a:lnTo>
                      <a:pt x="810" y="1381"/>
                    </a:lnTo>
                    <a:lnTo>
                      <a:pt x="813" y="1378"/>
                    </a:lnTo>
                    <a:lnTo>
                      <a:pt x="819" y="1380"/>
                    </a:lnTo>
                    <a:lnTo>
                      <a:pt x="822" y="1371"/>
                    </a:lnTo>
                    <a:lnTo>
                      <a:pt x="822" y="1365"/>
                    </a:lnTo>
                    <a:lnTo>
                      <a:pt x="819" y="1363"/>
                    </a:lnTo>
                    <a:lnTo>
                      <a:pt x="810" y="1366"/>
                    </a:lnTo>
                    <a:lnTo>
                      <a:pt x="807" y="1362"/>
                    </a:lnTo>
                    <a:lnTo>
                      <a:pt x="798" y="1366"/>
                    </a:lnTo>
                    <a:lnTo>
                      <a:pt x="805" y="1375"/>
                    </a:lnTo>
                    <a:lnTo>
                      <a:pt x="796" y="1392"/>
                    </a:lnTo>
                    <a:lnTo>
                      <a:pt x="795" y="1401"/>
                    </a:lnTo>
                    <a:lnTo>
                      <a:pt x="787" y="1402"/>
                    </a:lnTo>
                    <a:lnTo>
                      <a:pt x="777" y="1408"/>
                    </a:lnTo>
                    <a:lnTo>
                      <a:pt x="775" y="1401"/>
                    </a:lnTo>
                    <a:lnTo>
                      <a:pt x="768" y="1401"/>
                    </a:lnTo>
                    <a:lnTo>
                      <a:pt x="760" y="1399"/>
                    </a:lnTo>
                    <a:lnTo>
                      <a:pt x="762" y="1393"/>
                    </a:lnTo>
                    <a:lnTo>
                      <a:pt x="768" y="1389"/>
                    </a:lnTo>
                    <a:lnTo>
                      <a:pt x="778" y="1372"/>
                    </a:lnTo>
                    <a:lnTo>
                      <a:pt x="786" y="1369"/>
                    </a:lnTo>
                    <a:lnTo>
                      <a:pt x="786" y="1359"/>
                    </a:lnTo>
                    <a:lnTo>
                      <a:pt x="795" y="1354"/>
                    </a:lnTo>
                    <a:lnTo>
                      <a:pt x="795" y="1350"/>
                    </a:lnTo>
                    <a:lnTo>
                      <a:pt x="786" y="1344"/>
                    </a:lnTo>
                    <a:lnTo>
                      <a:pt x="792" y="1336"/>
                    </a:lnTo>
                    <a:lnTo>
                      <a:pt x="783" y="1330"/>
                    </a:lnTo>
                    <a:lnTo>
                      <a:pt x="784" y="1323"/>
                    </a:lnTo>
                    <a:lnTo>
                      <a:pt x="801" y="1318"/>
                    </a:lnTo>
                    <a:lnTo>
                      <a:pt x="802" y="1312"/>
                    </a:lnTo>
                    <a:lnTo>
                      <a:pt x="801" y="1306"/>
                    </a:lnTo>
                    <a:lnTo>
                      <a:pt x="804" y="1302"/>
                    </a:lnTo>
                    <a:lnTo>
                      <a:pt x="805" y="1297"/>
                    </a:lnTo>
                    <a:lnTo>
                      <a:pt x="801" y="1296"/>
                    </a:lnTo>
                    <a:lnTo>
                      <a:pt x="792" y="1299"/>
                    </a:lnTo>
                    <a:lnTo>
                      <a:pt x="790" y="1296"/>
                    </a:lnTo>
                    <a:lnTo>
                      <a:pt x="783" y="1296"/>
                    </a:lnTo>
                    <a:lnTo>
                      <a:pt x="775" y="1291"/>
                    </a:lnTo>
                    <a:lnTo>
                      <a:pt x="768" y="1287"/>
                    </a:lnTo>
                    <a:lnTo>
                      <a:pt x="760" y="1291"/>
                    </a:lnTo>
                    <a:lnTo>
                      <a:pt x="756" y="1288"/>
                    </a:lnTo>
                    <a:lnTo>
                      <a:pt x="750" y="1288"/>
                    </a:lnTo>
                    <a:lnTo>
                      <a:pt x="747" y="1290"/>
                    </a:lnTo>
                    <a:lnTo>
                      <a:pt x="741" y="1296"/>
                    </a:lnTo>
                    <a:lnTo>
                      <a:pt x="727" y="1300"/>
                    </a:lnTo>
                    <a:lnTo>
                      <a:pt x="724" y="1306"/>
                    </a:lnTo>
                    <a:lnTo>
                      <a:pt x="715" y="1306"/>
                    </a:lnTo>
                    <a:lnTo>
                      <a:pt x="712" y="1311"/>
                    </a:lnTo>
                    <a:lnTo>
                      <a:pt x="703" y="1311"/>
                    </a:lnTo>
                    <a:lnTo>
                      <a:pt x="696" y="1305"/>
                    </a:lnTo>
                    <a:lnTo>
                      <a:pt x="688" y="1297"/>
                    </a:lnTo>
                    <a:lnTo>
                      <a:pt x="681" y="1303"/>
                    </a:lnTo>
                    <a:lnTo>
                      <a:pt x="681" y="1311"/>
                    </a:lnTo>
                    <a:lnTo>
                      <a:pt x="675" y="1318"/>
                    </a:lnTo>
                    <a:lnTo>
                      <a:pt x="670" y="1329"/>
                    </a:lnTo>
                    <a:lnTo>
                      <a:pt x="657" y="1330"/>
                    </a:lnTo>
                    <a:lnTo>
                      <a:pt x="651" y="1332"/>
                    </a:lnTo>
                    <a:lnTo>
                      <a:pt x="646" y="1329"/>
                    </a:lnTo>
                    <a:lnTo>
                      <a:pt x="642" y="1332"/>
                    </a:lnTo>
                    <a:lnTo>
                      <a:pt x="639" y="1333"/>
                    </a:lnTo>
                    <a:lnTo>
                      <a:pt x="639" y="1327"/>
                    </a:lnTo>
                    <a:lnTo>
                      <a:pt x="631" y="1326"/>
                    </a:lnTo>
                    <a:lnTo>
                      <a:pt x="624" y="1321"/>
                    </a:lnTo>
                    <a:lnTo>
                      <a:pt x="616" y="1323"/>
                    </a:lnTo>
                    <a:lnTo>
                      <a:pt x="607" y="1320"/>
                    </a:lnTo>
                    <a:lnTo>
                      <a:pt x="606" y="1323"/>
                    </a:lnTo>
                    <a:lnTo>
                      <a:pt x="594" y="1323"/>
                    </a:lnTo>
                    <a:lnTo>
                      <a:pt x="595" y="1327"/>
                    </a:lnTo>
                    <a:lnTo>
                      <a:pt x="601" y="1336"/>
                    </a:lnTo>
                    <a:lnTo>
                      <a:pt x="598" y="1342"/>
                    </a:lnTo>
                    <a:lnTo>
                      <a:pt x="586" y="1342"/>
                    </a:lnTo>
                    <a:lnTo>
                      <a:pt x="577" y="1351"/>
                    </a:lnTo>
                    <a:lnTo>
                      <a:pt x="580" y="1372"/>
                    </a:lnTo>
                    <a:lnTo>
                      <a:pt x="574" y="1372"/>
                    </a:lnTo>
                    <a:lnTo>
                      <a:pt x="573" y="1366"/>
                    </a:lnTo>
                    <a:lnTo>
                      <a:pt x="570" y="1356"/>
                    </a:lnTo>
                    <a:lnTo>
                      <a:pt x="567" y="1354"/>
                    </a:lnTo>
                    <a:lnTo>
                      <a:pt x="561" y="1356"/>
                    </a:lnTo>
                    <a:lnTo>
                      <a:pt x="547" y="1357"/>
                    </a:lnTo>
                    <a:lnTo>
                      <a:pt x="544" y="1365"/>
                    </a:lnTo>
                    <a:lnTo>
                      <a:pt x="540" y="1366"/>
                    </a:lnTo>
                    <a:lnTo>
                      <a:pt x="534" y="1363"/>
                    </a:lnTo>
                    <a:lnTo>
                      <a:pt x="532" y="1356"/>
                    </a:lnTo>
                    <a:lnTo>
                      <a:pt x="529" y="1357"/>
                    </a:lnTo>
                    <a:lnTo>
                      <a:pt x="522" y="1362"/>
                    </a:lnTo>
                    <a:lnTo>
                      <a:pt x="513" y="1363"/>
                    </a:lnTo>
                    <a:lnTo>
                      <a:pt x="508" y="1366"/>
                    </a:lnTo>
                    <a:lnTo>
                      <a:pt x="499" y="1365"/>
                    </a:lnTo>
                    <a:lnTo>
                      <a:pt x="493" y="1369"/>
                    </a:lnTo>
                    <a:lnTo>
                      <a:pt x="493" y="1378"/>
                    </a:lnTo>
                    <a:lnTo>
                      <a:pt x="490" y="1380"/>
                    </a:lnTo>
                    <a:lnTo>
                      <a:pt x="492" y="1386"/>
                    </a:lnTo>
                    <a:lnTo>
                      <a:pt x="495" y="1392"/>
                    </a:lnTo>
                    <a:lnTo>
                      <a:pt x="490" y="1395"/>
                    </a:lnTo>
                    <a:lnTo>
                      <a:pt x="486" y="1392"/>
                    </a:lnTo>
                    <a:lnTo>
                      <a:pt x="483" y="1386"/>
                    </a:lnTo>
                    <a:lnTo>
                      <a:pt x="471" y="1384"/>
                    </a:lnTo>
                    <a:lnTo>
                      <a:pt x="460" y="1381"/>
                    </a:lnTo>
                    <a:lnTo>
                      <a:pt x="450" y="1377"/>
                    </a:lnTo>
                    <a:lnTo>
                      <a:pt x="444" y="1377"/>
                    </a:lnTo>
                    <a:lnTo>
                      <a:pt x="433" y="1365"/>
                    </a:lnTo>
                    <a:lnTo>
                      <a:pt x="426" y="1365"/>
                    </a:lnTo>
                    <a:lnTo>
                      <a:pt x="417" y="1357"/>
                    </a:lnTo>
                    <a:lnTo>
                      <a:pt x="406" y="1348"/>
                    </a:lnTo>
                    <a:lnTo>
                      <a:pt x="405" y="1338"/>
                    </a:lnTo>
                    <a:lnTo>
                      <a:pt x="405" y="1332"/>
                    </a:lnTo>
                    <a:lnTo>
                      <a:pt x="409" y="1329"/>
                    </a:lnTo>
                    <a:lnTo>
                      <a:pt x="408" y="1324"/>
                    </a:lnTo>
                    <a:lnTo>
                      <a:pt x="397" y="1323"/>
                    </a:lnTo>
                    <a:lnTo>
                      <a:pt x="394" y="1317"/>
                    </a:lnTo>
                    <a:lnTo>
                      <a:pt x="390" y="1321"/>
                    </a:lnTo>
                    <a:lnTo>
                      <a:pt x="376" y="1315"/>
                    </a:lnTo>
                    <a:lnTo>
                      <a:pt x="364" y="1317"/>
                    </a:lnTo>
                    <a:lnTo>
                      <a:pt x="361" y="1308"/>
                    </a:lnTo>
                    <a:lnTo>
                      <a:pt x="355" y="1293"/>
                    </a:lnTo>
                    <a:lnTo>
                      <a:pt x="345" y="1287"/>
                    </a:lnTo>
                    <a:lnTo>
                      <a:pt x="346" y="1279"/>
                    </a:lnTo>
                    <a:lnTo>
                      <a:pt x="330" y="1276"/>
                    </a:lnTo>
                    <a:lnTo>
                      <a:pt x="322" y="1287"/>
                    </a:lnTo>
                    <a:lnTo>
                      <a:pt x="318" y="1284"/>
                    </a:lnTo>
                    <a:lnTo>
                      <a:pt x="313" y="1278"/>
                    </a:lnTo>
                    <a:lnTo>
                      <a:pt x="313" y="1272"/>
                    </a:lnTo>
                    <a:lnTo>
                      <a:pt x="306" y="1278"/>
                    </a:lnTo>
                    <a:lnTo>
                      <a:pt x="300" y="1269"/>
                    </a:lnTo>
                    <a:lnTo>
                      <a:pt x="292" y="1266"/>
                    </a:lnTo>
                    <a:lnTo>
                      <a:pt x="268" y="1258"/>
                    </a:lnTo>
                    <a:lnTo>
                      <a:pt x="264" y="1264"/>
                    </a:lnTo>
                    <a:lnTo>
                      <a:pt x="256" y="1263"/>
                    </a:lnTo>
                    <a:lnTo>
                      <a:pt x="253" y="1248"/>
                    </a:lnTo>
                    <a:lnTo>
                      <a:pt x="249" y="1246"/>
                    </a:lnTo>
                    <a:lnTo>
                      <a:pt x="240" y="1245"/>
                    </a:lnTo>
                    <a:lnTo>
                      <a:pt x="240" y="1236"/>
                    </a:lnTo>
                    <a:lnTo>
                      <a:pt x="232" y="1233"/>
                    </a:lnTo>
                    <a:lnTo>
                      <a:pt x="220" y="1218"/>
                    </a:lnTo>
                    <a:lnTo>
                      <a:pt x="216" y="1210"/>
                    </a:lnTo>
                    <a:lnTo>
                      <a:pt x="210" y="1221"/>
                    </a:lnTo>
                    <a:lnTo>
                      <a:pt x="201" y="1216"/>
                    </a:lnTo>
                    <a:lnTo>
                      <a:pt x="196" y="1209"/>
                    </a:lnTo>
                    <a:lnTo>
                      <a:pt x="192" y="1206"/>
                    </a:lnTo>
                    <a:lnTo>
                      <a:pt x="189" y="1197"/>
                    </a:lnTo>
                    <a:lnTo>
                      <a:pt x="183" y="1192"/>
                    </a:lnTo>
                    <a:lnTo>
                      <a:pt x="177" y="1188"/>
                    </a:lnTo>
                    <a:lnTo>
                      <a:pt x="180" y="1177"/>
                    </a:lnTo>
                    <a:lnTo>
                      <a:pt x="175" y="1179"/>
                    </a:lnTo>
                    <a:lnTo>
                      <a:pt x="166" y="1183"/>
                    </a:lnTo>
                    <a:lnTo>
                      <a:pt x="153" y="1177"/>
                    </a:lnTo>
                    <a:lnTo>
                      <a:pt x="142" y="1179"/>
                    </a:lnTo>
                    <a:lnTo>
                      <a:pt x="141" y="1171"/>
                    </a:lnTo>
                    <a:lnTo>
                      <a:pt x="141" y="1156"/>
                    </a:lnTo>
                    <a:lnTo>
                      <a:pt x="133" y="1149"/>
                    </a:lnTo>
                    <a:lnTo>
                      <a:pt x="136" y="1140"/>
                    </a:lnTo>
                    <a:lnTo>
                      <a:pt x="135" y="1132"/>
                    </a:lnTo>
                    <a:lnTo>
                      <a:pt x="127" y="1132"/>
                    </a:lnTo>
                    <a:lnTo>
                      <a:pt x="121" y="1143"/>
                    </a:lnTo>
                    <a:lnTo>
                      <a:pt x="121" y="1153"/>
                    </a:lnTo>
                    <a:lnTo>
                      <a:pt x="117" y="1158"/>
                    </a:lnTo>
                    <a:lnTo>
                      <a:pt x="97" y="1161"/>
                    </a:lnTo>
                    <a:lnTo>
                      <a:pt x="82" y="1140"/>
                    </a:lnTo>
                    <a:lnTo>
                      <a:pt x="84" y="1134"/>
                    </a:lnTo>
                    <a:lnTo>
                      <a:pt x="90" y="1134"/>
                    </a:lnTo>
                    <a:lnTo>
                      <a:pt x="85" y="1126"/>
                    </a:lnTo>
                    <a:lnTo>
                      <a:pt x="82" y="1119"/>
                    </a:lnTo>
                    <a:lnTo>
                      <a:pt x="81" y="1113"/>
                    </a:lnTo>
                    <a:lnTo>
                      <a:pt x="79" y="1101"/>
                    </a:lnTo>
                    <a:lnTo>
                      <a:pt x="93" y="1093"/>
                    </a:lnTo>
                    <a:lnTo>
                      <a:pt x="91" y="1081"/>
                    </a:lnTo>
                    <a:lnTo>
                      <a:pt x="90" y="1078"/>
                    </a:lnTo>
                    <a:lnTo>
                      <a:pt x="85" y="1080"/>
                    </a:lnTo>
                    <a:lnTo>
                      <a:pt x="81" y="1077"/>
                    </a:lnTo>
                    <a:lnTo>
                      <a:pt x="81" y="1069"/>
                    </a:lnTo>
                    <a:lnTo>
                      <a:pt x="91" y="1059"/>
                    </a:lnTo>
                    <a:lnTo>
                      <a:pt x="93" y="1054"/>
                    </a:lnTo>
                    <a:lnTo>
                      <a:pt x="88" y="1048"/>
                    </a:lnTo>
                    <a:lnTo>
                      <a:pt x="90" y="1044"/>
                    </a:lnTo>
                    <a:lnTo>
                      <a:pt x="99" y="1047"/>
                    </a:lnTo>
                    <a:lnTo>
                      <a:pt x="99" y="1038"/>
                    </a:lnTo>
                    <a:lnTo>
                      <a:pt x="94" y="1030"/>
                    </a:lnTo>
                    <a:lnTo>
                      <a:pt x="96" y="1020"/>
                    </a:lnTo>
                    <a:lnTo>
                      <a:pt x="97" y="1011"/>
                    </a:lnTo>
                    <a:lnTo>
                      <a:pt x="85" y="1012"/>
                    </a:lnTo>
                    <a:lnTo>
                      <a:pt x="73" y="1009"/>
                    </a:lnTo>
                    <a:lnTo>
                      <a:pt x="69" y="1002"/>
                    </a:lnTo>
                    <a:lnTo>
                      <a:pt x="55" y="985"/>
                    </a:lnTo>
                    <a:lnTo>
                      <a:pt x="51" y="982"/>
                    </a:lnTo>
                    <a:lnTo>
                      <a:pt x="42" y="975"/>
                    </a:lnTo>
                    <a:lnTo>
                      <a:pt x="43" y="967"/>
                    </a:lnTo>
                    <a:lnTo>
                      <a:pt x="36" y="961"/>
                    </a:lnTo>
                    <a:lnTo>
                      <a:pt x="37" y="955"/>
                    </a:lnTo>
                    <a:lnTo>
                      <a:pt x="27" y="952"/>
                    </a:lnTo>
                    <a:lnTo>
                      <a:pt x="15" y="948"/>
                    </a:lnTo>
                    <a:lnTo>
                      <a:pt x="3" y="949"/>
                    </a:lnTo>
                    <a:lnTo>
                      <a:pt x="1" y="939"/>
                    </a:lnTo>
                    <a:lnTo>
                      <a:pt x="3" y="930"/>
                    </a:lnTo>
                    <a:lnTo>
                      <a:pt x="0" y="924"/>
                    </a:lnTo>
                    <a:lnTo>
                      <a:pt x="10" y="912"/>
                    </a:lnTo>
                    <a:lnTo>
                      <a:pt x="19" y="906"/>
                    </a:lnTo>
                    <a:lnTo>
                      <a:pt x="33" y="900"/>
                    </a:lnTo>
                    <a:lnTo>
                      <a:pt x="33" y="894"/>
                    </a:lnTo>
                    <a:lnTo>
                      <a:pt x="33" y="888"/>
                    </a:lnTo>
                    <a:lnTo>
                      <a:pt x="33" y="879"/>
                    </a:lnTo>
                    <a:lnTo>
                      <a:pt x="27" y="867"/>
                    </a:lnTo>
                    <a:lnTo>
                      <a:pt x="19" y="861"/>
                    </a:lnTo>
                    <a:lnTo>
                      <a:pt x="22" y="850"/>
                    </a:lnTo>
                    <a:lnTo>
                      <a:pt x="27" y="844"/>
                    </a:lnTo>
                    <a:lnTo>
                      <a:pt x="25" y="837"/>
                    </a:lnTo>
                    <a:lnTo>
                      <a:pt x="24" y="831"/>
                    </a:lnTo>
                    <a:lnTo>
                      <a:pt x="22" y="822"/>
                    </a:lnTo>
                    <a:lnTo>
                      <a:pt x="33" y="810"/>
                    </a:lnTo>
                    <a:lnTo>
                      <a:pt x="37" y="801"/>
                    </a:lnTo>
                    <a:lnTo>
                      <a:pt x="57" y="793"/>
                    </a:lnTo>
                    <a:lnTo>
                      <a:pt x="63" y="795"/>
                    </a:lnTo>
                    <a:lnTo>
                      <a:pt x="73" y="787"/>
                    </a:lnTo>
                    <a:lnTo>
                      <a:pt x="81" y="789"/>
                    </a:lnTo>
                    <a:lnTo>
                      <a:pt x="84" y="783"/>
                    </a:lnTo>
                    <a:lnTo>
                      <a:pt x="93" y="781"/>
                    </a:lnTo>
                    <a:lnTo>
                      <a:pt x="102" y="777"/>
                    </a:lnTo>
                    <a:lnTo>
                      <a:pt x="105" y="768"/>
                    </a:lnTo>
                    <a:lnTo>
                      <a:pt x="112" y="762"/>
                    </a:lnTo>
                    <a:lnTo>
                      <a:pt x="114" y="748"/>
                    </a:lnTo>
                    <a:lnTo>
                      <a:pt x="117" y="739"/>
                    </a:lnTo>
                    <a:lnTo>
                      <a:pt x="102" y="738"/>
                    </a:lnTo>
                    <a:lnTo>
                      <a:pt x="91" y="735"/>
                    </a:lnTo>
                    <a:lnTo>
                      <a:pt x="88" y="726"/>
                    </a:lnTo>
                    <a:lnTo>
                      <a:pt x="91" y="720"/>
                    </a:lnTo>
                    <a:lnTo>
                      <a:pt x="94" y="715"/>
                    </a:lnTo>
                    <a:lnTo>
                      <a:pt x="105" y="715"/>
                    </a:lnTo>
                    <a:lnTo>
                      <a:pt x="114" y="720"/>
                    </a:lnTo>
                    <a:lnTo>
                      <a:pt x="117" y="715"/>
                    </a:lnTo>
                    <a:lnTo>
                      <a:pt x="115" y="708"/>
                    </a:lnTo>
                    <a:lnTo>
                      <a:pt x="118" y="700"/>
                    </a:lnTo>
                    <a:lnTo>
                      <a:pt x="118" y="693"/>
                    </a:lnTo>
                    <a:lnTo>
                      <a:pt x="115" y="688"/>
                    </a:lnTo>
                    <a:lnTo>
                      <a:pt x="96" y="675"/>
                    </a:lnTo>
                    <a:lnTo>
                      <a:pt x="69" y="687"/>
                    </a:lnTo>
                    <a:lnTo>
                      <a:pt x="61" y="685"/>
                    </a:lnTo>
                    <a:lnTo>
                      <a:pt x="61" y="676"/>
                    </a:lnTo>
                    <a:lnTo>
                      <a:pt x="81" y="663"/>
                    </a:lnTo>
                    <a:lnTo>
                      <a:pt x="91" y="648"/>
                    </a:lnTo>
                    <a:lnTo>
                      <a:pt x="90" y="639"/>
                    </a:lnTo>
                    <a:lnTo>
                      <a:pt x="90" y="630"/>
                    </a:lnTo>
                    <a:lnTo>
                      <a:pt x="82" y="600"/>
                    </a:lnTo>
                    <a:lnTo>
                      <a:pt x="82" y="574"/>
                    </a:lnTo>
                    <a:lnTo>
                      <a:pt x="72" y="565"/>
                    </a:lnTo>
                    <a:lnTo>
                      <a:pt x="72" y="559"/>
                    </a:lnTo>
                    <a:lnTo>
                      <a:pt x="60" y="534"/>
                    </a:lnTo>
                    <a:lnTo>
                      <a:pt x="58" y="528"/>
                    </a:lnTo>
                    <a:lnTo>
                      <a:pt x="42" y="499"/>
                    </a:lnTo>
                    <a:lnTo>
                      <a:pt x="54" y="486"/>
                    </a:lnTo>
                    <a:lnTo>
                      <a:pt x="70" y="481"/>
                    </a:lnTo>
                    <a:lnTo>
                      <a:pt x="84" y="471"/>
                    </a:lnTo>
                    <a:lnTo>
                      <a:pt x="67" y="451"/>
                    </a:lnTo>
                    <a:lnTo>
                      <a:pt x="66" y="444"/>
                    </a:lnTo>
                    <a:lnTo>
                      <a:pt x="52" y="441"/>
                    </a:lnTo>
                    <a:lnTo>
                      <a:pt x="58" y="436"/>
                    </a:lnTo>
                    <a:lnTo>
                      <a:pt x="60" y="430"/>
                    </a:lnTo>
                    <a:lnTo>
                      <a:pt x="64" y="426"/>
                    </a:lnTo>
                    <a:lnTo>
                      <a:pt x="88" y="415"/>
                    </a:lnTo>
                    <a:lnTo>
                      <a:pt x="87" y="411"/>
                    </a:lnTo>
                    <a:lnTo>
                      <a:pt x="99" y="403"/>
                    </a:lnTo>
                    <a:lnTo>
                      <a:pt x="109" y="402"/>
                    </a:lnTo>
                    <a:lnTo>
                      <a:pt x="123" y="403"/>
                    </a:lnTo>
                    <a:lnTo>
                      <a:pt x="127" y="402"/>
                    </a:lnTo>
                    <a:lnTo>
                      <a:pt x="127" y="387"/>
                    </a:lnTo>
                    <a:lnTo>
                      <a:pt x="135" y="381"/>
                    </a:lnTo>
                    <a:lnTo>
                      <a:pt x="133" y="378"/>
                    </a:lnTo>
                    <a:lnTo>
                      <a:pt x="118" y="376"/>
                    </a:lnTo>
                    <a:lnTo>
                      <a:pt x="118" y="373"/>
                    </a:lnTo>
                    <a:lnTo>
                      <a:pt x="121" y="372"/>
                    </a:lnTo>
                    <a:lnTo>
                      <a:pt x="121" y="370"/>
                    </a:lnTo>
                    <a:lnTo>
                      <a:pt x="109" y="358"/>
                    </a:lnTo>
                    <a:lnTo>
                      <a:pt x="109" y="357"/>
                    </a:lnTo>
                    <a:lnTo>
                      <a:pt x="117" y="352"/>
                    </a:lnTo>
                    <a:lnTo>
                      <a:pt x="118" y="348"/>
                    </a:lnTo>
                    <a:lnTo>
                      <a:pt x="112" y="342"/>
                    </a:lnTo>
                    <a:lnTo>
                      <a:pt x="112" y="336"/>
                    </a:lnTo>
                    <a:lnTo>
                      <a:pt x="111" y="333"/>
                    </a:lnTo>
                    <a:lnTo>
                      <a:pt x="109" y="328"/>
                    </a:lnTo>
                    <a:lnTo>
                      <a:pt x="117" y="324"/>
                    </a:lnTo>
                    <a:lnTo>
                      <a:pt x="120" y="318"/>
                    </a:lnTo>
                    <a:lnTo>
                      <a:pt x="124" y="309"/>
                    </a:lnTo>
                    <a:lnTo>
                      <a:pt x="133" y="301"/>
                    </a:lnTo>
                    <a:lnTo>
                      <a:pt x="132" y="297"/>
                    </a:lnTo>
                    <a:lnTo>
                      <a:pt x="135" y="289"/>
                    </a:lnTo>
                    <a:lnTo>
                      <a:pt x="138" y="289"/>
                    </a:lnTo>
                    <a:lnTo>
                      <a:pt x="148" y="291"/>
                    </a:lnTo>
                    <a:lnTo>
                      <a:pt x="153" y="289"/>
                    </a:lnTo>
                    <a:lnTo>
                      <a:pt x="157" y="291"/>
                    </a:lnTo>
                    <a:lnTo>
                      <a:pt x="163" y="282"/>
                    </a:lnTo>
                    <a:lnTo>
                      <a:pt x="166" y="268"/>
                    </a:lnTo>
                    <a:lnTo>
                      <a:pt x="168" y="261"/>
                    </a:lnTo>
                    <a:lnTo>
                      <a:pt x="163" y="253"/>
                    </a:lnTo>
                    <a:lnTo>
                      <a:pt x="151" y="250"/>
                    </a:lnTo>
                    <a:lnTo>
                      <a:pt x="156" y="246"/>
                    </a:lnTo>
                    <a:lnTo>
                      <a:pt x="163" y="241"/>
                    </a:lnTo>
                    <a:lnTo>
                      <a:pt x="166" y="234"/>
                    </a:lnTo>
                    <a:lnTo>
                      <a:pt x="175" y="234"/>
                    </a:lnTo>
                    <a:lnTo>
                      <a:pt x="180" y="229"/>
                    </a:lnTo>
                    <a:lnTo>
                      <a:pt x="178" y="225"/>
                    </a:lnTo>
                    <a:lnTo>
                      <a:pt x="172" y="228"/>
                    </a:lnTo>
                    <a:lnTo>
                      <a:pt x="169" y="225"/>
                    </a:lnTo>
                    <a:lnTo>
                      <a:pt x="169" y="219"/>
                    </a:lnTo>
                    <a:lnTo>
                      <a:pt x="168" y="205"/>
                    </a:lnTo>
                    <a:lnTo>
                      <a:pt x="171" y="199"/>
                    </a:lnTo>
                    <a:lnTo>
                      <a:pt x="177" y="195"/>
                    </a:lnTo>
                    <a:lnTo>
                      <a:pt x="174" y="190"/>
                    </a:lnTo>
                    <a:lnTo>
                      <a:pt x="172" y="184"/>
                    </a:lnTo>
                    <a:lnTo>
                      <a:pt x="163" y="184"/>
                    </a:lnTo>
                    <a:lnTo>
                      <a:pt x="159" y="180"/>
                    </a:lnTo>
                    <a:lnTo>
                      <a:pt x="156" y="174"/>
                    </a:lnTo>
                    <a:lnTo>
                      <a:pt x="156" y="159"/>
                    </a:lnTo>
                    <a:lnTo>
                      <a:pt x="147" y="153"/>
                    </a:lnTo>
                    <a:lnTo>
                      <a:pt x="148" y="148"/>
                    </a:lnTo>
                    <a:lnTo>
                      <a:pt x="138" y="138"/>
                    </a:lnTo>
                    <a:lnTo>
                      <a:pt x="138" y="133"/>
                    </a:lnTo>
                    <a:lnTo>
                      <a:pt x="141" y="130"/>
                    </a:lnTo>
                    <a:lnTo>
                      <a:pt x="151" y="129"/>
                    </a:lnTo>
                    <a:lnTo>
                      <a:pt x="153" y="123"/>
                    </a:lnTo>
                    <a:lnTo>
                      <a:pt x="157" y="117"/>
                    </a:lnTo>
                    <a:lnTo>
                      <a:pt x="168" y="103"/>
                    </a:lnTo>
                    <a:lnTo>
                      <a:pt x="168" y="99"/>
                    </a:lnTo>
                    <a:lnTo>
                      <a:pt x="160" y="100"/>
                    </a:lnTo>
                    <a:lnTo>
                      <a:pt x="157" y="97"/>
                    </a:lnTo>
                    <a:lnTo>
                      <a:pt x="160" y="93"/>
                    </a:lnTo>
                    <a:lnTo>
                      <a:pt x="159" y="90"/>
                    </a:lnTo>
                    <a:lnTo>
                      <a:pt x="163" y="84"/>
                    </a:lnTo>
                    <a:lnTo>
                      <a:pt x="166" y="78"/>
                    </a:lnTo>
                    <a:lnTo>
                      <a:pt x="163" y="73"/>
                    </a:lnTo>
                    <a:lnTo>
                      <a:pt x="171" y="75"/>
                    </a:lnTo>
                    <a:lnTo>
                      <a:pt x="177" y="75"/>
                    </a:lnTo>
                    <a:lnTo>
                      <a:pt x="178" y="67"/>
                    </a:lnTo>
                    <a:lnTo>
                      <a:pt x="177" y="66"/>
                    </a:lnTo>
                    <a:lnTo>
                      <a:pt x="177" y="60"/>
                    </a:lnTo>
                    <a:lnTo>
                      <a:pt x="180" y="57"/>
                    </a:lnTo>
                    <a:lnTo>
                      <a:pt x="180" y="51"/>
                    </a:lnTo>
                    <a:lnTo>
                      <a:pt x="172" y="49"/>
                    </a:lnTo>
                    <a:lnTo>
                      <a:pt x="178" y="33"/>
                    </a:lnTo>
                    <a:lnTo>
                      <a:pt x="184" y="33"/>
                    </a:lnTo>
                    <a:lnTo>
                      <a:pt x="192" y="36"/>
                    </a:lnTo>
                    <a:lnTo>
                      <a:pt x="202" y="36"/>
                    </a:lnTo>
                    <a:lnTo>
                      <a:pt x="207" y="43"/>
                    </a:lnTo>
                    <a:lnTo>
                      <a:pt x="210" y="51"/>
                    </a:lnTo>
                    <a:lnTo>
                      <a:pt x="211" y="55"/>
                    </a:lnTo>
                    <a:lnTo>
                      <a:pt x="214" y="58"/>
                    </a:lnTo>
                    <a:lnTo>
                      <a:pt x="217" y="66"/>
                    </a:lnTo>
                    <a:lnTo>
                      <a:pt x="223" y="66"/>
                    </a:lnTo>
                    <a:lnTo>
                      <a:pt x="226" y="64"/>
                    </a:lnTo>
                    <a:lnTo>
                      <a:pt x="228" y="61"/>
                    </a:lnTo>
                    <a:lnTo>
                      <a:pt x="231" y="60"/>
                    </a:lnTo>
                    <a:lnTo>
                      <a:pt x="237" y="58"/>
                    </a:lnTo>
                    <a:lnTo>
                      <a:pt x="241" y="58"/>
                    </a:lnTo>
                    <a:lnTo>
                      <a:pt x="244" y="61"/>
                    </a:lnTo>
                    <a:lnTo>
                      <a:pt x="247" y="61"/>
                    </a:lnTo>
                    <a:lnTo>
                      <a:pt x="249" y="60"/>
                    </a:lnTo>
                    <a:lnTo>
                      <a:pt x="250" y="55"/>
                    </a:lnTo>
                    <a:lnTo>
                      <a:pt x="256" y="54"/>
                    </a:lnTo>
                    <a:lnTo>
                      <a:pt x="259" y="55"/>
                    </a:lnTo>
                    <a:lnTo>
                      <a:pt x="262" y="58"/>
                    </a:lnTo>
                    <a:lnTo>
                      <a:pt x="271" y="57"/>
                    </a:lnTo>
                    <a:lnTo>
                      <a:pt x="273" y="64"/>
                    </a:lnTo>
                    <a:lnTo>
                      <a:pt x="276" y="70"/>
                    </a:lnTo>
                    <a:lnTo>
                      <a:pt x="286" y="76"/>
                    </a:lnTo>
                    <a:lnTo>
                      <a:pt x="289" y="73"/>
                    </a:lnTo>
                    <a:lnTo>
                      <a:pt x="291" y="75"/>
                    </a:lnTo>
                    <a:lnTo>
                      <a:pt x="292" y="81"/>
                    </a:lnTo>
                    <a:lnTo>
                      <a:pt x="301" y="87"/>
                    </a:lnTo>
                    <a:lnTo>
                      <a:pt x="304" y="88"/>
                    </a:lnTo>
                    <a:lnTo>
                      <a:pt x="307" y="82"/>
                    </a:lnTo>
                    <a:lnTo>
                      <a:pt x="313" y="76"/>
                    </a:lnTo>
                    <a:lnTo>
                      <a:pt x="330" y="73"/>
                    </a:lnTo>
                    <a:lnTo>
                      <a:pt x="328" y="66"/>
                    </a:lnTo>
                    <a:lnTo>
                      <a:pt x="334" y="66"/>
                    </a:lnTo>
                    <a:lnTo>
                      <a:pt x="337" y="61"/>
                    </a:lnTo>
                    <a:lnTo>
                      <a:pt x="337" y="55"/>
                    </a:lnTo>
                    <a:lnTo>
                      <a:pt x="340" y="52"/>
                    </a:lnTo>
                    <a:lnTo>
                      <a:pt x="345" y="51"/>
                    </a:lnTo>
                    <a:lnTo>
                      <a:pt x="352" y="37"/>
                    </a:lnTo>
                    <a:lnTo>
                      <a:pt x="352" y="33"/>
                    </a:lnTo>
                    <a:lnTo>
                      <a:pt x="357" y="31"/>
                    </a:lnTo>
                    <a:lnTo>
                      <a:pt x="358" y="37"/>
                    </a:lnTo>
                    <a:lnTo>
                      <a:pt x="364" y="37"/>
                    </a:lnTo>
                    <a:lnTo>
                      <a:pt x="367" y="34"/>
                    </a:lnTo>
                    <a:lnTo>
                      <a:pt x="373" y="34"/>
                    </a:lnTo>
                    <a:lnTo>
                      <a:pt x="379" y="31"/>
                    </a:lnTo>
                    <a:lnTo>
                      <a:pt x="382" y="31"/>
                    </a:lnTo>
                    <a:lnTo>
                      <a:pt x="388" y="15"/>
                    </a:lnTo>
                    <a:lnTo>
                      <a:pt x="394" y="1"/>
                    </a:lnTo>
                    <a:lnTo>
                      <a:pt x="399" y="0"/>
                    </a:lnTo>
                    <a:lnTo>
                      <a:pt x="426" y="25"/>
                    </a:lnTo>
                    <a:lnTo>
                      <a:pt x="426" y="33"/>
                    </a:lnTo>
                    <a:lnTo>
                      <a:pt x="432" y="37"/>
                    </a:lnTo>
                    <a:lnTo>
                      <a:pt x="432" y="43"/>
                    </a:lnTo>
                    <a:lnTo>
                      <a:pt x="438" y="48"/>
                    </a:lnTo>
                    <a:lnTo>
                      <a:pt x="438" y="55"/>
                    </a:lnTo>
                    <a:lnTo>
                      <a:pt x="444" y="60"/>
                    </a:lnTo>
                    <a:lnTo>
                      <a:pt x="451" y="67"/>
                    </a:lnTo>
                    <a:lnTo>
                      <a:pt x="447" y="76"/>
                    </a:lnTo>
                    <a:lnTo>
                      <a:pt x="445" y="82"/>
                    </a:lnTo>
                    <a:lnTo>
                      <a:pt x="457" y="85"/>
                    </a:lnTo>
                    <a:lnTo>
                      <a:pt x="462" y="103"/>
                    </a:lnTo>
                    <a:lnTo>
                      <a:pt x="460" y="112"/>
                    </a:lnTo>
                    <a:lnTo>
                      <a:pt x="445" y="117"/>
                    </a:lnTo>
                    <a:lnTo>
                      <a:pt x="448" y="121"/>
                    </a:lnTo>
                    <a:lnTo>
                      <a:pt x="459" y="127"/>
                    </a:lnTo>
                    <a:lnTo>
                      <a:pt x="465" y="141"/>
                    </a:lnTo>
                    <a:lnTo>
                      <a:pt x="469" y="132"/>
                    </a:lnTo>
                    <a:lnTo>
                      <a:pt x="475" y="127"/>
                    </a:lnTo>
                    <a:lnTo>
                      <a:pt x="492" y="124"/>
                    </a:lnTo>
                    <a:lnTo>
                      <a:pt x="496" y="121"/>
                    </a:lnTo>
                    <a:lnTo>
                      <a:pt x="513" y="120"/>
                    </a:lnTo>
                    <a:lnTo>
                      <a:pt x="517" y="114"/>
                    </a:lnTo>
                    <a:lnTo>
                      <a:pt x="517" y="106"/>
                    </a:lnTo>
                    <a:lnTo>
                      <a:pt x="523" y="102"/>
                    </a:lnTo>
                    <a:lnTo>
                      <a:pt x="532" y="106"/>
                    </a:lnTo>
                    <a:lnTo>
                      <a:pt x="538" y="102"/>
                    </a:lnTo>
                    <a:lnTo>
                      <a:pt x="552" y="111"/>
                    </a:lnTo>
                    <a:lnTo>
                      <a:pt x="561" y="118"/>
                    </a:lnTo>
                    <a:lnTo>
                      <a:pt x="567" y="129"/>
                    </a:lnTo>
                    <a:lnTo>
                      <a:pt x="570" y="130"/>
                    </a:lnTo>
                    <a:lnTo>
                      <a:pt x="571" y="121"/>
                    </a:lnTo>
                    <a:lnTo>
                      <a:pt x="576" y="120"/>
                    </a:lnTo>
                    <a:lnTo>
                      <a:pt x="576" y="111"/>
                    </a:lnTo>
                    <a:lnTo>
                      <a:pt x="574" y="100"/>
                    </a:lnTo>
                    <a:lnTo>
                      <a:pt x="583" y="90"/>
                    </a:lnTo>
                    <a:lnTo>
                      <a:pt x="591" y="85"/>
                    </a:lnTo>
                    <a:lnTo>
                      <a:pt x="595" y="81"/>
                    </a:lnTo>
                    <a:lnTo>
                      <a:pt x="601" y="73"/>
                    </a:lnTo>
                    <a:lnTo>
                      <a:pt x="609" y="72"/>
                    </a:lnTo>
                    <a:lnTo>
                      <a:pt x="616" y="73"/>
                    </a:lnTo>
                    <a:lnTo>
                      <a:pt x="618" y="76"/>
                    </a:lnTo>
                    <a:lnTo>
                      <a:pt x="628" y="84"/>
                    </a:lnTo>
                    <a:lnTo>
                      <a:pt x="634" y="81"/>
                    </a:lnTo>
                    <a:lnTo>
                      <a:pt x="643" y="81"/>
                    </a:lnTo>
                    <a:lnTo>
                      <a:pt x="646" y="91"/>
                    </a:lnTo>
                    <a:lnTo>
                      <a:pt x="651" y="93"/>
                    </a:lnTo>
                    <a:lnTo>
                      <a:pt x="658" y="91"/>
                    </a:lnTo>
                    <a:lnTo>
                      <a:pt x="666" y="84"/>
                    </a:lnTo>
                    <a:lnTo>
                      <a:pt x="678" y="88"/>
                    </a:lnTo>
                    <a:lnTo>
                      <a:pt x="688" y="81"/>
                    </a:lnTo>
                    <a:lnTo>
                      <a:pt x="684" y="72"/>
                    </a:lnTo>
                    <a:lnTo>
                      <a:pt x="685" y="64"/>
                    </a:lnTo>
                    <a:lnTo>
                      <a:pt x="700" y="63"/>
                    </a:lnTo>
                    <a:lnTo>
                      <a:pt x="711" y="75"/>
                    </a:lnTo>
                    <a:lnTo>
                      <a:pt x="727" y="78"/>
                    </a:lnTo>
                    <a:lnTo>
                      <a:pt x="739" y="85"/>
                    </a:lnTo>
                    <a:lnTo>
                      <a:pt x="753" y="88"/>
                    </a:lnTo>
                    <a:lnTo>
                      <a:pt x="754" y="91"/>
                    </a:lnTo>
                    <a:lnTo>
                      <a:pt x="753" y="96"/>
                    </a:lnTo>
                    <a:lnTo>
                      <a:pt x="757" y="102"/>
                    </a:lnTo>
                    <a:lnTo>
                      <a:pt x="757" y="106"/>
                    </a:lnTo>
                    <a:lnTo>
                      <a:pt x="753" y="115"/>
                    </a:lnTo>
                    <a:lnTo>
                      <a:pt x="763" y="123"/>
                    </a:lnTo>
                    <a:lnTo>
                      <a:pt x="765" y="129"/>
                    </a:lnTo>
                    <a:lnTo>
                      <a:pt x="771" y="133"/>
                    </a:lnTo>
                    <a:lnTo>
                      <a:pt x="777" y="141"/>
                    </a:lnTo>
                    <a:lnTo>
                      <a:pt x="784" y="136"/>
                    </a:lnTo>
                    <a:lnTo>
                      <a:pt x="798" y="141"/>
                    </a:lnTo>
                    <a:lnTo>
                      <a:pt x="808" y="141"/>
                    </a:lnTo>
                    <a:lnTo>
                      <a:pt x="826" y="144"/>
                    </a:lnTo>
                    <a:lnTo>
                      <a:pt x="828" y="142"/>
                    </a:lnTo>
                    <a:lnTo>
                      <a:pt x="837" y="141"/>
                    </a:lnTo>
                    <a:lnTo>
                      <a:pt x="846" y="148"/>
                    </a:lnTo>
                    <a:lnTo>
                      <a:pt x="864" y="147"/>
                    </a:lnTo>
                    <a:lnTo>
                      <a:pt x="867" y="154"/>
                    </a:lnTo>
                    <a:lnTo>
                      <a:pt x="861" y="160"/>
                    </a:lnTo>
                    <a:lnTo>
                      <a:pt x="867" y="166"/>
                    </a:lnTo>
                    <a:lnTo>
                      <a:pt x="862" y="177"/>
                    </a:lnTo>
                    <a:lnTo>
                      <a:pt x="862" y="181"/>
                    </a:lnTo>
                    <a:lnTo>
                      <a:pt x="873" y="181"/>
                    </a:lnTo>
                    <a:lnTo>
                      <a:pt x="870" y="192"/>
                    </a:lnTo>
                    <a:lnTo>
                      <a:pt x="873" y="196"/>
                    </a:lnTo>
                    <a:lnTo>
                      <a:pt x="888" y="190"/>
                    </a:lnTo>
                    <a:lnTo>
                      <a:pt x="894" y="195"/>
                    </a:lnTo>
                    <a:lnTo>
                      <a:pt x="904" y="189"/>
                    </a:lnTo>
                    <a:lnTo>
                      <a:pt x="913" y="196"/>
                    </a:lnTo>
                    <a:lnTo>
                      <a:pt x="924" y="181"/>
                    </a:lnTo>
                    <a:lnTo>
                      <a:pt x="933" y="181"/>
                    </a:lnTo>
                    <a:lnTo>
                      <a:pt x="940" y="178"/>
                    </a:lnTo>
                    <a:lnTo>
                      <a:pt x="949" y="180"/>
                    </a:lnTo>
                    <a:lnTo>
                      <a:pt x="955" y="193"/>
                    </a:lnTo>
                    <a:lnTo>
                      <a:pt x="960" y="193"/>
                    </a:lnTo>
                    <a:lnTo>
                      <a:pt x="964" y="190"/>
                    </a:lnTo>
                    <a:lnTo>
                      <a:pt x="957" y="183"/>
                    </a:lnTo>
                    <a:lnTo>
                      <a:pt x="960" y="177"/>
                    </a:lnTo>
                    <a:lnTo>
                      <a:pt x="970" y="169"/>
                    </a:lnTo>
                    <a:lnTo>
                      <a:pt x="975" y="171"/>
                    </a:lnTo>
                    <a:lnTo>
                      <a:pt x="978" y="171"/>
                    </a:lnTo>
                    <a:lnTo>
                      <a:pt x="985" y="159"/>
                    </a:lnTo>
                    <a:lnTo>
                      <a:pt x="982" y="148"/>
                    </a:lnTo>
                    <a:lnTo>
                      <a:pt x="996" y="145"/>
                    </a:lnTo>
                    <a:lnTo>
                      <a:pt x="1002" y="154"/>
                    </a:lnTo>
                    <a:lnTo>
                      <a:pt x="1005" y="151"/>
                    </a:lnTo>
                    <a:lnTo>
                      <a:pt x="1003" y="142"/>
                    </a:lnTo>
                    <a:lnTo>
                      <a:pt x="1011" y="138"/>
                    </a:lnTo>
                    <a:lnTo>
                      <a:pt x="1014" y="130"/>
                    </a:lnTo>
                    <a:lnTo>
                      <a:pt x="1024" y="127"/>
                    </a:lnTo>
                    <a:lnTo>
                      <a:pt x="1026" y="133"/>
                    </a:lnTo>
                    <a:lnTo>
                      <a:pt x="1035" y="130"/>
                    </a:lnTo>
                    <a:lnTo>
                      <a:pt x="1038" y="136"/>
                    </a:lnTo>
                    <a:lnTo>
                      <a:pt x="1060" y="129"/>
                    </a:lnTo>
                    <a:lnTo>
                      <a:pt x="1072" y="129"/>
                    </a:lnTo>
                    <a:lnTo>
                      <a:pt x="1075" y="130"/>
                    </a:lnTo>
                    <a:lnTo>
                      <a:pt x="1087" y="130"/>
                    </a:lnTo>
                    <a:lnTo>
                      <a:pt x="1089" y="133"/>
                    </a:lnTo>
                    <a:lnTo>
                      <a:pt x="1099" y="132"/>
                    </a:lnTo>
                    <a:lnTo>
                      <a:pt x="1099" y="139"/>
                    </a:lnTo>
                    <a:lnTo>
                      <a:pt x="1105" y="147"/>
                    </a:lnTo>
                    <a:lnTo>
                      <a:pt x="1107" y="151"/>
                    </a:lnTo>
                    <a:lnTo>
                      <a:pt x="1111" y="154"/>
                    </a:lnTo>
                    <a:lnTo>
                      <a:pt x="1116" y="160"/>
                    </a:lnTo>
                    <a:lnTo>
                      <a:pt x="1119" y="162"/>
                    </a:lnTo>
                    <a:lnTo>
                      <a:pt x="1123" y="165"/>
                    </a:lnTo>
                    <a:lnTo>
                      <a:pt x="1129" y="165"/>
                    </a:lnTo>
                    <a:lnTo>
                      <a:pt x="1137" y="160"/>
                    </a:lnTo>
                    <a:lnTo>
                      <a:pt x="1146" y="169"/>
                    </a:lnTo>
                    <a:lnTo>
                      <a:pt x="1144" y="172"/>
                    </a:lnTo>
                    <a:lnTo>
                      <a:pt x="1144" y="175"/>
                    </a:lnTo>
                    <a:lnTo>
                      <a:pt x="1147" y="177"/>
                    </a:lnTo>
                    <a:lnTo>
                      <a:pt x="1156" y="174"/>
                    </a:lnTo>
                    <a:lnTo>
                      <a:pt x="1164" y="177"/>
                    </a:lnTo>
                    <a:lnTo>
                      <a:pt x="1170" y="180"/>
                    </a:lnTo>
                    <a:lnTo>
                      <a:pt x="1177" y="172"/>
                    </a:lnTo>
                    <a:lnTo>
                      <a:pt x="1204" y="175"/>
                    </a:lnTo>
                    <a:lnTo>
                      <a:pt x="1210" y="174"/>
                    </a:lnTo>
                    <a:lnTo>
                      <a:pt x="1218" y="168"/>
                    </a:lnTo>
                    <a:lnTo>
                      <a:pt x="1219" y="166"/>
                    </a:lnTo>
                    <a:lnTo>
                      <a:pt x="1224" y="169"/>
                    </a:lnTo>
                    <a:lnTo>
                      <a:pt x="1228" y="175"/>
                    </a:lnTo>
                    <a:lnTo>
                      <a:pt x="1234" y="178"/>
                    </a:lnTo>
                    <a:lnTo>
                      <a:pt x="1240" y="174"/>
                    </a:lnTo>
                    <a:lnTo>
                      <a:pt x="1255" y="190"/>
                    </a:lnTo>
                    <a:lnTo>
                      <a:pt x="1273" y="195"/>
                    </a:lnTo>
                    <a:lnTo>
                      <a:pt x="1282" y="202"/>
                    </a:lnTo>
                    <a:lnTo>
                      <a:pt x="1287" y="204"/>
                    </a:lnTo>
                    <a:lnTo>
                      <a:pt x="1291" y="210"/>
                    </a:lnTo>
                    <a:lnTo>
                      <a:pt x="1297" y="213"/>
                    </a:lnTo>
                    <a:lnTo>
                      <a:pt x="1308" y="214"/>
                    </a:lnTo>
                    <a:lnTo>
                      <a:pt x="1311" y="220"/>
                    </a:lnTo>
                    <a:lnTo>
                      <a:pt x="1315" y="225"/>
                    </a:lnTo>
                    <a:lnTo>
                      <a:pt x="1308" y="238"/>
                    </a:lnTo>
                    <a:lnTo>
                      <a:pt x="1302" y="243"/>
                    </a:lnTo>
                    <a:lnTo>
                      <a:pt x="1303" y="250"/>
                    </a:lnTo>
                    <a:lnTo>
                      <a:pt x="1315" y="250"/>
                    </a:lnTo>
                    <a:lnTo>
                      <a:pt x="1315" y="258"/>
                    </a:lnTo>
                    <a:lnTo>
                      <a:pt x="1317" y="264"/>
                    </a:lnTo>
                    <a:lnTo>
                      <a:pt x="1327" y="265"/>
                    </a:lnTo>
                    <a:lnTo>
                      <a:pt x="1333" y="261"/>
                    </a:lnTo>
                    <a:lnTo>
                      <a:pt x="1344" y="270"/>
                    </a:lnTo>
                    <a:lnTo>
                      <a:pt x="1338" y="282"/>
                    </a:lnTo>
                    <a:lnTo>
                      <a:pt x="1341" y="289"/>
                    </a:lnTo>
                    <a:lnTo>
                      <a:pt x="1350" y="291"/>
                    </a:lnTo>
                    <a:lnTo>
                      <a:pt x="1348" y="303"/>
                    </a:lnTo>
                    <a:lnTo>
                      <a:pt x="1347" y="307"/>
                    </a:lnTo>
                    <a:lnTo>
                      <a:pt x="1342" y="309"/>
                    </a:lnTo>
                    <a:lnTo>
                      <a:pt x="1335" y="301"/>
                    </a:lnTo>
                    <a:lnTo>
                      <a:pt x="1329" y="303"/>
                    </a:lnTo>
                    <a:lnTo>
                      <a:pt x="1327" y="306"/>
                    </a:lnTo>
                    <a:lnTo>
                      <a:pt x="1333" y="312"/>
                    </a:lnTo>
                    <a:lnTo>
                      <a:pt x="1330" y="318"/>
                    </a:lnTo>
                    <a:lnTo>
                      <a:pt x="1336" y="325"/>
                    </a:lnTo>
                    <a:lnTo>
                      <a:pt x="1345" y="324"/>
                    </a:lnTo>
                    <a:lnTo>
                      <a:pt x="1348" y="328"/>
                    </a:lnTo>
                    <a:lnTo>
                      <a:pt x="1347" y="337"/>
                    </a:lnTo>
                    <a:lnTo>
                      <a:pt x="1348" y="343"/>
                    </a:lnTo>
                    <a:lnTo>
                      <a:pt x="1356" y="351"/>
                    </a:lnTo>
                    <a:lnTo>
                      <a:pt x="1360" y="361"/>
                    </a:lnTo>
                    <a:lnTo>
                      <a:pt x="1368" y="364"/>
                    </a:lnTo>
                    <a:lnTo>
                      <a:pt x="1378" y="364"/>
                    </a:lnTo>
                    <a:lnTo>
                      <a:pt x="1395" y="384"/>
                    </a:lnTo>
                    <a:lnTo>
                      <a:pt x="1399" y="387"/>
                    </a:lnTo>
                    <a:lnTo>
                      <a:pt x="1401" y="393"/>
                    </a:lnTo>
                    <a:lnTo>
                      <a:pt x="1408" y="393"/>
                    </a:lnTo>
                    <a:lnTo>
                      <a:pt x="1405" y="399"/>
                    </a:lnTo>
                    <a:lnTo>
                      <a:pt x="1405" y="408"/>
                    </a:lnTo>
                    <a:lnTo>
                      <a:pt x="1402" y="417"/>
                    </a:lnTo>
                    <a:lnTo>
                      <a:pt x="1408" y="424"/>
                    </a:lnTo>
                    <a:lnTo>
                      <a:pt x="1416" y="417"/>
                    </a:lnTo>
                    <a:lnTo>
                      <a:pt x="1420" y="426"/>
                    </a:lnTo>
                    <a:lnTo>
                      <a:pt x="1423" y="429"/>
                    </a:lnTo>
                    <a:lnTo>
                      <a:pt x="1419" y="441"/>
                    </a:lnTo>
                    <a:lnTo>
                      <a:pt x="1425" y="444"/>
                    </a:lnTo>
                    <a:lnTo>
                      <a:pt x="1422" y="462"/>
                    </a:lnTo>
                    <a:lnTo>
                      <a:pt x="1431" y="465"/>
                    </a:lnTo>
                    <a:lnTo>
                      <a:pt x="1432" y="471"/>
                    </a:lnTo>
                    <a:lnTo>
                      <a:pt x="1444" y="460"/>
                    </a:lnTo>
                    <a:lnTo>
                      <a:pt x="1453" y="465"/>
                    </a:lnTo>
                    <a:lnTo>
                      <a:pt x="1453" y="475"/>
                    </a:lnTo>
                    <a:lnTo>
                      <a:pt x="1458" y="487"/>
                    </a:lnTo>
                    <a:lnTo>
                      <a:pt x="1444" y="502"/>
                    </a:lnTo>
                    <a:lnTo>
                      <a:pt x="1453" y="519"/>
                    </a:lnTo>
                    <a:lnTo>
                      <a:pt x="1461" y="523"/>
                    </a:lnTo>
                    <a:lnTo>
                      <a:pt x="1468" y="520"/>
                    </a:lnTo>
                    <a:lnTo>
                      <a:pt x="1479" y="522"/>
                    </a:lnTo>
                    <a:lnTo>
                      <a:pt x="1486" y="519"/>
                    </a:lnTo>
                    <a:lnTo>
                      <a:pt x="1495" y="517"/>
                    </a:lnTo>
                    <a:lnTo>
                      <a:pt x="1501" y="517"/>
                    </a:lnTo>
                    <a:lnTo>
                      <a:pt x="1510" y="525"/>
                    </a:lnTo>
                    <a:lnTo>
                      <a:pt x="1537" y="537"/>
                    </a:lnTo>
                    <a:lnTo>
                      <a:pt x="1542" y="532"/>
                    </a:lnTo>
                    <a:lnTo>
                      <a:pt x="1543" y="526"/>
                    </a:lnTo>
                    <a:lnTo>
                      <a:pt x="1542" y="525"/>
                    </a:lnTo>
                    <a:lnTo>
                      <a:pt x="1545" y="514"/>
                    </a:lnTo>
                    <a:lnTo>
                      <a:pt x="1557" y="513"/>
                    </a:lnTo>
                    <a:lnTo>
                      <a:pt x="1557" y="510"/>
                    </a:lnTo>
                    <a:lnTo>
                      <a:pt x="1557" y="498"/>
                    </a:lnTo>
                    <a:lnTo>
                      <a:pt x="1551" y="493"/>
                    </a:lnTo>
                    <a:lnTo>
                      <a:pt x="1551" y="484"/>
                    </a:lnTo>
                    <a:lnTo>
                      <a:pt x="1543" y="474"/>
                    </a:lnTo>
                    <a:lnTo>
                      <a:pt x="1549" y="469"/>
                    </a:lnTo>
                    <a:lnTo>
                      <a:pt x="1560" y="460"/>
                    </a:lnTo>
                    <a:lnTo>
                      <a:pt x="1584" y="472"/>
                    </a:lnTo>
                    <a:lnTo>
                      <a:pt x="1587" y="472"/>
                    </a:lnTo>
                    <a:lnTo>
                      <a:pt x="1593" y="465"/>
                    </a:lnTo>
                    <a:lnTo>
                      <a:pt x="1602" y="466"/>
                    </a:lnTo>
                    <a:lnTo>
                      <a:pt x="1606" y="460"/>
                    </a:lnTo>
                    <a:lnTo>
                      <a:pt x="1611" y="457"/>
                    </a:lnTo>
                    <a:lnTo>
                      <a:pt x="1614" y="460"/>
                    </a:lnTo>
                    <a:lnTo>
                      <a:pt x="1620" y="459"/>
                    </a:lnTo>
                    <a:lnTo>
                      <a:pt x="1623" y="462"/>
                    </a:lnTo>
                    <a:lnTo>
                      <a:pt x="1623" y="468"/>
                    </a:lnTo>
                    <a:lnTo>
                      <a:pt x="1626" y="471"/>
                    </a:lnTo>
                    <a:lnTo>
                      <a:pt x="1632" y="475"/>
                    </a:lnTo>
                    <a:lnTo>
                      <a:pt x="1639" y="478"/>
                    </a:lnTo>
                    <a:lnTo>
                      <a:pt x="1650" y="475"/>
                    </a:lnTo>
                    <a:lnTo>
                      <a:pt x="1656" y="480"/>
                    </a:lnTo>
                    <a:lnTo>
                      <a:pt x="1662" y="481"/>
                    </a:lnTo>
                    <a:lnTo>
                      <a:pt x="1665" y="490"/>
                    </a:lnTo>
                    <a:lnTo>
                      <a:pt x="1669" y="489"/>
                    </a:lnTo>
                    <a:lnTo>
                      <a:pt x="1672" y="495"/>
                    </a:lnTo>
                    <a:lnTo>
                      <a:pt x="1681" y="493"/>
                    </a:lnTo>
                    <a:lnTo>
                      <a:pt x="1687" y="495"/>
                    </a:lnTo>
                    <a:lnTo>
                      <a:pt x="1692" y="493"/>
                    </a:lnTo>
                    <a:lnTo>
                      <a:pt x="1698" y="499"/>
                    </a:lnTo>
                    <a:lnTo>
                      <a:pt x="1693" y="520"/>
                    </a:lnTo>
                    <a:lnTo>
                      <a:pt x="1695" y="535"/>
                    </a:lnTo>
                    <a:lnTo>
                      <a:pt x="1708" y="558"/>
                    </a:lnTo>
                    <a:lnTo>
                      <a:pt x="1707" y="568"/>
                    </a:lnTo>
                    <a:lnTo>
                      <a:pt x="1702" y="574"/>
                    </a:lnTo>
                    <a:lnTo>
                      <a:pt x="1704" y="580"/>
                    </a:lnTo>
                    <a:lnTo>
                      <a:pt x="1716" y="582"/>
                    </a:lnTo>
                    <a:lnTo>
                      <a:pt x="1723" y="573"/>
                    </a:lnTo>
                    <a:lnTo>
                      <a:pt x="1732" y="564"/>
                    </a:lnTo>
                    <a:lnTo>
                      <a:pt x="1738" y="564"/>
                    </a:lnTo>
                    <a:lnTo>
                      <a:pt x="1740" y="561"/>
                    </a:lnTo>
                    <a:lnTo>
                      <a:pt x="1731" y="547"/>
                    </a:lnTo>
                    <a:lnTo>
                      <a:pt x="1731" y="543"/>
                    </a:lnTo>
                    <a:lnTo>
                      <a:pt x="1741" y="540"/>
                    </a:lnTo>
                    <a:lnTo>
                      <a:pt x="1749" y="535"/>
                    </a:lnTo>
                    <a:lnTo>
                      <a:pt x="1759" y="535"/>
                    </a:lnTo>
                    <a:lnTo>
                      <a:pt x="1758" y="544"/>
                    </a:lnTo>
                    <a:lnTo>
                      <a:pt x="1755" y="550"/>
                    </a:lnTo>
                    <a:lnTo>
                      <a:pt x="1753" y="555"/>
                    </a:lnTo>
                    <a:lnTo>
                      <a:pt x="1756" y="555"/>
                    </a:lnTo>
                    <a:lnTo>
                      <a:pt x="1767" y="552"/>
                    </a:lnTo>
                    <a:lnTo>
                      <a:pt x="1771" y="556"/>
                    </a:lnTo>
                    <a:lnTo>
                      <a:pt x="1773" y="567"/>
                    </a:lnTo>
                    <a:lnTo>
                      <a:pt x="1779" y="571"/>
                    </a:lnTo>
                    <a:lnTo>
                      <a:pt x="1788" y="570"/>
                    </a:lnTo>
                    <a:lnTo>
                      <a:pt x="1791" y="573"/>
                    </a:lnTo>
                    <a:lnTo>
                      <a:pt x="1797" y="567"/>
                    </a:lnTo>
                    <a:lnTo>
                      <a:pt x="1801" y="565"/>
                    </a:lnTo>
                    <a:lnTo>
                      <a:pt x="1807" y="570"/>
                    </a:lnTo>
                    <a:lnTo>
                      <a:pt x="1818" y="568"/>
                    </a:lnTo>
                    <a:lnTo>
                      <a:pt x="1825" y="576"/>
                    </a:lnTo>
                    <a:lnTo>
                      <a:pt x="1827" y="586"/>
                    </a:lnTo>
                    <a:lnTo>
                      <a:pt x="1831" y="583"/>
                    </a:lnTo>
                    <a:lnTo>
                      <a:pt x="1831" y="574"/>
                    </a:lnTo>
                    <a:lnTo>
                      <a:pt x="1837" y="571"/>
                    </a:lnTo>
                    <a:lnTo>
                      <a:pt x="1846" y="574"/>
                    </a:lnTo>
                    <a:lnTo>
                      <a:pt x="1852" y="571"/>
                    </a:lnTo>
                    <a:lnTo>
                      <a:pt x="1860" y="571"/>
                    </a:lnTo>
                    <a:lnTo>
                      <a:pt x="1861" y="567"/>
                    </a:lnTo>
                    <a:lnTo>
                      <a:pt x="1866" y="568"/>
                    </a:lnTo>
                    <a:lnTo>
                      <a:pt x="1875" y="574"/>
                    </a:lnTo>
                    <a:lnTo>
                      <a:pt x="1884" y="573"/>
                    </a:lnTo>
                    <a:lnTo>
                      <a:pt x="1897" y="577"/>
                    </a:lnTo>
                    <a:lnTo>
                      <a:pt x="1896" y="585"/>
                    </a:lnTo>
                    <a:lnTo>
                      <a:pt x="1899" y="585"/>
                    </a:lnTo>
                    <a:lnTo>
                      <a:pt x="1902" y="583"/>
                    </a:lnTo>
                    <a:lnTo>
                      <a:pt x="1903" y="576"/>
                    </a:lnTo>
                    <a:lnTo>
                      <a:pt x="1908" y="574"/>
                    </a:lnTo>
                    <a:lnTo>
                      <a:pt x="1912" y="567"/>
                    </a:lnTo>
                    <a:lnTo>
                      <a:pt x="1918" y="558"/>
                    </a:lnTo>
                    <a:lnTo>
                      <a:pt x="1924" y="556"/>
                    </a:lnTo>
                    <a:lnTo>
                      <a:pt x="1929" y="550"/>
                    </a:lnTo>
                    <a:lnTo>
                      <a:pt x="1939" y="552"/>
                    </a:lnTo>
                    <a:lnTo>
                      <a:pt x="1948" y="553"/>
                    </a:lnTo>
                    <a:lnTo>
                      <a:pt x="1953" y="550"/>
                    </a:lnTo>
                    <a:lnTo>
                      <a:pt x="1954" y="546"/>
                    </a:lnTo>
                    <a:lnTo>
                      <a:pt x="1956" y="537"/>
                    </a:lnTo>
                    <a:lnTo>
                      <a:pt x="1960" y="529"/>
                    </a:lnTo>
                    <a:lnTo>
                      <a:pt x="1956" y="523"/>
                    </a:lnTo>
                    <a:lnTo>
                      <a:pt x="1959" y="519"/>
                    </a:lnTo>
                    <a:lnTo>
                      <a:pt x="1971" y="514"/>
                    </a:lnTo>
                    <a:lnTo>
                      <a:pt x="1990" y="511"/>
                    </a:lnTo>
                    <a:lnTo>
                      <a:pt x="2002" y="507"/>
                    </a:lnTo>
                    <a:lnTo>
                      <a:pt x="2007" y="508"/>
                    </a:lnTo>
                    <a:lnTo>
                      <a:pt x="2019" y="504"/>
                    </a:lnTo>
                    <a:lnTo>
                      <a:pt x="2025" y="504"/>
                    </a:lnTo>
                    <a:lnTo>
                      <a:pt x="2025" y="508"/>
                    </a:lnTo>
                    <a:lnTo>
                      <a:pt x="2017" y="516"/>
                    </a:lnTo>
                    <a:lnTo>
                      <a:pt x="2017" y="520"/>
                    </a:lnTo>
                    <a:lnTo>
                      <a:pt x="2013" y="528"/>
                    </a:lnTo>
                    <a:lnTo>
                      <a:pt x="2016" y="529"/>
                    </a:lnTo>
                    <a:lnTo>
                      <a:pt x="2025" y="526"/>
                    </a:lnTo>
                    <a:lnTo>
                      <a:pt x="2029" y="531"/>
                    </a:lnTo>
                    <a:lnTo>
                      <a:pt x="2034" y="528"/>
                    </a:lnTo>
                    <a:lnTo>
                      <a:pt x="2044" y="523"/>
                    </a:lnTo>
                    <a:lnTo>
                      <a:pt x="2058" y="525"/>
                    </a:lnTo>
                    <a:lnTo>
                      <a:pt x="2061" y="529"/>
                    </a:lnTo>
                    <a:lnTo>
                      <a:pt x="2061" y="538"/>
                    </a:lnTo>
                    <a:lnTo>
                      <a:pt x="2071" y="537"/>
                    </a:lnTo>
                    <a:lnTo>
                      <a:pt x="2073" y="543"/>
                    </a:lnTo>
                    <a:lnTo>
                      <a:pt x="2071" y="547"/>
                    </a:lnTo>
                    <a:lnTo>
                      <a:pt x="2065" y="547"/>
                    </a:lnTo>
                    <a:lnTo>
                      <a:pt x="2064" y="558"/>
                    </a:lnTo>
                    <a:lnTo>
                      <a:pt x="2058" y="561"/>
                    </a:lnTo>
                    <a:lnTo>
                      <a:pt x="2059" y="565"/>
                    </a:lnTo>
                    <a:lnTo>
                      <a:pt x="2065" y="565"/>
                    </a:lnTo>
                    <a:lnTo>
                      <a:pt x="2070" y="568"/>
                    </a:lnTo>
                    <a:lnTo>
                      <a:pt x="2071" y="579"/>
                    </a:lnTo>
                    <a:lnTo>
                      <a:pt x="2077" y="580"/>
                    </a:lnTo>
                    <a:lnTo>
                      <a:pt x="2082" y="594"/>
                    </a:lnTo>
                    <a:lnTo>
                      <a:pt x="2088" y="598"/>
                    </a:lnTo>
                    <a:lnTo>
                      <a:pt x="2092" y="607"/>
                    </a:lnTo>
                    <a:lnTo>
                      <a:pt x="2100" y="610"/>
                    </a:lnTo>
                    <a:lnTo>
                      <a:pt x="2104" y="618"/>
                    </a:lnTo>
                    <a:lnTo>
                      <a:pt x="2113" y="624"/>
                    </a:lnTo>
                    <a:lnTo>
                      <a:pt x="2119" y="627"/>
                    </a:lnTo>
                    <a:lnTo>
                      <a:pt x="2128" y="621"/>
                    </a:lnTo>
                    <a:lnTo>
                      <a:pt x="2137" y="624"/>
                    </a:lnTo>
                    <a:lnTo>
                      <a:pt x="2145" y="619"/>
                    </a:lnTo>
                    <a:lnTo>
                      <a:pt x="2155" y="627"/>
                    </a:lnTo>
                    <a:lnTo>
                      <a:pt x="2157" y="631"/>
                    </a:lnTo>
                    <a:lnTo>
                      <a:pt x="2164" y="631"/>
                    </a:lnTo>
                    <a:lnTo>
                      <a:pt x="2175" y="640"/>
                    </a:lnTo>
                    <a:lnTo>
                      <a:pt x="2175" y="651"/>
                    </a:lnTo>
                    <a:lnTo>
                      <a:pt x="2175" y="655"/>
                    </a:lnTo>
                    <a:lnTo>
                      <a:pt x="2175" y="657"/>
                    </a:lnTo>
                    <a:lnTo>
                      <a:pt x="2176" y="661"/>
                    </a:lnTo>
                    <a:lnTo>
                      <a:pt x="2175" y="667"/>
                    </a:lnTo>
                    <a:lnTo>
                      <a:pt x="2169" y="673"/>
                    </a:lnTo>
                    <a:lnTo>
                      <a:pt x="2169" y="676"/>
                    </a:lnTo>
                    <a:lnTo>
                      <a:pt x="2161" y="679"/>
                    </a:lnTo>
                    <a:lnTo>
                      <a:pt x="2155" y="687"/>
                    </a:lnTo>
                    <a:lnTo>
                      <a:pt x="2152" y="696"/>
                    </a:lnTo>
                    <a:lnTo>
                      <a:pt x="2154" y="703"/>
                    </a:lnTo>
                    <a:lnTo>
                      <a:pt x="2151" y="706"/>
                    </a:lnTo>
                    <a:lnTo>
                      <a:pt x="2148" y="712"/>
                    </a:lnTo>
                    <a:lnTo>
                      <a:pt x="2145" y="714"/>
                    </a:lnTo>
                    <a:lnTo>
                      <a:pt x="2140" y="723"/>
                    </a:lnTo>
                    <a:lnTo>
                      <a:pt x="2137" y="727"/>
                    </a:lnTo>
                    <a:lnTo>
                      <a:pt x="2137" y="732"/>
                    </a:lnTo>
                    <a:lnTo>
                      <a:pt x="2137" y="736"/>
                    </a:lnTo>
                    <a:lnTo>
                      <a:pt x="2133" y="744"/>
                    </a:lnTo>
                    <a:lnTo>
                      <a:pt x="2131" y="747"/>
                    </a:lnTo>
                    <a:lnTo>
                      <a:pt x="2130" y="753"/>
                    </a:lnTo>
                    <a:lnTo>
                      <a:pt x="2131" y="757"/>
                    </a:lnTo>
                    <a:lnTo>
                      <a:pt x="2133" y="762"/>
                    </a:lnTo>
                    <a:lnTo>
                      <a:pt x="2128" y="765"/>
                    </a:lnTo>
                    <a:lnTo>
                      <a:pt x="2124" y="768"/>
                    </a:lnTo>
                    <a:lnTo>
                      <a:pt x="2119" y="769"/>
                    </a:lnTo>
                    <a:lnTo>
                      <a:pt x="2116" y="774"/>
                    </a:lnTo>
                    <a:lnTo>
                      <a:pt x="2110" y="780"/>
                    </a:lnTo>
                    <a:lnTo>
                      <a:pt x="2107" y="783"/>
                    </a:lnTo>
                    <a:lnTo>
                      <a:pt x="2109" y="789"/>
                    </a:lnTo>
                    <a:lnTo>
                      <a:pt x="2103" y="792"/>
                    </a:lnTo>
                    <a:lnTo>
                      <a:pt x="2097" y="793"/>
                    </a:lnTo>
                    <a:lnTo>
                      <a:pt x="2094" y="793"/>
                    </a:lnTo>
                    <a:lnTo>
                      <a:pt x="2092" y="786"/>
                    </a:lnTo>
                    <a:lnTo>
                      <a:pt x="2086" y="781"/>
                    </a:lnTo>
                    <a:lnTo>
                      <a:pt x="2083" y="783"/>
                    </a:lnTo>
                    <a:lnTo>
                      <a:pt x="2077" y="783"/>
                    </a:lnTo>
                    <a:lnTo>
                      <a:pt x="2071" y="781"/>
                    </a:lnTo>
                    <a:lnTo>
                      <a:pt x="2062" y="777"/>
                    </a:lnTo>
                    <a:lnTo>
                      <a:pt x="2058" y="774"/>
                    </a:lnTo>
                    <a:lnTo>
                      <a:pt x="2056" y="769"/>
                    </a:lnTo>
                    <a:lnTo>
                      <a:pt x="2053" y="766"/>
                    </a:lnTo>
                    <a:lnTo>
                      <a:pt x="2052" y="763"/>
                    </a:lnTo>
                    <a:lnTo>
                      <a:pt x="2050" y="760"/>
                    </a:lnTo>
                    <a:lnTo>
                      <a:pt x="2046" y="760"/>
                    </a:lnTo>
                    <a:lnTo>
                      <a:pt x="2041" y="762"/>
                    </a:lnTo>
                    <a:lnTo>
                      <a:pt x="2038" y="759"/>
                    </a:lnTo>
                    <a:lnTo>
                      <a:pt x="2035" y="760"/>
                    </a:lnTo>
                    <a:lnTo>
                      <a:pt x="2031" y="759"/>
                    </a:lnTo>
                    <a:lnTo>
                      <a:pt x="2031" y="756"/>
                    </a:lnTo>
                    <a:lnTo>
                      <a:pt x="2029" y="754"/>
                    </a:lnTo>
                    <a:lnTo>
                      <a:pt x="2025" y="756"/>
                    </a:lnTo>
                    <a:lnTo>
                      <a:pt x="2020" y="759"/>
                    </a:lnTo>
                    <a:lnTo>
                      <a:pt x="2013" y="760"/>
                    </a:lnTo>
                    <a:lnTo>
                      <a:pt x="2004" y="763"/>
                    </a:lnTo>
                    <a:lnTo>
                      <a:pt x="1992" y="765"/>
                    </a:lnTo>
                    <a:lnTo>
                      <a:pt x="1987" y="768"/>
                    </a:lnTo>
                    <a:lnTo>
                      <a:pt x="1981" y="771"/>
                    </a:lnTo>
                    <a:lnTo>
                      <a:pt x="1975" y="774"/>
                    </a:lnTo>
                    <a:lnTo>
                      <a:pt x="1969" y="774"/>
                    </a:lnTo>
                    <a:lnTo>
                      <a:pt x="1966" y="772"/>
                    </a:lnTo>
                    <a:lnTo>
                      <a:pt x="1959" y="768"/>
                    </a:lnTo>
                    <a:lnTo>
                      <a:pt x="1954" y="769"/>
                    </a:lnTo>
                    <a:lnTo>
                      <a:pt x="1945" y="777"/>
                    </a:lnTo>
                    <a:lnTo>
                      <a:pt x="1941" y="777"/>
                    </a:lnTo>
                    <a:lnTo>
                      <a:pt x="1935" y="775"/>
                    </a:lnTo>
                    <a:lnTo>
                      <a:pt x="1930" y="778"/>
                    </a:lnTo>
                    <a:lnTo>
                      <a:pt x="1926" y="780"/>
                    </a:lnTo>
                    <a:lnTo>
                      <a:pt x="1920" y="777"/>
                    </a:lnTo>
                    <a:lnTo>
                      <a:pt x="1914" y="772"/>
                    </a:lnTo>
                    <a:lnTo>
                      <a:pt x="1912" y="771"/>
                    </a:lnTo>
                    <a:lnTo>
                      <a:pt x="1912" y="768"/>
                    </a:lnTo>
                    <a:lnTo>
                      <a:pt x="1909" y="768"/>
                    </a:lnTo>
                    <a:lnTo>
                      <a:pt x="1900" y="768"/>
                    </a:lnTo>
                    <a:lnTo>
                      <a:pt x="1900" y="766"/>
                    </a:lnTo>
                    <a:lnTo>
                      <a:pt x="1903" y="762"/>
                    </a:lnTo>
                    <a:lnTo>
                      <a:pt x="1902" y="754"/>
                    </a:lnTo>
                    <a:lnTo>
                      <a:pt x="1903" y="751"/>
                    </a:lnTo>
                    <a:lnTo>
                      <a:pt x="1903" y="748"/>
                    </a:lnTo>
                    <a:lnTo>
                      <a:pt x="1899" y="747"/>
                    </a:lnTo>
                    <a:lnTo>
                      <a:pt x="1891" y="745"/>
                    </a:lnTo>
                    <a:lnTo>
                      <a:pt x="1882" y="742"/>
                    </a:lnTo>
                    <a:lnTo>
                      <a:pt x="1881" y="739"/>
                    </a:lnTo>
                    <a:lnTo>
                      <a:pt x="1876" y="738"/>
                    </a:lnTo>
                    <a:lnTo>
                      <a:pt x="1872" y="739"/>
                    </a:lnTo>
                    <a:lnTo>
                      <a:pt x="1867" y="733"/>
                    </a:lnTo>
                    <a:lnTo>
                      <a:pt x="1861" y="733"/>
                    </a:lnTo>
                    <a:lnTo>
                      <a:pt x="1855" y="733"/>
                    </a:lnTo>
                    <a:lnTo>
                      <a:pt x="1846" y="736"/>
                    </a:lnTo>
                    <a:lnTo>
                      <a:pt x="1840" y="739"/>
                    </a:lnTo>
                    <a:lnTo>
                      <a:pt x="1836" y="741"/>
                    </a:lnTo>
                    <a:lnTo>
                      <a:pt x="1833" y="735"/>
                    </a:lnTo>
                    <a:lnTo>
                      <a:pt x="1827" y="729"/>
                    </a:lnTo>
                    <a:lnTo>
                      <a:pt x="1822" y="723"/>
                    </a:lnTo>
                    <a:lnTo>
                      <a:pt x="1819" y="724"/>
                    </a:lnTo>
                    <a:lnTo>
                      <a:pt x="1816" y="724"/>
                    </a:lnTo>
                    <a:lnTo>
                      <a:pt x="1816" y="720"/>
                    </a:lnTo>
                    <a:lnTo>
                      <a:pt x="1810" y="715"/>
                    </a:lnTo>
                    <a:lnTo>
                      <a:pt x="1806" y="712"/>
                    </a:lnTo>
                    <a:lnTo>
                      <a:pt x="1801" y="715"/>
                    </a:lnTo>
                    <a:lnTo>
                      <a:pt x="1797" y="717"/>
                    </a:lnTo>
                    <a:lnTo>
                      <a:pt x="1795" y="711"/>
                    </a:lnTo>
                    <a:lnTo>
                      <a:pt x="1788" y="712"/>
                    </a:lnTo>
                    <a:lnTo>
                      <a:pt x="1771" y="712"/>
                    </a:lnTo>
                    <a:lnTo>
                      <a:pt x="1768" y="705"/>
                    </a:lnTo>
                    <a:lnTo>
                      <a:pt x="1767" y="699"/>
                    </a:lnTo>
                    <a:lnTo>
                      <a:pt x="1765" y="693"/>
                    </a:lnTo>
                    <a:lnTo>
                      <a:pt x="1764" y="687"/>
                    </a:lnTo>
                    <a:lnTo>
                      <a:pt x="1759" y="679"/>
                    </a:lnTo>
                    <a:lnTo>
                      <a:pt x="1759" y="675"/>
                    </a:lnTo>
                    <a:lnTo>
                      <a:pt x="1762" y="673"/>
                    </a:lnTo>
                    <a:lnTo>
                      <a:pt x="1765" y="669"/>
                    </a:lnTo>
                    <a:lnTo>
                      <a:pt x="1762" y="666"/>
                    </a:lnTo>
                    <a:lnTo>
                      <a:pt x="1753" y="666"/>
                    </a:lnTo>
                    <a:lnTo>
                      <a:pt x="1753" y="660"/>
                    </a:lnTo>
                    <a:lnTo>
                      <a:pt x="1749" y="654"/>
                    </a:lnTo>
                    <a:lnTo>
                      <a:pt x="1750" y="648"/>
                    </a:lnTo>
                    <a:lnTo>
                      <a:pt x="1755" y="643"/>
                    </a:lnTo>
                    <a:lnTo>
                      <a:pt x="1761" y="642"/>
                    </a:lnTo>
                    <a:lnTo>
                      <a:pt x="1764" y="639"/>
                    </a:lnTo>
                    <a:lnTo>
                      <a:pt x="1761" y="637"/>
                    </a:lnTo>
                    <a:lnTo>
                      <a:pt x="1753" y="636"/>
                    </a:lnTo>
                    <a:lnTo>
                      <a:pt x="1753" y="630"/>
                    </a:lnTo>
                    <a:lnTo>
                      <a:pt x="1749" y="628"/>
                    </a:lnTo>
                    <a:lnTo>
                      <a:pt x="1744" y="631"/>
                    </a:lnTo>
                    <a:lnTo>
                      <a:pt x="1741" y="639"/>
                    </a:lnTo>
                    <a:lnTo>
                      <a:pt x="1729" y="637"/>
                    </a:lnTo>
                    <a:lnTo>
                      <a:pt x="1723" y="648"/>
                    </a:lnTo>
                    <a:lnTo>
                      <a:pt x="1726" y="651"/>
                    </a:lnTo>
                    <a:lnTo>
                      <a:pt x="1731" y="655"/>
                    </a:lnTo>
                    <a:lnTo>
                      <a:pt x="1731" y="661"/>
                    </a:lnTo>
                    <a:lnTo>
                      <a:pt x="1725" y="669"/>
                    </a:lnTo>
                    <a:lnTo>
                      <a:pt x="1717" y="678"/>
                    </a:lnTo>
                    <a:lnTo>
                      <a:pt x="1711" y="687"/>
                    </a:lnTo>
                    <a:lnTo>
                      <a:pt x="1711" y="694"/>
                    </a:lnTo>
                    <a:lnTo>
                      <a:pt x="1707" y="702"/>
                    </a:lnTo>
                    <a:lnTo>
                      <a:pt x="1711" y="705"/>
                    </a:lnTo>
                    <a:lnTo>
                      <a:pt x="1710" y="708"/>
                    </a:lnTo>
                    <a:lnTo>
                      <a:pt x="1705" y="718"/>
                    </a:lnTo>
                    <a:lnTo>
                      <a:pt x="1702" y="721"/>
                    </a:lnTo>
                    <a:lnTo>
                      <a:pt x="1699" y="724"/>
                    </a:lnTo>
                    <a:lnTo>
                      <a:pt x="1696" y="727"/>
                    </a:lnTo>
                    <a:lnTo>
                      <a:pt x="1693" y="735"/>
                    </a:lnTo>
                    <a:lnTo>
                      <a:pt x="1696" y="741"/>
                    </a:lnTo>
                    <a:lnTo>
                      <a:pt x="1699" y="748"/>
                    </a:lnTo>
                    <a:lnTo>
                      <a:pt x="1699" y="751"/>
                    </a:lnTo>
                    <a:lnTo>
                      <a:pt x="1693" y="751"/>
                    </a:lnTo>
                    <a:lnTo>
                      <a:pt x="1692" y="759"/>
                    </a:lnTo>
                    <a:lnTo>
                      <a:pt x="1693" y="763"/>
                    </a:lnTo>
                    <a:lnTo>
                      <a:pt x="1696" y="768"/>
                    </a:lnTo>
                    <a:lnTo>
                      <a:pt x="1695" y="769"/>
                    </a:lnTo>
                    <a:lnTo>
                      <a:pt x="1690" y="769"/>
                    </a:lnTo>
                    <a:lnTo>
                      <a:pt x="1687" y="768"/>
                    </a:lnTo>
                    <a:lnTo>
                      <a:pt x="1683" y="768"/>
                    </a:lnTo>
                    <a:lnTo>
                      <a:pt x="1675" y="768"/>
                    </a:lnTo>
                    <a:lnTo>
                      <a:pt x="1672" y="766"/>
                    </a:lnTo>
                    <a:lnTo>
                      <a:pt x="1668" y="768"/>
                    </a:lnTo>
                    <a:lnTo>
                      <a:pt x="1665" y="762"/>
                    </a:lnTo>
                    <a:lnTo>
                      <a:pt x="1662" y="775"/>
                    </a:lnTo>
                    <a:lnTo>
                      <a:pt x="1662" y="781"/>
                    </a:lnTo>
                    <a:lnTo>
                      <a:pt x="1642" y="799"/>
                    </a:lnTo>
                    <a:lnTo>
                      <a:pt x="1623" y="792"/>
                    </a:lnTo>
                    <a:lnTo>
                      <a:pt x="1623" y="805"/>
                    </a:lnTo>
                    <a:lnTo>
                      <a:pt x="1633" y="805"/>
                    </a:lnTo>
                    <a:lnTo>
                      <a:pt x="1642" y="813"/>
                    </a:lnTo>
                    <a:lnTo>
                      <a:pt x="1641" y="822"/>
                    </a:lnTo>
                    <a:lnTo>
                      <a:pt x="1642" y="826"/>
                    </a:lnTo>
                    <a:lnTo>
                      <a:pt x="1638" y="834"/>
                    </a:lnTo>
                    <a:lnTo>
                      <a:pt x="1642" y="835"/>
                    </a:lnTo>
                    <a:lnTo>
                      <a:pt x="1653" y="841"/>
                    </a:lnTo>
                    <a:lnTo>
                      <a:pt x="1662" y="840"/>
                    </a:lnTo>
                    <a:lnTo>
                      <a:pt x="1666" y="841"/>
                    </a:lnTo>
                    <a:lnTo>
                      <a:pt x="1677" y="853"/>
                    </a:lnTo>
                    <a:lnTo>
                      <a:pt x="1692" y="858"/>
                    </a:lnTo>
                    <a:lnTo>
                      <a:pt x="1695" y="858"/>
                    </a:lnTo>
                    <a:lnTo>
                      <a:pt x="1699" y="864"/>
                    </a:lnTo>
                    <a:lnTo>
                      <a:pt x="1708" y="865"/>
                    </a:lnTo>
                    <a:lnTo>
                      <a:pt x="1710" y="867"/>
                    </a:lnTo>
                    <a:lnTo>
                      <a:pt x="1708" y="870"/>
                    </a:lnTo>
                    <a:lnTo>
                      <a:pt x="1710" y="873"/>
                    </a:lnTo>
                    <a:lnTo>
                      <a:pt x="1713" y="873"/>
                    </a:lnTo>
                    <a:lnTo>
                      <a:pt x="1714" y="874"/>
                    </a:lnTo>
                    <a:lnTo>
                      <a:pt x="1713" y="877"/>
                    </a:lnTo>
                    <a:lnTo>
                      <a:pt x="1713" y="880"/>
                    </a:lnTo>
                    <a:lnTo>
                      <a:pt x="1714" y="880"/>
                    </a:lnTo>
                    <a:lnTo>
                      <a:pt x="1719" y="882"/>
                    </a:lnTo>
                    <a:lnTo>
                      <a:pt x="1722" y="879"/>
                    </a:lnTo>
                    <a:lnTo>
                      <a:pt x="1728" y="877"/>
                    </a:lnTo>
                    <a:lnTo>
                      <a:pt x="1731" y="876"/>
                    </a:lnTo>
                    <a:lnTo>
                      <a:pt x="1734" y="874"/>
                    </a:lnTo>
                    <a:lnTo>
                      <a:pt x="1738" y="876"/>
                    </a:lnTo>
                    <a:lnTo>
                      <a:pt x="1743" y="877"/>
                    </a:lnTo>
                    <a:lnTo>
                      <a:pt x="1746" y="879"/>
                    </a:lnTo>
                    <a:lnTo>
                      <a:pt x="1747" y="883"/>
                    </a:lnTo>
                    <a:lnTo>
                      <a:pt x="1749" y="889"/>
                    </a:lnTo>
                    <a:lnTo>
                      <a:pt x="1746" y="892"/>
                    </a:lnTo>
                    <a:lnTo>
                      <a:pt x="1738" y="895"/>
                    </a:lnTo>
                    <a:lnTo>
                      <a:pt x="1734" y="895"/>
                    </a:lnTo>
                    <a:lnTo>
                      <a:pt x="1731" y="897"/>
                    </a:lnTo>
                    <a:lnTo>
                      <a:pt x="1726" y="894"/>
                    </a:lnTo>
                    <a:lnTo>
                      <a:pt x="1723" y="892"/>
                    </a:lnTo>
                    <a:lnTo>
                      <a:pt x="1720" y="894"/>
                    </a:lnTo>
                    <a:lnTo>
                      <a:pt x="1714" y="895"/>
                    </a:lnTo>
                    <a:lnTo>
                      <a:pt x="1716" y="903"/>
                    </a:lnTo>
                    <a:lnTo>
                      <a:pt x="1714" y="907"/>
                    </a:lnTo>
                    <a:lnTo>
                      <a:pt x="1713" y="916"/>
                    </a:lnTo>
                    <a:lnTo>
                      <a:pt x="1714" y="919"/>
                    </a:lnTo>
                    <a:lnTo>
                      <a:pt x="1711" y="922"/>
                    </a:lnTo>
                    <a:lnTo>
                      <a:pt x="1710" y="925"/>
                    </a:lnTo>
                    <a:lnTo>
                      <a:pt x="1713" y="931"/>
                    </a:lnTo>
                    <a:lnTo>
                      <a:pt x="1716" y="933"/>
                    </a:lnTo>
                    <a:lnTo>
                      <a:pt x="1719" y="933"/>
                    </a:lnTo>
                    <a:lnTo>
                      <a:pt x="1725" y="931"/>
                    </a:lnTo>
                    <a:lnTo>
                      <a:pt x="1729" y="931"/>
                    </a:lnTo>
                    <a:lnTo>
                      <a:pt x="1735" y="934"/>
                    </a:lnTo>
                    <a:lnTo>
                      <a:pt x="1740" y="936"/>
                    </a:lnTo>
                    <a:lnTo>
                      <a:pt x="1741" y="940"/>
                    </a:lnTo>
                    <a:lnTo>
                      <a:pt x="1740" y="943"/>
                    </a:lnTo>
                    <a:lnTo>
                      <a:pt x="1737" y="945"/>
                    </a:lnTo>
                    <a:lnTo>
                      <a:pt x="1732" y="946"/>
                    </a:lnTo>
                    <a:lnTo>
                      <a:pt x="1728" y="949"/>
                    </a:lnTo>
                    <a:lnTo>
                      <a:pt x="1725" y="954"/>
                    </a:lnTo>
                    <a:lnTo>
                      <a:pt x="1726" y="958"/>
                    </a:lnTo>
                    <a:lnTo>
                      <a:pt x="1729" y="963"/>
                    </a:lnTo>
                    <a:lnTo>
                      <a:pt x="1732" y="967"/>
                    </a:lnTo>
                    <a:lnTo>
                      <a:pt x="1735" y="966"/>
                    </a:lnTo>
                    <a:lnTo>
                      <a:pt x="1738" y="964"/>
                    </a:lnTo>
                    <a:lnTo>
                      <a:pt x="1741" y="960"/>
                    </a:lnTo>
                    <a:lnTo>
                      <a:pt x="1746" y="957"/>
                    </a:lnTo>
                    <a:lnTo>
                      <a:pt x="1750" y="955"/>
                    </a:lnTo>
                    <a:lnTo>
                      <a:pt x="1755" y="954"/>
                    </a:lnTo>
                    <a:lnTo>
                      <a:pt x="1758" y="952"/>
                    </a:lnTo>
                    <a:lnTo>
                      <a:pt x="1764" y="951"/>
                    </a:lnTo>
                    <a:lnTo>
                      <a:pt x="1770" y="951"/>
                    </a:lnTo>
                    <a:lnTo>
                      <a:pt x="1771" y="948"/>
                    </a:lnTo>
                    <a:lnTo>
                      <a:pt x="1771" y="945"/>
                    </a:lnTo>
                    <a:lnTo>
                      <a:pt x="1770" y="940"/>
                    </a:lnTo>
                    <a:lnTo>
                      <a:pt x="1770" y="936"/>
                    </a:lnTo>
                    <a:lnTo>
                      <a:pt x="1773" y="931"/>
                    </a:lnTo>
                    <a:lnTo>
                      <a:pt x="1774" y="930"/>
                    </a:lnTo>
                    <a:lnTo>
                      <a:pt x="1788" y="924"/>
                    </a:lnTo>
                    <a:lnTo>
                      <a:pt x="1788" y="921"/>
                    </a:lnTo>
                    <a:lnTo>
                      <a:pt x="1786" y="913"/>
                    </a:lnTo>
                    <a:lnTo>
                      <a:pt x="1785" y="907"/>
                    </a:lnTo>
                    <a:lnTo>
                      <a:pt x="1786" y="906"/>
                    </a:lnTo>
                    <a:lnTo>
                      <a:pt x="1785" y="900"/>
                    </a:lnTo>
                    <a:lnTo>
                      <a:pt x="1788" y="900"/>
                    </a:lnTo>
                    <a:lnTo>
                      <a:pt x="1789" y="897"/>
                    </a:lnTo>
                    <a:lnTo>
                      <a:pt x="1797" y="898"/>
                    </a:lnTo>
                    <a:lnTo>
                      <a:pt x="1806" y="900"/>
                    </a:lnTo>
                    <a:lnTo>
                      <a:pt x="1810" y="900"/>
                    </a:lnTo>
                    <a:lnTo>
                      <a:pt x="1810" y="897"/>
                    </a:lnTo>
                    <a:lnTo>
                      <a:pt x="1816" y="894"/>
                    </a:lnTo>
                    <a:lnTo>
                      <a:pt x="1819" y="894"/>
                    </a:lnTo>
                    <a:lnTo>
                      <a:pt x="1825" y="900"/>
                    </a:lnTo>
                    <a:lnTo>
                      <a:pt x="1827" y="903"/>
                    </a:lnTo>
                    <a:lnTo>
                      <a:pt x="1824" y="906"/>
                    </a:lnTo>
                    <a:lnTo>
                      <a:pt x="1821" y="906"/>
                    </a:lnTo>
                    <a:lnTo>
                      <a:pt x="1818" y="909"/>
                    </a:lnTo>
                    <a:lnTo>
                      <a:pt x="1821" y="913"/>
                    </a:lnTo>
                    <a:lnTo>
                      <a:pt x="1825" y="915"/>
                    </a:lnTo>
                    <a:lnTo>
                      <a:pt x="1831" y="918"/>
                    </a:lnTo>
                    <a:lnTo>
                      <a:pt x="1836" y="916"/>
                    </a:lnTo>
                    <a:lnTo>
                      <a:pt x="1842" y="924"/>
                    </a:lnTo>
                    <a:lnTo>
                      <a:pt x="1845" y="925"/>
                    </a:lnTo>
                    <a:lnTo>
                      <a:pt x="1848" y="924"/>
                    </a:lnTo>
                    <a:lnTo>
                      <a:pt x="1846" y="918"/>
                    </a:lnTo>
                    <a:lnTo>
                      <a:pt x="1846" y="915"/>
                    </a:lnTo>
                    <a:lnTo>
                      <a:pt x="1851" y="915"/>
                    </a:lnTo>
                    <a:lnTo>
                      <a:pt x="1857" y="924"/>
                    </a:lnTo>
                    <a:lnTo>
                      <a:pt x="1860" y="927"/>
                    </a:lnTo>
                    <a:lnTo>
                      <a:pt x="1863" y="928"/>
                    </a:lnTo>
                    <a:lnTo>
                      <a:pt x="1866" y="928"/>
                    </a:lnTo>
                    <a:lnTo>
                      <a:pt x="1869" y="925"/>
                    </a:lnTo>
                    <a:lnTo>
                      <a:pt x="1872" y="924"/>
                    </a:lnTo>
                    <a:lnTo>
                      <a:pt x="1876" y="924"/>
                    </a:lnTo>
                    <a:lnTo>
                      <a:pt x="1875" y="927"/>
                    </a:lnTo>
                    <a:lnTo>
                      <a:pt x="1873" y="928"/>
                    </a:lnTo>
                    <a:lnTo>
                      <a:pt x="1869" y="933"/>
                    </a:lnTo>
                    <a:lnTo>
                      <a:pt x="1866" y="936"/>
                    </a:lnTo>
                    <a:lnTo>
                      <a:pt x="1867" y="939"/>
                    </a:lnTo>
                    <a:lnTo>
                      <a:pt x="1872" y="940"/>
                    </a:lnTo>
                    <a:lnTo>
                      <a:pt x="1873" y="943"/>
                    </a:lnTo>
                    <a:lnTo>
                      <a:pt x="1876" y="946"/>
                    </a:lnTo>
                    <a:lnTo>
                      <a:pt x="1879" y="949"/>
                    </a:lnTo>
                    <a:lnTo>
                      <a:pt x="1884" y="946"/>
                    </a:lnTo>
                    <a:lnTo>
                      <a:pt x="1885" y="945"/>
                    </a:lnTo>
                    <a:lnTo>
                      <a:pt x="1887" y="946"/>
                    </a:lnTo>
                    <a:lnTo>
                      <a:pt x="1890" y="948"/>
                    </a:lnTo>
                    <a:lnTo>
                      <a:pt x="1893" y="951"/>
                    </a:lnTo>
                    <a:lnTo>
                      <a:pt x="1897" y="951"/>
                    </a:lnTo>
                    <a:lnTo>
                      <a:pt x="1900" y="954"/>
                    </a:lnTo>
                    <a:lnTo>
                      <a:pt x="1902" y="955"/>
                    </a:lnTo>
                    <a:lnTo>
                      <a:pt x="1902" y="958"/>
                    </a:lnTo>
                    <a:lnTo>
                      <a:pt x="1902" y="963"/>
                    </a:lnTo>
                    <a:lnTo>
                      <a:pt x="1903" y="966"/>
                    </a:lnTo>
                    <a:lnTo>
                      <a:pt x="1906" y="969"/>
                    </a:lnTo>
                    <a:lnTo>
                      <a:pt x="1911" y="975"/>
                    </a:lnTo>
                    <a:lnTo>
                      <a:pt x="1911" y="981"/>
                    </a:lnTo>
                    <a:lnTo>
                      <a:pt x="1915" y="984"/>
                    </a:lnTo>
                    <a:lnTo>
                      <a:pt x="1918" y="985"/>
                    </a:lnTo>
                    <a:lnTo>
                      <a:pt x="1918" y="988"/>
                    </a:lnTo>
                    <a:lnTo>
                      <a:pt x="1912" y="994"/>
                    </a:lnTo>
                    <a:lnTo>
                      <a:pt x="1906" y="1000"/>
                    </a:lnTo>
                    <a:lnTo>
                      <a:pt x="1902" y="1005"/>
                    </a:lnTo>
                    <a:lnTo>
                      <a:pt x="1902" y="1012"/>
                    </a:lnTo>
                    <a:lnTo>
                      <a:pt x="1897" y="1027"/>
                    </a:lnTo>
                    <a:lnTo>
                      <a:pt x="1897" y="1030"/>
                    </a:lnTo>
                    <a:lnTo>
                      <a:pt x="1891" y="1041"/>
                    </a:lnTo>
                    <a:lnTo>
                      <a:pt x="1884" y="1048"/>
                    </a:lnTo>
                    <a:lnTo>
                      <a:pt x="1881" y="1054"/>
                    </a:lnTo>
                    <a:lnTo>
                      <a:pt x="1879" y="1063"/>
                    </a:lnTo>
                    <a:lnTo>
                      <a:pt x="1876" y="1068"/>
                    </a:lnTo>
                    <a:lnTo>
                      <a:pt x="1866" y="1074"/>
                    </a:lnTo>
                    <a:lnTo>
                      <a:pt x="1872" y="1093"/>
                    </a:lnTo>
                    <a:lnTo>
                      <a:pt x="1881" y="1104"/>
                    </a:lnTo>
                    <a:lnTo>
                      <a:pt x="1884" y="1108"/>
                    </a:lnTo>
                    <a:lnTo>
                      <a:pt x="1890" y="1108"/>
                    </a:lnTo>
                    <a:lnTo>
                      <a:pt x="1896" y="1105"/>
                    </a:lnTo>
                    <a:lnTo>
                      <a:pt x="1914" y="1110"/>
                    </a:lnTo>
                    <a:lnTo>
                      <a:pt x="1911" y="1114"/>
                    </a:lnTo>
                    <a:lnTo>
                      <a:pt x="1906" y="1119"/>
                    </a:lnTo>
                    <a:lnTo>
                      <a:pt x="1905" y="1123"/>
                    </a:lnTo>
                    <a:lnTo>
                      <a:pt x="1903" y="1128"/>
                    </a:lnTo>
                    <a:lnTo>
                      <a:pt x="1902" y="1128"/>
                    </a:lnTo>
                    <a:lnTo>
                      <a:pt x="1899" y="1129"/>
                    </a:lnTo>
                    <a:lnTo>
                      <a:pt x="1894" y="1138"/>
                    </a:lnTo>
                    <a:lnTo>
                      <a:pt x="1884" y="1141"/>
                    </a:lnTo>
                    <a:lnTo>
                      <a:pt x="1884" y="1146"/>
                    </a:lnTo>
                    <a:lnTo>
                      <a:pt x="1888" y="1144"/>
                    </a:lnTo>
                    <a:lnTo>
                      <a:pt x="1891" y="1146"/>
                    </a:lnTo>
                    <a:lnTo>
                      <a:pt x="1894" y="1152"/>
                    </a:lnTo>
                    <a:lnTo>
                      <a:pt x="1887" y="1159"/>
                    </a:lnTo>
                    <a:lnTo>
                      <a:pt x="1888" y="1161"/>
                    </a:lnTo>
                    <a:lnTo>
                      <a:pt x="1887" y="1165"/>
                    </a:lnTo>
                    <a:lnTo>
                      <a:pt x="1882" y="1171"/>
                    </a:lnTo>
                    <a:lnTo>
                      <a:pt x="1878" y="1177"/>
                    </a:lnTo>
                    <a:lnTo>
                      <a:pt x="1876" y="1182"/>
                    </a:lnTo>
                    <a:lnTo>
                      <a:pt x="1882" y="1186"/>
                    </a:lnTo>
                    <a:lnTo>
                      <a:pt x="1885" y="1188"/>
                    </a:lnTo>
                    <a:lnTo>
                      <a:pt x="1872" y="1194"/>
                    </a:lnTo>
                    <a:lnTo>
                      <a:pt x="1864" y="1209"/>
                    </a:lnTo>
                    <a:lnTo>
                      <a:pt x="1849" y="1221"/>
                    </a:lnTo>
                    <a:lnTo>
                      <a:pt x="1842" y="1225"/>
                    </a:lnTo>
                    <a:lnTo>
                      <a:pt x="1840" y="1228"/>
                    </a:lnTo>
                    <a:lnTo>
                      <a:pt x="1833" y="1234"/>
                    </a:lnTo>
                    <a:lnTo>
                      <a:pt x="1828" y="1239"/>
                    </a:lnTo>
                    <a:lnTo>
                      <a:pt x="1822" y="1252"/>
                    </a:lnTo>
                    <a:lnTo>
                      <a:pt x="1812" y="1258"/>
                    </a:lnTo>
                    <a:lnTo>
                      <a:pt x="1806" y="1263"/>
                    </a:lnTo>
                    <a:lnTo>
                      <a:pt x="1789" y="1261"/>
                    </a:lnTo>
                    <a:lnTo>
                      <a:pt x="1788" y="1257"/>
                    </a:lnTo>
                    <a:lnTo>
                      <a:pt x="1779" y="1263"/>
                    </a:lnTo>
                    <a:lnTo>
                      <a:pt x="1767" y="1254"/>
                    </a:lnTo>
                    <a:lnTo>
                      <a:pt x="1765" y="1251"/>
                    </a:lnTo>
                    <a:lnTo>
                      <a:pt x="1758" y="1255"/>
                    </a:lnTo>
                    <a:lnTo>
                      <a:pt x="1749" y="1260"/>
                    </a:lnTo>
                    <a:lnTo>
                      <a:pt x="1737" y="1255"/>
                    </a:lnTo>
                    <a:lnTo>
                      <a:pt x="1731" y="1260"/>
                    </a:lnTo>
                    <a:close/>
                  </a:path>
                </a:pathLst>
              </a:custGeom>
              <a:no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306" name="Freeform 297">
                <a:extLst>
                  <a:ext uri="{FF2B5EF4-FFF2-40B4-BE49-F238E27FC236}">
                    <a16:creationId xmlns:a16="http://schemas.microsoft.com/office/drawing/2014/main" id="{84642EAF-7CBC-5BD9-35E4-63D57F6DD35A}"/>
                  </a:ext>
                </a:extLst>
              </p:cNvPr>
              <p:cNvSpPr>
                <a:spLocks/>
              </p:cNvSpPr>
              <p:nvPr/>
            </p:nvSpPr>
            <p:spPr bwMode="auto">
              <a:xfrm>
                <a:off x="3346" y="608"/>
                <a:ext cx="576" cy="867"/>
              </a:xfrm>
              <a:custGeom>
                <a:avLst/>
                <a:gdLst>
                  <a:gd name="T0" fmla="*/ 0 w 1727"/>
                  <a:gd name="T1" fmla="*/ 0 h 2601"/>
                  <a:gd name="T2" fmla="*/ 0 w 1727"/>
                  <a:gd name="T3" fmla="*/ 0 h 2601"/>
                  <a:gd name="T4" fmla="*/ 0 w 1727"/>
                  <a:gd name="T5" fmla="*/ 0 h 2601"/>
                  <a:gd name="T6" fmla="*/ 0 w 1727"/>
                  <a:gd name="T7" fmla="*/ 0 h 2601"/>
                  <a:gd name="T8" fmla="*/ 0 w 1727"/>
                  <a:gd name="T9" fmla="*/ 0 h 2601"/>
                  <a:gd name="T10" fmla="*/ 0 w 1727"/>
                  <a:gd name="T11" fmla="*/ 0 h 2601"/>
                  <a:gd name="T12" fmla="*/ 0 w 1727"/>
                  <a:gd name="T13" fmla="*/ 0 h 2601"/>
                  <a:gd name="T14" fmla="*/ 0 w 1727"/>
                  <a:gd name="T15" fmla="*/ 0 h 2601"/>
                  <a:gd name="T16" fmla="*/ 0 w 1727"/>
                  <a:gd name="T17" fmla="*/ 0 h 2601"/>
                  <a:gd name="T18" fmla="*/ 0 w 1727"/>
                  <a:gd name="T19" fmla="*/ 0 h 2601"/>
                  <a:gd name="T20" fmla="*/ 0 w 1727"/>
                  <a:gd name="T21" fmla="*/ 0 h 2601"/>
                  <a:gd name="T22" fmla="*/ 0 w 1727"/>
                  <a:gd name="T23" fmla="*/ 0 h 2601"/>
                  <a:gd name="T24" fmla="*/ 0 w 1727"/>
                  <a:gd name="T25" fmla="*/ 0 h 2601"/>
                  <a:gd name="T26" fmla="*/ 0 w 1727"/>
                  <a:gd name="T27" fmla="*/ 0 h 2601"/>
                  <a:gd name="T28" fmla="*/ 0 w 1727"/>
                  <a:gd name="T29" fmla="*/ 0 h 2601"/>
                  <a:gd name="T30" fmla="*/ 0 w 1727"/>
                  <a:gd name="T31" fmla="*/ 0 h 2601"/>
                  <a:gd name="T32" fmla="*/ 0 w 1727"/>
                  <a:gd name="T33" fmla="*/ 0 h 2601"/>
                  <a:gd name="T34" fmla="*/ 0 w 1727"/>
                  <a:gd name="T35" fmla="*/ 0 h 2601"/>
                  <a:gd name="T36" fmla="*/ 0 w 1727"/>
                  <a:gd name="T37" fmla="*/ 0 h 2601"/>
                  <a:gd name="T38" fmla="*/ 0 w 1727"/>
                  <a:gd name="T39" fmla="*/ 0 h 2601"/>
                  <a:gd name="T40" fmla="*/ 0 w 1727"/>
                  <a:gd name="T41" fmla="*/ 0 h 2601"/>
                  <a:gd name="T42" fmla="*/ 0 w 1727"/>
                  <a:gd name="T43" fmla="*/ 0 h 2601"/>
                  <a:gd name="T44" fmla="*/ 0 w 1727"/>
                  <a:gd name="T45" fmla="*/ 0 h 2601"/>
                  <a:gd name="T46" fmla="*/ 0 w 1727"/>
                  <a:gd name="T47" fmla="*/ 0 h 2601"/>
                  <a:gd name="T48" fmla="*/ 0 w 1727"/>
                  <a:gd name="T49" fmla="*/ 0 h 2601"/>
                  <a:gd name="T50" fmla="*/ 0 w 1727"/>
                  <a:gd name="T51" fmla="*/ 0 h 2601"/>
                  <a:gd name="T52" fmla="*/ 0 w 1727"/>
                  <a:gd name="T53" fmla="*/ 0 h 2601"/>
                  <a:gd name="T54" fmla="*/ 0 w 1727"/>
                  <a:gd name="T55" fmla="*/ 0 h 2601"/>
                  <a:gd name="T56" fmla="*/ 0 w 1727"/>
                  <a:gd name="T57" fmla="*/ 0 h 2601"/>
                  <a:gd name="T58" fmla="*/ 0 w 1727"/>
                  <a:gd name="T59" fmla="*/ 0 h 2601"/>
                  <a:gd name="T60" fmla="*/ 0 w 1727"/>
                  <a:gd name="T61" fmla="*/ 0 h 2601"/>
                  <a:gd name="T62" fmla="*/ 0 w 1727"/>
                  <a:gd name="T63" fmla="*/ 0 h 2601"/>
                  <a:gd name="T64" fmla="*/ 0 w 1727"/>
                  <a:gd name="T65" fmla="*/ 0 h 2601"/>
                  <a:gd name="T66" fmla="*/ 0 w 1727"/>
                  <a:gd name="T67" fmla="*/ 0 h 2601"/>
                  <a:gd name="T68" fmla="*/ 0 w 1727"/>
                  <a:gd name="T69" fmla="*/ 0 h 2601"/>
                  <a:gd name="T70" fmla="*/ 0 w 1727"/>
                  <a:gd name="T71" fmla="*/ 0 h 2601"/>
                  <a:gd name="T72" fmla="*/ 0 w 1727"/>
                  <a:gd name="T73" fmla="*/ 0 h 2601"/>
                  <a:gd name="T74" fmla="*/ 0 w 1727"/>
                  <a:gd name="T75" fmla="*/ 0 h 2601"/>
                  <a:gd name="T76" fmla="*/ 0 w 1727"/>
                  <a:gd name="T77" fmla="*/ 0 h 2601"/>
                  <a:gd name="T78" fmla="*/ 0 w 1727"/>
                  <a:gd name="T79" fmla="*/ 0 h 2601"/>
                  <a:gd name="T80" fmla="*/ 0 w 1727"/>
                  <a:gd name="T81" fmla="*/ 0 h 2601"/>
                  <a:gd name="T82" fmla="*/ 0 w 1727"/>
                  <a:gd name="T83" fmla="*/ 0 h 2601"/>
                  <a:gd name="T84" fmla="*/ 0 w 1727"/>
                  <a:gd name="T85" fmla="*/ 0 h 2601"/>
                  <a:gd name="T86" fmla="*/ 0 w 1727"/>
                  <a:gd name="T87" fmla="*/ 0 h 2601"/>
                  <a:gd name="T88" fmla="*/ 0 w 1727"/>
                  <a:gd name="T89" fmla="*/ 0 h 2601"/>
                  <a:gd name="T90" fmla="*/ 0 w 1727"/>
                  <a:gd name="T91" fmla="*/ 0 h 2601"/>
                  <a:gd name="T92" fmla="*/ 0 w 1727"/>
                  <a:gd name="T93" fmla="*/ 0 h 2601"/>
                  <a:gd name="T94" fmla="*/ 0 w 1727"/>
                  <a:gd name="T95" fmla="*/ 0 h 2601"/>
                  <a:gd name="T96" fmla="*/ 0 w 1727"/>
                  <a:gd name="T97" fmla="*/ 0 h 2601"/>
                  <a:gd name="T98" fmla="*/ 0 w 1727"/>
                  <a:gd name="T99" fmla="*/ 0 h 2601"/>
                  <a:gd name="T100" fmla="*/ 0 w 1727"/>
                  <a:gd name="T101" fmla="*/ 0 h 2601"/>
                  <a:gd name="T102" fmla="*/ 0 w 1727"/>
                  <a:gd name="T103" fmla="*/ 0 h 2601"/>
                  <a:gd name="T104" fmla="*/ 0 w 1727"/>
                  <a:gd name="T105" fmla="*/ 0 h 2601"/>
                  <a:gd name="T106" fmla="*/ 0 w 1727"/>
                  <a:gd name="T107" fmla="*/ 0 h 2601"/>
                  <a:gd name="T108" fmla="*/ 0 w 1727"/>
                  <a:gd name="T109" fmla="*/ 0 h 2601"/>
                  <a:gd name="T110" fmla="*/ 0 w 1727"/>
                  <a:gd name="T111" fmla="*/ 0 h 2601"/>
                  <a:gd name="T112" fmla="*/ 0 w 1727"/>
                  <a:gd name="T113" fmla="*/ 0 h 2601"/>
                  <a:gd name="T114" fmla="*/ 0 w 1727"/>
                  <a:gd name="T115" fmla="*/ 0 h 2601"/>
                  <a:gd name="T116" fmla="*/ 0 w 1727"/>
                  <a:gd name="T117" fmla="*/ 0 h 2601"/>
                  <a:gd name="T118" fmla="*/ 0 w 1727"/>
                  <a:gd name="T119" fmla="*/ 0 h 2601"/>
                  <a:gd name="T120" fmla="*/ 0 w 1727"/>
                  <a:gd name="T121" fmla="*/ 0 h 2601"/>
                  <a:gd name="T122" fmla="*/ 0 w 1727"/>
                  <a:gd name="T123" fmla="*/ 0 h 26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727" h="2601">
                    <a:moveTo>
                      <a:pt x="1343" y="1449"/>
                    </a:moveTo>
                    <a:lnTo>
                      <a:pt x="1347" y="1452"/>
                    </a:lnTo>
                    <a:lnTo>
                      <a:pt x="1374" y="1460"/>
                    </a:lnTo>
                    <a:lnTo>
                      <a:pt x="1385" y="1460"/>
                    </a:lnTo>
                    <a:lnTo>
                      <a:pt x="1394" y="1460"/>
                    </a:lnTo>
                    <a:lnTo>
                      <a:pt x="1415" y="1469"/>
                    </a:lnTo>
                    <a:lnTo>
                      <a:pt x="1407" y="1490"/>
                    </a:lnTo>
                    <a:lnTo>
                      <a:pt x="1412" y="1493"/>
                    </a:lnTo>
                    <a:lnTo>
                      <a:pt x="1427" y="1506"/>
                    </a:lnTo>
                    <a:lnTo>
                      <a:pt x="1427" y="1514"/>
                    </a:lnTo>
                    <a:lnTo>
                      <a:pt x="1430" y="1523"/>
                    </a:lnTo>
                    <a:lnTo>
                      <a:pt x="1434" y="1523"/>
                    </a:lnTo>
                    <a:lnTo>
                      <a:pt x="1436" y="1529"/>
                    </a:lnTo>
                    <a:lnTo>
                      <a:pt x="1428" y="1532"/>
                    </a:lnTo>
                    <a:lnTo>
                      <a:pt x="1427" y="1548"/>
                    </a:lnTo>
                    <a:lnTo>
                      <a:pt x="1413" y="1554"/>
                    </a:lnTo>
                    <a:lnTo>
                      <a:pt x="1413" y="1560"/>
                    </a:lnTo>
                    <a:lnTo>
                      <a:pt x="1418" y="1562"/>
                    </a:lnTo>
                    <a:lnTo>
                      <a:pt x="1419" y="1568"/>
                    </a:lnTo>
                    <a:lnTo>
                      <a:pt x="1440" y="1574"/>
                    </a:lnTo>
                    <a:lnTo>
                      <a:pt x="1452" y="1590"/>
                    </a:lnTo>
                    <a:lnTo>
                      <a:pt x="1463" y="1596"/>
                    </a:lnTo>
                    <a:lnTo>
                      <a:pt x="1466" y="1608"/>
                    </a:lnTo>
                    <a:lnTo>
                      <a:pt x="1472" y="1611"/>
                    </a:lnTo>
                    <a:lnTo>
                      <a:pt x="1482" y="1614"/>
                    </a:lnTo>
                    <a:lnTo>
                      <a:pt x="1485" y="1626"/>
                    </a:lnTo>
                    <a:lnTo>
                      <a:pt x="1490" y="1638"/>
                    </a:lnTo>
                    <a:lnTo>
                      <a:pt x="1490" y="1644"/>
                    </a:lnTo>
                    <a:lnTo>
                      <a:pt x="1494" y="1655"/>
                    </a:lnTo>
                    <a:lnTo>
                      <a:pt x="1496" y="1655"/>
                    </a:lnTo>
                    <a:lnTo>
                      <a:pt x="1500" y="1656"/>
                    </a:lnTo>
                    <a:lnTo>
                      <a:pt x="1526" y="1646"/>
                    </a:lnTo>
                    <a:lnTo>
                      <a:pt x="1533" y="1656"/>
                    </a:lnTo>
                    <a:lnTo>
                      <a:pt x="1532" y="1665"/>
                    </a:lnTo>
                    <a:lnTo>
                      <a:pt x="1532" y="1677"/>
                    </a:lnTo>
                    <a:lnTo>
                      <a:pt x="1547" y="1689"/>
                    </a:lnTo>
                    <a:lnTo>
                      <a:pt x="1562" y="1680"/>
                    </a:lnTo>
                    <a:lnTo>
                      <a:pt x="1566" y="1682"/>
                    </a:lnTo>
                    <a:lnTo>
                      <a:pt x="1577" y="1671"/>
                    </a:lnTo>
                    <a:lnTo>
                      <a:pt x="1578" y="1668"/>
                    </a:lnTo>
                    <a:lnTo>
                      <a:pt x="1583" y="1689"/>
                    </a:lnTo>
                    <a:lnTo>
                      <a:pt x="1580" y="1707"/>
                    </a:lnTo>
                    <a:lnTo>
                      <a:pt x="1590" y="1712"/>
                    </a:lnTo>
                    <a:lnTo>
                      <a:pt x="1586" y="1721"/>
                    </a:lnTo>
                    <a:lnTo>
                      <a:pt x="1593" y="1734"/>
                    </a:lnTo>
                    <a:lnTo>
                      <a:pt x="1598" y="1728"/>
                    </a:lnTo>
                    <a:lnTo>
                      <a:pt x="1607" y="1730"/>
                    </a:lnTo>
                    <a:lnTo>
                      <a:pt x="1602" y="1736"/>
                    </a:lnTo>
                    <a:lnTo>
                      <a:pt x="1608" y="1742"/>
                    </a:lnTo>
                    <a:lnTo>
                      <a:pt x="1622" y="1739"/>
                    </a:lnTo>
                    <a:lnTo>
                      <a:pt x="1628" y="1746"/>
                    </a:lnTo>
                    <a:lnTo>
                      <a:pt x="1638" y="1745"/>
                    </a:lnTo>
                    <a:lnTo>
                      <a:pt x="1644" y="1749"/>
                    </a:lnTo>
                    <a:lnTo>
                      <a:pt x="1643" y="1761"/>
                    </a:lnTo>
                    <a:lnTo>
                      <a:pt x="1641" y="1767"/>
                    </a:lnTo>
                    <a:lnTo>
                      <a:pt x="1655" y="1770"/>
                    </a:lnTo>
                    <a:lnTo>
                      <a:pt x="1659" y="1758"/>
                    </a:lnTo>
                    <a:lnTo>
                      <a:pt x="1668" y="1757"/>
                    </a:lnTo>
                    <a:lnTo>
                      <a:pt x="1671" y="1755"/>
                    </a:lnTo>
                    <a:lnTo>
                      <a:pt x="1676" y="1778"/>
                    </a:lnTo>
                    <a:lnTo>
                      <a:pt x="1671" y="1785"/>
                    </a:lnTo>
                    <a:lnTo>
                      <a:pt x="1670" y="1794"/>
                    </a:lnTo>
                    <a:lnTo>
                      <a:pt x="1664" y="1800"/>
                    </a:lnTo>
                    <a:lnTo>
                      <a:pt x="1659" y="1793"/>
                    </a:lnTo>
                    <a:lnTo>
                      <a:pt x="1650" y="1796"/>
                    </a:lnTo>
                    <a:lnTo>
                      <a:pt x="1649" y="1802"/>
                    </a:lnTo>
                    <a:lnTo>
                      <a:pt x="1628" y="1802"/>
                    </a:lnTo>
                    <a:lnTo>
                      <a:pt x="1613" y="1796"/>
                    </a:lnTo>
                    <a:lnTo>
                      <a:pt x="1608" y="1805"/>
                    </a:lnTo>
                    <a:lnTo>
                      <a:pt x="1613" y="1812"/>
                    </a:lnTo>
                    <a:lnTo>
                      <a:pt x="1622" y="1815"/>
                    </a:lnTo>
                    <a:lnTo>
                      <a:pt x="1635" y="1814"/>
                    </a:lnTo>
                    <a:lnTo>
                      <a:pt x="1634" y="1830"/>
                    </a:lnTo>
                    <a:lnTo>
                      <a:pt x="1634" y="1836"/>
                    </a:lnTo>
                    <a:lnTo>
                      <a:pt x="1626" y="1839"/>
                    </a:lnTo>
                    <a:lnTo>
                      <a:pt x="1617" y="1835"/>
                    </a:lnTo>
                    <a:lnTo>
                      <a:pt x="1611" y="1833"/>
                    </a:lnTo>
                    <a:lnTo>
                      <a:pt x="1608" y="1836"/>
                    </a:lnTo>
                    <a:lnTo>
                      <a:pt x="1607" y="1845"/>
                    </a:lnTo>
                    <a:lnTo>
                      <a:pt x="1599" y="1859"/>
                    </a:lnTo>
                    <a:lnTo>
                      <a:pt x="1602" y="1868"/>
                    </a:lnTo>
                    <a:lnTo>
                      <a:pt x="1617" y="1869"/>
                    </a:lnTo>
                    <a:lnTo>
                      <a:pt x="1626" y="1865"/>
                    </a:lnTo>
                    <a:lnTo>
                      <a:pt x="1629" y="1868"/>
                    </a:lnTo>
                    <a:lnTo>
                      <a:pt x="1632" y="1869"/>
                    </a:lnTo>
                    <a:lnTo>
                      <a:pt x="1631" y="1883"/>
                    </a:lnTo>
                    <a:lnTo>
                      <a:pt x="1641" y="1890"/>
                    </a:lnTo>
                    <a:lnTo>
                      <a:pt x="1656" y="1887"/>
                    </a:lnTo>
                    <a:lnTo>
                      <a:pt x="1656" y="1898"/>
                    </a:lnTo>
                    <a:lnTo>
                      <a:pt x="1655" y="1904"/>
                    </a:lnTo>
                    <a:lnTo>
                      <a:pt x="1653" y="1925"/>
                    </a:lnTo>
                    <a:lnTo>
                      <a:pt x="1662" y="1931"/>
                    </a:lnTo>
                    <a:lnTo>
                      <a:pt x="1661" y="1934"/>
                    </a:lnTo>
                    <a:lnTo>
                      <a:pt x="1658" y="1944"/>
                    </a:lnTo>
                    <a:lnTo>
                      <a:pt x="1649" y="1949"/>
                    </a:lnTo>
                    <a:lnTo>
                      <a:pt x="1638" y="1962"/>
                    </a:lnTo>
                    <a:lnTo>
                      <a:pt x="1634" y="1971"/>
                    </a:lnTo>
                    <a:lnTo>
                      <a:pt x="1650" y="1985"/>
                    </a:lnTo>
                    <a:lnTo>
                      <a:pt x="1641" y="2007"/>
                    </a:lnTo>
                    <a:lnTo>
                      <a:pt x="1665" y="2000"/>
                    </a:lnTo>
                    <a:lnTo>
                      <a:pt x="1679" y="1991"/>
                    </a:lnTo>
                    <a:lnTo>
                      <a:pt x="1706" y="1994"/>
                    </a:lnTo>
                    <a:lnTo>
                      <a:pt x="1697" y="2001"/>
                    </a:lnTo>
                    <a:lnTo>
                      <a:pt x="1698" y="2007"/>
                    </a:lnTo>
                    <a:lnTo>
                      <a:pt x="1715" y="2010"/>
                    </a:lnTo>
                    <a:lnTo>
                      <a:pt x="1727" y="2027"/>
                    </a:lnTo>
                    <a:lnTo>
                      <a:pt x="1716" y="2027"/>
                    </a:lnTo>
                    <a:lnTo>
                      <a:pt x="1706" y="2037"/>
                    </a:lnTo>
                    <a:lnTo>
                      <a:pt x="1686" y="2040"/>
                    </a:lnTo>
                    <a:lnTo>
                      <a:pt x="1692" y="2057"/>
                    </a:lnTo>
                    <a:lnTo>
                      <a:pt x="1676" y="2060"/>
                    </a:lnTo>
                    <a:lnTo>
                      <a:pt x="1673" y="2067"/>
                    </a:lnTo>
                    <a:lnTo>
                      <a:pt x="1653" y="2081"/>
                    </a:lnTo>
                    <a:lnTo>
                      <a:pt x="1662" y="2088"/>
                    </a:lnTo>
                    <a:lnTo>
                      <a:pt x="1661" y="2093"/>
                    </a:lnTo>
                    <a:lnTo>
                      <a:pt x="1662" y="2096"/>
                    </a:lnTo>
                    <a:lnTo>
                      <a:pt x="1662" y="2100"/>
                    </a:lnTo>
                    <a:lnTo>
                      <a:pt x="1670" y="2105"/>
                    </a:lnTo>
                    <a:lnTo>
                      <a:pt x="1670" y="2108"/>
                    </a:lnTo>
                    <a:lnTo>
                      <a:pt x="1665" y="2109"/>
                    </a:lnTo>
                    <a:lnTo>
                      <a:pt x="1664" y="2115"/>
                    </a:lnTo>
                    <a:lnTo>
                      <a:pt x="1658" y="2117"/>
                    </a:lnTo>
                    <a:lnTo>
                      <a:pt x="1655" y="2123"/>
                    </a:lnTo>
                    <a:lnTo>
                      <a:pt x="1643" y="2129"/>
                    </a:lnTo>
                    <a:lnTo>
                      <a:pt x="1629" y="2132"/>
                    </a:lnTo>
                    <a:lnTo>
                      <a:pt x="1617" y="2123"/>
                    </a:lnTo>
                    <a:lnTo>
                      <a:pt x="1613" y="2123"/>
                    </a:lnTo>
                    <a:lnTo>
                      <a:pt x="1607" y="2130"/>
                    </a:lnTo>
                    <a:lnTo>
                      <a:pt x="1616" y="2142"/>
                    </a:lnTo>
                    <a:lnTo>
                      <a:pt x="1620" y="2145"/>
                    </a:lnTo>
                    <a:lnTo>
                      <a:pt x="1631" y="2165"/>
                    </a:lnTo>
                    <a:lnTo>
                      <a:pt x="1629" y="2169"/>
                    </a:lnTo>
                    <a:lnTo>
                      <a:pt x="1632" y="2174"/>
                    </a:lnTo>
                    <a:lnTo>
                      <a:pt x="1631" y="2175"/>
                    </a:lnTo>
                    <a:lnTo>
                      <a:pt x="1620" y="2172"/>
                    </a:lnTo>
                    <a:lnTo>
                      <a:pt x="1605" y="2178"/>
                    </a:lnTo>
                    <a:lnTo>
                      <a:pt x="1601" y="2180"/>
                    </a:lnTo>
                    <a:lnTo>
                      <a:pt x="1590" y="2189"/>
                    </a:lnTo>
                    <a:lnTo>
                      <a:pt x="1593" y="2190"/>
                    </a:lnTo>
                    <a:lnTo>
                      <a:pt x="1593" y="2196"/>
                    </a:lnTo>
                    <a:lnTo>
                      <a:pt x="1599" y="2199"/>
                    </a:lnTo>
                    <a:lnTo>
                      <a:pt x="1599" y="2202"/>
                    </a:lnTo>
                    <a:lnTo>
                      <a:pt x="1598" y="2204"/>
                    </a:lnTo>
                    <a:lnTo>
                      <a:pt x="1607" y="2217"/>
                    </a:lnTo>
                    <a:lnTo>
                      <a:pt x="1607" y="2223"/>
                    </a:lnTo>
                    <a:lnTo>
                      <a:pt x="1602" y="2237"/>
                    </a:lnTo>
                    <a:lnTo>
                      <a:pt x="1596" y="2238"/>
                    </a:lnTo>
                    <a:lnTo>
                      <a:pt x="1598" y="2243"/>
                    </a:lnTo>
                    <a:lnTo>
                      <a:pt x="1595" y="2249"/>
                    </a:lnTo>
                    <a:lnTo>
                      <a:pt x="1611" y="2253"/>
                    </a:lnTo>
                    <a:lnTo>
                      <a:pt x="1602" y="2261"/>
                    </a:lnTo>
                    <a:lnTo>
                      <a:pt x="1619" y="2262"/>
                    </a:lnTo>
                    <a:lnTo>
                      <a:pt x="1613" y="2276"/>
                    </a:lnTo>
                    <a:lnTo>
                      <a:pt x="1613" y="2291"/>
                    </a:lnTo>
                    <a:lnTo>
                      <a:pt x="1607" y="2292"/>
                    </a:lnTo>
                    <a:lnTo>
                      <a:pt x="1605" y="2289"/>
                    </a:lnTo>
                    <a:lnTo>
                      <a:pt x="1593" y="2288"/>
                    </a:lnTo>
                    <a:lnTo>
                      <a:pt x="1583" y="2279"/>
                    </a:lnTo>
                    <a:lnTo>
                      <a:pt x="1572" y="2288"/>
                    </a:lnTo>
                    <a:lnTo>
                      <a:pt x="1571" y="2304"/>
                    </a:lnTo>
                    <a:lnTo>
                      <a:pt x="1575" y="2307"/>
                    </a:lnTo>
                    <a:lnTo>
                      <a:pt x="1571" y="2312"/>
                    </a:lnTo>
                    <a:lnTo>
                      <a:pt x="1566" y="2310"/>
                    </a:lnTo>
                    <a:lnTo>
                      <a:pt x="1565" y="2304"/>
                    </a:lnTo>
                    <a:lnTo>
                      <a:pt x="1559" y="2310"/>
                    </a:lnTo>
                    <a:lnTo>
                      <a:pt x="1551" y="2310"/>
                    </a:lnTo>
                    <a:lnTo>
                      <a:pt x="1539" y="2310"/>
                    </a:lnTo>
                    <a:lnTo>
                      <a:pt x="1530" y="2306"/>
                    </a:lnTo>
                    <a:lnTo>
                      <a:pt x="1527" y="2310"/>
                    </a:lnTo>
                    <a:lnTo>
                      <a:pt x="1521" y="2309"/>
                    </a:lnTo>
                    <a:lnTo>
                      <a:pt x="1521" y="2306"/>
                    </a:lnTo>
                    <a:lnTo>
                      <a:pt x="1512" y="2307"/>
                    </a:lnTo>
                    <a:lnTo>
                      <a:pt x="1509" y="2301"/>
                    </a:lnTo>
                    <a:lnTo>
                      <a:pt x="1499" y="2303"/>
                    </a:lnTo>
                    <a:lnTo>
                      <a:pt x="1491" y="2310"/>
                    </a:lnTo>
                    <a:lnTo>
                      <a:pt x="1484" y="2321"/>
                    </a:lnTo>
                    <a:lnTo>
                      <a:pt x="1470" y="2318"/>
                    </a:lnTo>
                    <a:lnTo>
                      <a:pt x="1460" y="2315"/>
                    </a:lnTo>
                    <a:lnTo>
                      <a:pt x="1454" y="2316"/>
                    </a:lnTo>
                    <a:lnTo>
                      <a:pt x="1442" y="2321"/>
                    </a:lnTo>
                    <a:lnTo>
                      <a:pt x="1437" y="2312"/>
                    </a:lnTo>
                    <a:lnTo>
                      <a:pt x="1430" y="2313"/>
                    </a:lnTo>
                    <a:lnTo>
                      <a:pt x="1428" y="2309"/>
                    </a:lnTo>
                    <a:lnTo>
                      <a:pt x="1418" y="2306"/>
                    </a:lnTo>
                    <a:lnTo>
                      <a:pt x="1413" y="2313"/>
                    </a:lnTo>
                    <a:lnTo>
                      <a:pt x="1406" y="2312"/>
                    </a:lnTo>
                    <a:lnTo>
                      <a:pt x="1398" y="2315"/>
                    </a:lnTo>
                    <a:lnTo>
                      <a:pt x="1392" y="2309"/>
                    </a:lnTo>
                    <a:lnTo>
                      <a:pt x="1376" y="2316"/>
                    </a:lnTo>
                    <a:lnTo>
                      <a:pt x="1367" y="2331"/>
                    </a:lnTo>
                    <a:lnTo>
                      <a:pt x="1365" y="2336"/>
                    </a:lnTo>
                    <a:lnTo>
                      <a:pt x="1364" y="2330"/>
                    </a:lnTo>
                    <a:lnTo>
                      <a:pt x="1358" y="2328"/>
                    </a:lnTo>
                    <a:lnTo>
                      <a:pt x="1353" y="2328"/>
                    </a:lnTo>
                    <a:lnTo>
                      <a:pt x="1350" y="2322"/>
                    </a:lnTo>
                    <a:lnTo>
                      <a:pt x="1334" y="2327"/>
                    </a:lnTo>
                    <a:lnTo>
                      <a:pt x="1322" y="2327"/>
                    </a:lnTo>
                    <a:lnTo>
                      <a:pt x="1314" y="2342"/>
                    </a:lnTo>
                    <a:lnTo>
                      <a:pt x="1314" y="2352"/>
                    </a:lnTo>
                    <a:lnTo>
                      <a:pt x="1319" y="2358"/>
                    </a:lnTo>
                    <a:lnTo>
                      <a:pt x="1295" y="2385"/>
                    </a:lnTo>
                    <a:lnTo>
                      <a:pt x="1298" y="2388"/>
                    </a:lnTo>
                    <a:lnTo>
                      <a:pt x="1304" y="2390"/>
                    </a:lnTo>
                    <a:lnTo>
                      <a:pt x="1305" y="2393"/>
                    </a:lnTo>
                    <a:lnTo>
                      <a:pt x="1298" y="2397"/>
                    </a:lnTo>
                    <a:lnTo>
                      <a:pt x="1307" y="2409"/>
                    </a:lnTo>
                    <a:lnTo>
                      <a:pt x="1304" y="2421"/>
                    </a:lnTo>
                    <a:lnTo>
                      <a:pt x="1304" y="2423"/>
                    </a:lnTo>
                    <a:lnTo>
                      <a:pt x="1317" y="2423"/>
                    </a:lnTo>
                    <a:lnTo>
                      <a:pt x="1325" y="2426"/>
                    </a:lnTo>
                    <a:lnTo>
                      <a:pt x="1325" y="2442"/>
                    </a:lnTo>
                    <a:lnTo>
                      <a:pt x="1319" y="2451"/>
                    </a:lnTo>
                    <a:lnTo>
                      <a:pt x="1310" y="2453"/>
                    </a:lnTo>
                    <a:lnTo>
                      <a:pt x="1298" y="2477"/>
                    </a:lnTo>
                    <a:lnTo>
                      <a:pt x="1286" y="2499"/>
                    </a:lnTo>
                    <a:lnTo>
                      <a:pt x="1281" y="2502"/>
                    </a:lnTo>
                    <a:lnTo>
                      <a:pt x="1275" y="2499"/>
                    </a:lnTo>
                    <a:lnTo>
                      <a:pt x="1263" y="2502"/>
                    </a:lnTo>
                    <a:lnTo>
                      <a:pt x="1263" y="2514"/>
                    </a:lnTo>
                    <a:lnTo>
                      <a:pt x="1253" y="2517"/>
                    </a:lnTo>
                    <a:lnTo>
                      <a:pt x="1233" y="2532"/>
                    </a:lnTo>
                    <a:lnTo>
                      <a:pt x="1233" y="2552"/>
                    </a:lnTo>
                    <a:lnTo>
                      <a:pt x="1206" y="2556"/>
                    </a:lnTo>
                    <a:lnTo>
                      <a:pt x="1178" y="2562"/>
                    </a:lnTo>
                    <a:lnTo>
                      <a:pt x="1167" y="2577"/>
                    </a:lnTo>
                    <a:lnTo>
                      <a:pt x="1143" y="2589"/>
                    </a:lnTo>
                    <a:lnTo>
                      <a:pt x="1127" y="2588"/>
                    </a:lnTo>
                    <a:lnTo>
                      <a:pt x="1125" y="2579"/>
                    </a:lnTo>
                    <a:lnTo>
                      <a:pt x="1125" y="2565"/>
                    </a:lnTo>
                    <a:lnTo>
                      <a:pt x="1136" y="2553"/>
                    </a:lnTo>
                    <a:lnTo>
                      <a:pt x="1134" y="2550"/>
                    </a:lnTo>
                    <a:lnTo>
                      <a:pt x="1112" y="2549"/>
                    </a:lnTo>
                    <a:lnTo>
                      <a:pt x="1079" y="2552"/>
                    </a:lnTo>
                    <a:lnTo>
                      <a:pt x="1077" y="2556"/>
                    </a:lnTo>
                    <a:lnTo>
                      <a:pt x="1089" y="2567"/>
                    </a:lnTo>
                    <a:lnTo>
                      <a:pt x="1092" y="2574"/>
                    </a:lnTo>
                    <a:lnTo>
                      <a:pt x="1064" y="2582"/>
                    </a:lnTo>
                    <a:lnTo>
                      <a:pt x="1050" y="2597"/>
                    </a:lnTo>
                    <a:lnTo>
                      <a:pt x="1023" y="2601"/>
                    </a:lnTo>
                    <a:lnTo>
                      <a:pt x="1002" y="2582"/>
                    </a:lnTo>
                    <a:lnTo>
                      <a:pt x="998" y="2579"/>
                    </a:lnTo>
                    <a:lnTo>
                      <a:pt x="981" y="2582"/>
                    </a:lnTo>
                    <a:lnTo>
                      <a:pt x="971" y="2591"/>
                    </a:lnTo>
                    <a:lnTo>
                      <a:pt x="948" y="2588"/>
                    </a:lnTo>
                    <a:lnTo>
                      <a:pt x="944" y="2576"/>
                    </a:lnTo>
                    <a:lnTo>
                      <a:pt x="920" y="2577"/>
                    </a:lnTo>
                    <a:lnTo>
                      <a:pt x="899" y="2595"/>
                    </a:lnTo>
                    <a:lnTo>
                      <a:pt x="873" y="2594"/>
                    </a:lnTo>
                    <a:lnTo>
                      <a:pt x="852" y="2598"/>
                    </a:lnTo>
                    <a:lnTo>
                      <a:pt x="849" y="2594"/>
                    </a:lnTo>
                    <a:lnTo>
                      <a:pt x="851" y="2589"/>
                    </a:lnTo>
                    <a:lnTo>
                      <a:pt x="867" y="2559"/>
                    </a:lnTo>
                    <a:lnTo>
                      <a:pt x="873" y="2552"/>
                    </a:lnTo>
                    <a:lnTo>
                      <a:pt x="894" y="2559"/>
                    </a:lnTo>
                    <a:lnTo>
                      <a:pt x="902" y="2550"/>
                    </a:lnTo>
                    <a:lnTo>
                      <a:pt x="896" y="2532"/>
                    </a:lnTo>
                    <a:lnTo>
                      <a:pt x="902" y="2520"/>
                    </a:lnTo>
                    <a:lnTo>
                      <a:pt x="908" y="2511"/>
                    </a:lnTo>
                    <a:lnTo>
                      <a:pt x="902" y="2493"/>
                    </a:lnTo>
                    <a:lnTo>
                      <a:pt x="900" y="2481"/>
                    </a:lnTo>
                    <a:lnTo>
                      <a:pt x="896" y="2477"/>
                    </a:lnTo>
                    <a:lnTo>
                      <a:pt x="894" y="2465"/>
                    </a:lnTo>
                    <a:lnTo>
                      <a:pt x="872" y="2459"/>
                    </a:lnTo>
                    <a:lnTo>
                      <a:pt x="864" y="2445"/>
                    </a:lnTo>
                    <a:lnTo>
                      <a:pt x="855" y="2453"/>
                    </a:lnTo>
                    <a:lnTo>
                      <a:pt x="849" y="2450"/>
                    </a:lnTo>
                    <a:lnTo>
                      <a:pt x="840" y="2448"/>
                    </a:lnTo>
                    <a:lnTo>
                      <a:pt x="830" y="2441"/>
                    </a:lnTo>
                    <a:lnTo>
                      <a:pt x="830" y="2432"/>
                    </a:lnTo>
                    <a:lnTo>
                      <a:pt x="825" y="2420"/>
                    </a:lnTo>
                    <a:lnTo>
                      <a:pt x="830" y="2406"/>
                    </a:lnTo>
                    <a:lnTo>
                      <a:pt x="828" y="2397"/>
                    </a:lnTo>
                    <a:lnTo>
                      <a:pt x="816" y="2382"/>
                    </a:lnTo>
                    <a:lnTo>
                      <a:pt x="807" y="2367"/>
                    </a:lnTo>
                    <a:lnTo>
                      <a:pt x="800" y="2358"/>
                    </a:lnTo>
                    <a:lnTo>
                      <a:pt x="803" y="2352"/>
                    </a:lnTo>
                    <a:lnTo>
                      <a:pt x="821" y="2348"/>
                    </a:lnTo>
                    <a:lnTo>
                      <a:pt x="836" y="2348"/>
                    </a:lnTo>
                    <a:lnTo>
                      <a:pt x="830" y="2336"/>
                    </a:lnTo>
                    <a:lnTo>
                      <a:pt x="834" y="2330"/>
                    </a:lnTo>
                    <a:lnTo>
                      <a:pt x="839" y="2330"/>
                    </a:lnTo>
                    <a:lnTo>
                      <a:pt x="840" y="2324"/>
                    </a:lnTo>
                    <a:lnTo>
                      <a:pt x="831" y="2319"/>
                    </a:lnTo>
                    <a:lnTo>
                      <a:pt x="842" y="2312"/>
                    </a:lnTo>
                    <a:lnTo>
                      <a:pt x="845" y="2315"/>
                    </a:lnTo>
                    <a:lnTo>
                      <a:pt x="845" y="2307"/>
                    </a:lnTo>
                    <a:lnTo>
                      <a:pt x="861" y="2304"/>
                    </a:lnTo>
                    <a:lnTo>
                      <a:pt x="870" y="2295"/>
                    </a:lnTo>
                    <a:lnTo>
                      <a:pt x="864" y="2286"/>
                    </a:lnTo>
                    <a:lnTo>
                      <a:pt x="873" y="2280"/>
                    </a:lnTo>
                    <a:lnTo>
                      <a:pt x="884" y="2280"/>
                    </a:lnTo>
                    <a:lnTo>
                      <a:pt x="890" y="2283"/>
                    </a:lnTo>
                    <a:lnTo>
                      <a:pt x="906" y="2270"/>
                    </a:lnTo>
                    <a:lnTo>
                      <a:pt x="920" y="2271"/>
                    </a:lnTo>
                    <a:lnTo>
                      <a:pt x="918" y="2268"/>
                    </a:lnTo>
                    <a:lnTo>
                      <a:pt x="905" y="2256"/>
                    </a:lnTo>
                    <a:lnTo>
                      <a:pt x="900" y="2246"/>
                    </a:lnTo>
                    <a:lnTo>
                      <a:pt x="890" y="2241"/>
                    </a:lnTo>
                    <a:lnTo>
                      <a:pt x="890" y="2231"/>
                    </a:lnTo>
                    <a:lnTo>
                      <a:pt x="887" y="2228"/>
                    </a:lnTo>
                    <a:lnTo>
                      <a:pt x="891" y="2219"/>
                    </a:lnTo>
                    <a:lnTo>
                      <a:pt x="887" y="2213"/>
                    </a:lnTo>
                    <a:lnTo>
                      <a:pt x="887" y="2208"/>
                    </a:lnTo>
                    <a:lnTo>
                      <a:pt x="890" y="2207"/>
                    </a:lnTo>
                    <a:lnTo>
                      <a:pt x="890" y="2198"/>
                    </a:lnTo>
                    <a:lnTo>
                      <a:pt x="891" y="2193"/>
                    </a:lnTo>
                    <a:lnTo>
                      <a:pt x="885" y="2186"/>
                    </a:lnTo>
                    <a:lnTo>
                      <a:pt x="888" y="2184"/>
                    </a:lnTo>
                    <a:lnTo>
                      <a:pt x="888" y="2180"/>
                    </a:lnTo>
                    <a:lnTo>
                      <a:pt x="894" y="2175"/>
                    </a:lnTo>
                    <a:lnTo>
                      <a:pt x="896" y="2166"/>
                    </a:lnTo>
                    <a:lnTo>
                      <a:pt x="899" y="2156"/>
                    </a:lnTo>
                    <a:lnTo>
                      <a:pt x="893" y="2151"/>
                    </a:lnTo>
                    <a:lnTo>
                      <a:pt x="890" y="2147"/>
                    </a:lnTo>
                    <a:lnTo>
                      <a:pt x="893" y="2144"/>
                    </a:lnTo>
                    <a:lnTo>
                      <a:pt x="893" y="2142"/>
                    </a:lnTo>
                    <a:lnTo>
                      <a:pt x="885" y="2142"/>
                    </a:lnTo>
                    <a:lnTo>
                      <a:pt x="885" y="2132"/>
                    </a:lnTo>
                    <a:lnTo>
                      <a:pt x="894" y="2115"/>
                    </a:lnTo>
                    <a:lnTo>
                      <a:pt x="888" y="2114"/>
                    </a:lnTo>
                    <a:lnTo>
                      <a:pt x="887" y="2112"/>
                    </a:lnTo>
                    <a:lnTo>
                      <a:pt x="903" y="2088"/>
                    </a:lnTo>
                    <a:lnTo>
                      <a:pt x="903" y="2082"/>
                    </a:lnTo>
                    <a:lnTo>
                      <a:pt x="912" y="2081"/>
                    </a:lnTo>
                    <a:lnTo>
                      <a:pt x="912" y="2078"/>
                    </a:lnTo>
                    <a:lnTo>
                      <a:pt x="906" y="2076"/>
                    </a:lnTo>
                    <a:lnTo>
                      <a:pt x="903" y="2064"/>
                    </a:lnTo>
                    <a:lnTo>
                      <a:pt x="914" y="2058"/>
                    </a:lnTo>
                    <a:lnTo>
                      <a:pt x="920" y="2054"/>
                    </a:lnTo>
                    <a:lnTo>
                      <a:pt x="921" y="2033"/>
                    </a:lnTo>
                    <a:lnTo>
                      <a:pt x="909" y="2030"/>
                    </a:lnTo>
                    <a:lnTo>
                      <a:pt x="911" y="2021"/>
                    </a:lnTo>
                    <a:lnTo>
                      <a:pt x="906" y="2021"/>
                    </a:lnTo>
                    <a:lnTo>
                      <a:pt x="900" y="2013"/>
                    </a:lnTo>
                    <a:lnTo>
                      <a:pt x="903" y="2010"/>
                    </a:lnTo>
                    <a:lnTo>
                      <a:pt x="911" y="2009"/>
                    </a:lnTo>
                    <a:lnTo>
                      <a:pt x="914" y="2009"/>
                    </a:lnTo>
                    <a:lnTo>
                      <a:pt x="921" y="2007"/>
                    </a:lnTo>
                    <a:lnTo>
                      <a:pt x="920" y="2000"/>
                    </a:lnTo>
                    <a:lnTo>
                      <a:pt x="923" y="1991"/>
                    </a:lnTo>
                    <a:lnTo>
                      <a:pt x="926" y="1986"/>
                    </a:lnTo>
                    <a:lnTo>
                      <a:pt x="915" y="1980"/>
                    </a:lnTo>
                    <a:lnTo>
                      <a:pt x="918" y="1977"/>
                    </a:lnTo>
                    <a:lnTo>
                      <a:pt x="915" y="1973"/>
                    </a:lnTo>
                    <a:lnTo>
                      <a:pt x="920" y="1971"/>
                    </a:lnTo>
                    <a:lnTo>
                      <a:pt x="927" y="1962"/>
                    </a:lnTo>
                    <a:lnTo>
                      <a:pt x="929" y="1965"/>
                    </a:lnTo>
                    <a:lnTo>
                      <a:pt x="932" y="1958"/>
                    </a:lnTo>
                    <a:lnTo>
                      <a:pt x="935" y="1958"/>
                    </a:lnTo>
                    <a:lnTo>
                      <a:pt x="941" y="1968"/>
                    </a:lnTo>
                    <a:lnTo>
                      <a:pt x="945" y="1967"/>
                    </a:lnTo>
                    <a:lnTo>
                      <a:pt x="944" y="1959"/>
                    </a:lnTo>
                    <a:lnTo>
                      <a:pt x="947" y="1956"/>
                    </a:lnTo>
                    <a:lnTo>
                      <a:pt x="956" y="1956"/>
                    </a:lnTo>
                    <a:lnTo>
                      <a:pt x="953" y="1949"/>
                    </a:lnTo>
                    <a:lnTo>
                      <a:pt x="951" y="1941"/>
                    </a:lnTo>
                    <a:lnTo>
                      <a:pt x="948" y="1937"/>
                    </a:lnTo>
                    <a:lnTo>
                      <a:pt x="953" y="1931"/>
                    </a:lnTo>
                    <a:lnTo>
                      <a:pt x="951" y="1931"/>
                    </a:lnTo>
                    <a:lnTo>
                      <a:pt x="942" y="1925"/>
                    </a:lnTo>
                    <a:lnTo>
                      <a:pt x="942" y="1920"/>
                    </a:lnTo>
                    <a:lnTo>
                      <a:pt x="948" y="1919"/>
                    </a:lnTo>
                    <a:lnTo>
                      <a:pt x="951" y="1908"/>
                    </a:lnTo>
                    <a:lnTo>
                      <a:pt x="963" y="1895"/>
                    </a:lnTo>
                    <a:lnTo>
                      <a:pt x="965" y="1890"/>
                    </a:lnTo>
                    <a:lnTo>
                      <a:pt x="959" y="1883"/>
                    </a:lnTo>
                    <a:lnTo>
                      <a:pt x="971" y="1871"/>
                    </a:lnTo>
                    <a:lnTo>
                      <a:pt x="966" y="1863"/>
                    </a:lnTo>
                    <a:lnTo>
                      <a:pt x="981" y="1859"/>
                    </a:lnTo>
                    <a:lnTo>
                      <a:pt x="974" y="1845"/>
                    </a:lnTo>
                    <a:lnTo>
                      <a:pt x="963" y="1848"/>
                    </a:lnTo>
                    <a:lnTo>
                      <a:pt x="959" y="1839"/>
                    </a:lnTo>
                    <a:lnTo>
                      <a:pt x="969" y="1823"/>
                    </a:lnTo>
                    <a:lnTo>
                      <a:pt x="962" y="1815"/>
                    </a:lnTo>
                    <a:lnTo>
                      <a:pt x="962" y="1805"/>
                    </a:lnTo>
                    <a:lnTo>
                      <a:pt x="965" y="1802"/>
                    </a:lnTo>
                    <a:lnTo>
                      <a:pt x="966" y="1797"/>
                    </a:lnTo>
                    <a:lnTo>
                      <a:pt x="962" y="1785"/>
                    </a:lnTo>
                    <a:lnTo>
                      <a:pt x="960" y="1785"/>
                    </a:lnTo>
                    <a:lnTo>
                      <a:pt x="959" y="1776"/>
                    </a:lnTo>
                    <a:lnTo>
                      <a:pt x="948" y="1757"/>
                    </a:lnTo>
                    <a:lnTo>
                      <a:pt x="954" y="1752"/>
                    </a:lnTo>
                    <a:lnTo>
                      <a:pt x="959" y="1742"/>
                    </a:lnTo>
                    <a:lnTo>
                      <a:pt x="944" y="1739"/>
                    </a:lnTo>
                    <a:lnTo>
                      <a:pt x="944" y="1722"/>
                    </a:lnTo>
                    <a:lnTo>
                      <a:pt x="936" y="1719"/>
                    </a:lnTo>
                    <a:lnTo>
                      <a:pt x="938" y="1712"/>
                    </a:lnTo>
                    <a:lnTo>
                      <a:pt x="960" y="1704"/>
                    </a:lnTo>
                    <a:lnTo>
                      <a:pt x="957" y="1698"/>
                    </a:lnTo>
                    <a:lnTo>
                      <a:pt x="963" y="1692"/>
                    </a:lnTo>
                    <a:lnTo>
                      <a:pt x="962" y="1673"/>
                    </a:lnTo>
                    <a:lnTo>
                      <a:pt x="971" y="1668"/>
                    </a:lnTo>
                    <a:lnTo>
                      <a:pt x="972" y="1658"/>
                    </a:lnTo>
                    <a:lnTo>
                      <a:pt x="965" y="1653"/>
                    </a:lnTo>
                    <a:lnTo>
                      <a:pt x="963" y="1641"/>
                    </a:lnTo>
                    <a:lnTo>
                      <a:pt x="941" y="1610"/>
                    </a:lnTo>
                    <a:lnTo>
                      <a:pt x="953" y="1608"/>
                    </a:lnTo>
                    <a:lnTo>
                      <a:pt x="953" y="1601"/>
                    </a:lnTo>
                    <a:lnTo>
                      <a:pt x="950" y="1584"/>
                    </a:lnTo>
                    <a:lnTo>
                      <a:pt x="947" y="1580"/>
                    </a:lnTo>
                    <a:lnTo>
                      <a:pt x="944" y="1571"/>
                    </a:lnTo>
                    <a:lnTo>
                      <a:pt x="929" y="1572"/>
                    </a:lnTo>
                    <a:lnTo>
                      <a:pt x="927" y="1565"/>
                    </a:lnTo>
                    <a:lnTo>
                      <a:pt x="921" y="1569"/>
                    </a:lnTo>
                    <a:lnTo>
                      <a:pt x="917" y="1560"/>
                    </a:lnTo>
                    <a:lnTo>
                      <a:pt x="920" y="1554"/>
                    </a:lnTo>
                    <a:lnTo>
                      <a:pt x="926" y="1554"/>
                    </a:lnTo>
                    <a:lnTo>
                      <a:pt x="941" y="1551"/>
                    </a:lnTo>
                    <a:lnTo>
                      <a:pt x="944" y="1535"/>
                    </a:lnTo>
                    <a:lnTo>
                      <a:pt x="947" y="1533"/>
                    </a:lnTo>
                    <a:lnTo>
                      <a:pt x="953" y="1527"/>
                    </a:lnTo>
                    <a:lnTo>
                      <a:pt x="960" y="1526"/>
                    </a:lnTo>
                    <a:lnTo>
                      <a:pt x="954" y="1521"/>
                    </a:lnTo>
                    <a:lnTo>
                      <a:pt x="956" y="1515"/>
                    </a:lnTo>
                    <a:lnTo>
                      <a:pt x="945" y="1518"/>
                    </a:lnTo>
                    <a:lnTo>
                      <a:pt x="945" y="1512"/>
                    </a:lnTo>
                    <a:lnTo>
                      <a:pt x="957" y="1499"/>
                    </a:lnTo>
                    <a:lnTo>
                      <a:pt x="959" y="1491"/>
                    </a:lnTo>
                    <a:lnTo>
                      <a:pt x="953" y="1491"/>
                    </a:lnTo>
                    <a:lnTo>
                      <a:pt x="950" y="1478"/>
                    </a:lnTo>
                    <a:lnTo>
                      <a:pt x="939" y="1466"/>
                    </a:lnTo>
                    <a:lnTo>
                      <a:pt x="938" y="1455"/>
                    </a:lnTo>
                    <a:lnTo>
                      <a:pt x="936" y="1440"/>
                    </a:lnTo>
                    <a:lnTo>
                      <a:pt x="927" y="1443"/>
                    </a:lnTo>
                    <a:lnTo>
                      <a:pt x="924" y="1449"/>
                    </a:lnTo>
                    <a:lnTo>
                      <a:pt x="920" y="1449"/>
                    </a:lnTo>
                    <a:lnTo>
                      <a:pt x="920" y="1443"/>
                    </a:lnTo>
                    <a:lnTo>
                      <a:pt x="914" y="1448"/>
                    </a:lnTo>
                    <a:lnTo>
                      <a:pt x="914" y="1466"/>
                    </a:lnTo>
                    <a:lnTo>
                      <a:pt x="909" y="1466"/>
                    </a:lnTo>
                    <a:lnTo>
                      <a:pt x="896" y="1464"/>
                    </a:lnTo>
                    <a:lnTo>
                      <a:pt x="893" y="1464"/>
                    </a:lnTo>
                    <a:lnTo>
                      <a:pt x="881" y="1460"/>
                    </a:lnTo>
                    <a:lnTo>
                      <a:pt x="882" y="1455"/>
                    </a:lnTo>
                    <a:lnTo>
                      <a:pt x="890" y="1449"/>
                    </a:lnTo>
                    <a:lnTo>
                      <a:pt x="887" y="1445"/>
                    </a:lnTo>
                    <a:lnTo>
                      <a:pt x="872" y="1434"/>
                    </a:lnTo>
                    <a:lnTo>
                      <a:pt x="857" y="1425"/>
                    </a:lnTo>
                    <a:lnTo>
                      <a:pt x="857" y="1422"/>
                    </a:lnTo>
                    <a:lnTo>
                      <a:pt x="839" y="1430"/>
                    </a:lnTo>
                    <a:lnTo>
                      <a:pt x="839" y="1422"/>
                    </a:lnTo>
                    <a:lnTo>
                      <a:pt x="842" y="1416"/>
                    </a:lnTo>
                    <a:lnTo>
                      <a:pt x="824" y="1412"/>
                    </a:lnTo>
                    <a:lnTo>
                      <a:pt x="821" y="1409"/>
                    </a:lnTo>
                    <a:lnTo>
                      <a:pt x="804" y="1412"/>
                    </a:lnTo>
                    <a:lnTo>
                      <a:pt x="791" y="1401"/>
                    </a:lnTo>
                    <a:lnTo>
                      <a:pt x="786" y="1401"/>
                    </a:lnTo>
                    <a:lnTo>
                      <a:pt x="777" y="1415"/>
                    </a:lnTo>
                    <a:lnTo>
                      <a:pt x="759" y="1389"/>
                    </a:lnTo>
                    <a:lnTo>
                      <a:pt x="747" y="1377"/>
                    </a:lnTo>
                    <a:lnTo>
                      <a:pt x="746" y="1371"/>
                    </a:lnTo>
                    <a:lnTo>
                      <a:pt x="737" y="1370"/>
                    </a:lnTo>
                    <a:lnTo>
                      <a:pt x="731" y="1373"/>
                    </a:lnTo>
                    <a:lnTo>
                      <a:pt x="722" y="1386"/>
                    </a:lnTo>
                    <a:lnTo>
                      <a:pt x="716" y="1398"/>
                    </a:lnTo>
                    <a:lnTo>
                      <a:pt x="701" y="1403"/>
                    </a:lnTo>
                    <a:lnTo>
                      <a:pt x="693" y="1407"/>
                    </a:lnTo>
                    <a:lnTo>
                      <a:pt x="683" y="1409"/>
                    </a:lnTo>
                    <a:lnTo>
                      <a:pt x="674" y="1409"/>
                    </a:lnTo>
                    <a:lnTo>
                      <a:pt x="663" y="1406"/>
                    </a:lnTo>
                    <a:lnTo>
                      <a:pt x="669" y="1395"/>
                    </a:lnTo>
                    <a:lnTo>
                      <a:pt x="675" y="1392"/>
                    </a:lnTo>
                    <a:lnTo>
                      <a:pt x="662" y="1377"/>
                    </a:lnTo>
                    <a:lnTo>
                      <a:pt x="659" y="1382"/>
                    </a:lnTo>
                    <a:lnTo>
                      <a:pt x="642" y="1385"/>
                    </a:lnTo>
                    <a:lnTo>
                      <a:pt x="632" y="1380"/>
                    </a:lnTo>
                    <a:lnTo>
                      <a:pt x="632" y="1386"/>
                    </a:lnTo>
                    <a:lnTo>
                      <a:pt x="624" y="1394"/>
                    </a:lnTo>
                    <a:lnTo>
                      <a:pt x="620" y="1392"/>
                    </a:lnTo>
                    <a:lnTo>
                      <a:pt x="617" y="1385"/>
                    </a:lnTo>
                    <a:lnTo>
                      <a:pt x="621" y="1377"/>
                    </a:lnTo>
                    <a:lnTo>
                      <a:pt x="609" y="1373"/>
                    </a:lnTo>
                    <a:lnTo>
                      <a:pt x="609" y="1370"/>
                    </a:lnTo>
                    <a:lnTo>
                      <a:pt x="603" y="1370"/>
                    </a:lnTo>
                    <a:lnTo>
                      <a:pt x="602" y="1379"/>
                    </a:lnTo>
                    <a:lnTo>
                      <a:pt x="599" y="1379"/>
                    </a:lnTo>
                    <a:lnTo>
                      <a:pt x="597" y="1365"/>
                    </a:lnTo>
                    <a:lnTo>
                      <a:pt x="591" y="1362"/>
                    </a:lnTo>
                    <a:lnTo>
                      <a:pt x="581" y="1370"/>
                    </a:lnTo>
                    <a:lnTo>
                      <a:pt x="576" y="1365"/>
                    </a:lnTo>
                    <a:lnTo>
                      <a:pt x="566" y="1365"/>
                    </a:lnTo>
                    <a:lnTo>
                      <a:pt x="563" y="1362"/>
                    </a:lnTo>
                    <a:lnTo>
                      <a:pt x="563" y="1346"/>
                    </a:lnTo>
                    <a:lnTo>
                      <a:pt x="555" y="1349"/>
                    </a:lnTo>
                    <a:lnTo>
                      <a:pt x="554" y="1344"/>
                    </a:lnTo>
                    <a:lnTo>
                      <a:pt x="551" y="1346"/>
                    </a:lnTo>
                    <a:lnTo>
                      <a:pt x="549" y="1350"/>
                    </a:lnTo>
                    <a:lnTo>
                      <a:pt x="528" y="1356"/>
                    </a:lnTo>
                    <a:lnTo>
                      <a:pt x="521" y="1364"/>
                    </a:lnTo>
                    <a:lnTo>
                      <a:pt x="516" y="1367"/>
                    </a:lnTo>
                    <a:lnTo>
                      <a:pt x="509" y="1367"/>
                    </a:lnTo>
                    <a:lnTo>
                      <a:pt x="492" y="1383"/>
                    </a:lnTo>
                    <a:lnTo>
                      <a:pt x="488" y="1382"/>
                    </a:lnTo>
                    <a:lnTo>
                      <a:pt x="486" y="1380"/>
                    </a:lnTo>
                    <a:lnTo>
                      <a:pt x="471" y="1373"/>
                    </a:lnTo>
                    <a:lnTo>
                      <a:pt x="462" y="1383"/>
                    </a:lnTo>
                    <a:lnTo>
                      <a:pt x="453" y="1389"/>
                    </a:lnTo>
                    <a:lnTo>
                      <a:pt x="441" y="1389"/>
                    </a:lnTo>
                    <a:lnTo>
                      <a:pt x="438" y="1383"/>
                    </a:lnTo>
                    <a:lnTo>
                      <a:pt x="405" y="1397"/>
                    </a:lnTo>
                    <a:lnTo>
                      <a:pt x="399" y="1398"/>
                    </a:lnTo>
                    <a:lnTo>
                      <a:pt x="398" y="1397"/>
                    </a:lnTo>
                    <a:lnTo>
                      <a:pt x="395" y="1383"/>
                    </a:lnTo>
                    <a:lnTo>
                      <a:pt x="380" y="1388"/>
                    </a:lnTo>
                    <a:lnTo>
                      <a:pt x="378" y="1386"/>
                    </a:lnTo>
                    <a:lnTo>
                      <a:pt x="368" y="1386"/>
                    </a:lnTo>
                    <a:lnTo>
                      <a:pt x="365" y="1392"/>
                    </a:lnTo>
                    <a:lnTo>
                      <a:pt x="360" y="1392"/>
                    </a:lnTo>
                    <a:lnTo>
                      <a:pt x="362" y="1383"/>
                    </a:lnTo>
                    <a:lnTo>
                      <a:pt x="356" y="1379"/>
                    </a:lnTo>
                    <a:lnTo>
                      <a:pt x="344" y="1383"/>
                    </a:lnTo>
                    <a:lnTo>
                      <a:pt x="345" y="1380"/>
                    </a:lnTo>
                    <a:lnTo>
                      <a:pt x="336" y="1377"/>
                    </a:lnTo>
                    <a:lnTo>
                      <a:pt x="336" y="1373"/>
                    </a:lnTo>
                    <a:lnTo>
                      <a:pt x="330" y="1371"/>
                    </a:lnTo>
                    <a:lnTo>
                      <a:pt x="329" y="1379"/>
                    </a:lnTo>
                    <a:lnTo>
                      <a:pt x="326" y="1374"/>
                    </a:lnTo>
                    <a:lnTo>
                      <a:pt x="320" y="1371"/>
                    </a:lnTo>
                    <a:lnTo>
                      <a:pt x="299" y="1382"/>
                    </a:lnTo>
                    <a:lnTo>
                      <a:pt x="288" y="1376"/>
                    </a:lnTo>
                    <a:lnTo>
                      <a:pt x="288" y="1367"/>
                    </a:lnTo>
                    <a:lnTo>
                      <a:pt x="284" y="1359"/>
                    </a:lnTo>
                    <a:lnTo>
                      <a:pt x="278" y="1359"/>
                    </a:lnTo>
                    <a:lnTo>
                      <a:pt x="276" y="1353"/>
                    </a:lnTo>
                    <a:lnTo>
                      <a:pt x="269" y="1352"/>
                    </a:lnTo>
                    <a:lnTo>
                      <a:pt x="269" y="1347"/>
                    </a:lnTo>
                    <a:lnTo>
                      <a:pt x="272" y="1346"/>
                    </a:lnTo>
                    <a:lnTo>
                      <a:pt x="275" y="1344"/>
                    </a:lnTo>
                    <a:lnTo>
                      <a:pt x="282" y="1343"/>
                    </a:lnTo>
                    <a:lnTo>
                      <a:pt x="282" y="1332"/>
                    </a:lnTo>
                    <a:lnTo>
                      <a:pt x="287" y="1326"/>
                    </a:lnTo>
                    <a:lnTo>
                      <a:pt x="267" y="1317"/>
                    </a:lnTo>
                    <a:lnTo>
                      <a:pt x="266" y="1311"/>
                    </a:lnTo>
                    <a:lnTo>
                      <a:pt x="263" y="1311"/>
                    </a:lnTo>
                    <a:lnTo>
                      <a:pt x="261" y="1307"/>
                    </a:lnTo>
                    <a:lnTo>
                      <a:pt x="264" y="1304"/>
                    </a:lnTo>
                    <a:lnTo>
                      <a:pt x="261" y="1299"/>
                    </a:lnTo>
                    <a:lnTo>
                      <a:pt x="258" y="1289"/>
                    </a:lnTo>
                    <a:lnTo>
                      <a:pt x="264" y="1283"/>
                    </a:lnTo>
                    <a:lnTo>
                      <a:pt x="264" y="1275"/>
                    </a:lnTo>
                    <a:lnTo>
                      <a:pt x="269" y="1272"/>
                    </a:lnTo>
                    <a:lnTo>
                      <a:pt x="282" y="1272"/>
                    </a:lnTo>
                    <a:lnTo>
                      <a:pt x="288" y="1266"/>
                    </a:lnTo>
                    <a:lnTo>
                      <a:pt x="297" y="1266"/>
                    </a:lnTo>
                    <a:lnTo>
                      <a:pt x="302" y="1265"/>
                    </a:lnTo>
                    <a:lnTo>
                      <a:pt x="306" y="1272"/>
                    </a:lnTo>
                    <a:lnTo>
                      <a:pt x="309" y="1274"/>
                    </a:lnTo>
                    <a:lnTo>
                      <a:pt x="314" y="1283"/>
                    </a:lnTo>
                    <a:lnTo>
                      <a:pt x="309" y="1286"/>
                    </a:lnTo>
                    <a:lnTo>
                      <a:pt x="317" y="1290"/>
                    </a:lnTo>
                    <a:lnTo>
                      <a:pt x="329" y="1292"/>
                    </a:lnTo>
                    <a:lnTo>
                      <a:pt x="330" y="1284"/>
                    </a:lnTo>
                    <a:lnTo>
                      <a:pt x="339" y="1262"/>
                    </a:lnTo>
                    <a:lnTo>
                      <a:pt x="333" y="1259"/>
                    </a:lnTo>
                    <a:lnTo>
                      <a:pt x="335" y="1251"/>
                    </a:lnTo>
                    <a:lnTo>
                      <a:pt x="336" y="1245"/>
                    </a:lnTo>
                    <a:lnTo>
                      <a:pt x="330" y="1244"/>
                    </a:lnTo>
                    <a:lnTo>
                      <a:pt x="323" y="1238"/>
                    </a:lnTo>
                    <a:lnTo>
                      <a:pt x="320" y="1241"/>
                    </a:lnTo>
                    <a:lnTo>
                      <a:pt x="315" y="1238"/>
                    </a:lnTo>
                    <a:lnTo>
                      <a:pt x="317" y="1230"/>
                    </a:lnTo>
                    <a:lnTo>
                      <a:pt x="317" y="1224"/>
                    </a:lnTo>
                    <a:lnTo>
                      <a:pt x="312" y="1206"/>
                    </a:lnTo>
                    <a:lnTo>
                      <a:pt x="315" y="1190"/>
                    </a:lnTo>
                    <a:lnTo>
                      <a:pt x="311" y="1184"/>
                    </a:lnTo>
                    <a:lnTo>
                      <a:pt x="309" y="1178"/>
                    </a:lnTo>
                    <a:lnTo>
                      <a:pt x="305" y="1166"/>
                    </a:lnTo>
                    <a:lnTo>
                      <a:pt x="308" y="1160"/>
                    </a:lnTo>
                    <a:lnTo>
                      <a:pt x="305" y="1152"/>
                    </a:lnTo>
                    <a:lnTo>
                      <a:pt x="299" y="1145"/>
                    </a:lnTo>
                    <a:lnTo>
                      <a:pt x="288" y="1133"/>
                    </a:lnTo>
                    <a:lnTo>
                      <a:pt x="275" y="1119"/>
                    </a:lnTo>
                    <a:lnTo>
                      <a:pt x="288" y="1112"/>
                    </a:lnTo>
                    <a:lnTo>
                      <a:pt x="291" y="1107"/>
                    </a:lnTo>
                    <a:lnTo>
                      <a:pt x="273" y="1107"/>
                    </a:lnTo>
                    <a:lnTo>
                      <a:pt x="269" y="1101"/>
                    </a:lnTo>
                    <a:lnTo>
                      <a:pt x="279" y="1071"/>
                    </a:lnTo>
                    <a:lnTo>
                      <a:pt x="288" y="1067"/>
                    </a:lnTo>
                    <a:lnTo>
                      <a:pt x="290" y="1059"/>
                    </a:lnTo>
                    <a:lnTo>
                      <a:pt x="288" y="1052"/>
                    </a:lnTo>
                    <a:lnTo>
                      <a:pt x="308" y="1040"/>
                    </a:lnTo>
                    <a:lnTo>
                      <a:pt x="309" y="1032"/>
                    </a:lnTo>
                    <a:lnTo>
                      <a:pt x="312" y="1022"/>
                    </a:lnTo>
                    <a:lnTo>
                      <a:pt x="318" y="1014"/>
                    </a:lnTo>
                    <a:lnTo>
                      <a:pt x="317" y="1007"/>
                    </a:lnTo>
                    <a:lnTo>
                      <a:pt x="317" y="999"/>
                    </a:lnTo>
                    <a:lnTo>
                      <a:pt x="314" y="1001"/>
                    </a:lnTo>
                    <a:lnTo>
                      <a:pt x="309" y="1001"/>
                    </a:lnTo>
                    <a:lnTo>
                      <a:pt x="306" y="1005"/>
                    </a:lnTo>
                    <a:lnTo>
                      <a:pt x="297" y="1004"/>
                    </a:lnTo>
                    <a:lnTo>
                      <a:pt x="293" y="1008"/>
                    </a:lnTo>
                    <a:lnTo>
                      <a:pt x="287" y="1014"/>
                    </a:lnTo>
                    <a:lnTo>
                      <a:pt x="285" y="1001"/>
                    </a:lnTo>
                    <a:lnTo>
                      <a:pt x="275" y="1004"/>
                    </a:lnTo>
                    <a:lnTo>
                      <a:pt x="282" y="992"/>
                    </a:lnTo>
                    <a:lnTo>
                      <a:pt x="282" y="983"/>
                    </a:lnTo>
                    <a:lnTo>
                      <a:pt x="290" y="965"/>
                    </a:lnTo>
                    <a:lnTo>
                      <a:pt x="288" y="959"/>
                    </a:lnTo>
                    <a:lnTo>
                      <a:pt x="276" y="959"/>
                    </a:lnTo>
                    <a:lnTo>
                      <a:pt x="272" y="953"/>
                    </a:lnTo>
                    <a:lnTo>
                      <a:pt x="272" y="941"/>
                    </a:lnTo>
                    <a:lnTo>
                      <a:pt x="269" y="921"/>
                    </a:lnTo>
                    <a:lnTo>
                      <a:pt x="276" y="917"/>
                    </a:lnTo>
                    <a:lnTo>
                      <a:pt x="275" y="911"/>
                    </a:lnTo>
                    <a:lnTo>
                      <a:pt x="266" y="911"/>
                    </a:lnTo>
                    <a:lnTo>
                      <a:pt x="263" y="908"/>
                    </a:lnTo>
                    <a:lnTo>
                      <a:pt x="263" y="897"/>
                    </a:lnTo>
                    <a:lnTo>
                      <a:pt x="254" y="888"/>
                    </a:lnTo>
                    <a:lnTo>
                      <a:pt x="266" y="875"/>
                    </a:lnTo>
                    <a:lnTo>
                      <a:pt x="264" y="860"/>
                    </a:lnTo>
                    <a:lnTo>
                      <a:pt x="248" y="845"/>
                    </a:lnTo>
                    <a:lnTo>
                      <a:pt x="252" y="836"/>
                    </a:lnTo>
                    <a:lnTo>
                      <a:pt x="258" y="827"/>
                    </a:lnTo>
                    <a:lnTo>
                      <a:pt x="269" y="815"/>
                    </a:lnTo>
                    <a:lnTo>
                      <a:pt x="276" y="804"/>
                    </a:lnTo>
                    <a:lnTo>
                      <a:pt x="287" y="800"/>
                    </a:lnTo>
                    <a:lnTo>
                      <a:pt x="291" y="795"/>
                    </a:lnTo>
                    <a:lnTo>
                      <a:pt x="287" y="774"/>
                    </a:lnTo>
                    <a:lnTo>
                      <a:pt x="279" y="773"/>
                    </a:lnTo>
                    <a:lnTo>
                      <a:pt x="273" y="782"/>
                    </a:lnTo>
                    <a:lnTo>
                      <a:pt x="257" y="791"/>
                    </a:lnTo>
                    <a:lnTo>
                      <a:pt x="252" y="780"/>
                    </a:lnTo>
                    <a:lnTo>
                      <a:pt x="258" y="770"/>
                    </a:lnTo>
                    <a:lnTo>
                      <a:pt x="264" y="759"/>
                    </a:lnTo>
                    <a:lnTo>
                      <a:pt x="261" y="741"/>
                    </a:lnTo>
                    <a:lnTo>
                      <a:pt x="263" y="738"/>
                    </a:lnTo>
                    <a:lnTo>
                      <a:pt x="276" y="741"/>
                    </a:lnTo>
                    <a:lnTo>
                      <a:pt x="288" y="732"/>
                    </a:lnTo>
                    <a:lnTo>
                      <a:pt x="290" y="731"/>
                    </a:lnTo>
                    <a:lnTo>
                      <a:pt x="284" y="723"/>
                    </a:lnTo>
                    <a:lnTo>
                      <a:pt x="288" y="711"/>
                    </a:lnTo>
                    <a:lnTo>
                      <a:pt x="297" y="707"/>
                    </a:lnTo>
                    <a:lnTo>
                      <a:pt x="302" y="707"/>
                    </a:lnTo>
                    <a:lnTo>
                      <a:pt x="306" y="713"/>
                    </a:lnTo>
                    <a:lnTo>
                      <a:pt x="317" y="714"/>
                    </a:lnTo>
                    <a:lnTo>
                      <a:pt x="324" y="711"/>
                    </a:lnTo>
                    <a:lnTo>
                      <a:pt x="321" y="696"/>
                    </a:lnTo>
                    <a:lnTo>
                      <a:pt x="315" y="686"/>
                    </a:lnTo>
                    <a:lnTo>
                      <a:pt x="302" y="680"/>
                    </a:lnTo>
                    <a:lnTo>
                      <a:pt x="300" y="671"/>
                    </a:lnTo>
                    <a:lnTo>
                      <a:pt x="299" y="666"/>
                    </a:lnTo>
                    <a:lnTo>
                      <a:pt x="293" y="660"/>
                    </a:lnTo>
                    <a:lnTo>
                      <a:pt x="293" y="654"/>
                    </a:lnTo>
                    <a:lnTo>
                      <a:pt x="290" y="647"/>
                    </a:lnTo>
                    <a:lnTo>
                      <a:pt x="284" y="642"/>
                    </a:lnTo>
                    <a:lnTo>
                      <a:pt x="278" y="612"/>
                    </a:lnTo>
                    <a:lnTo>
                      <a:pt x="275" y="603"/>
                    </a:lnTo>
                    <a:lnTo>
                      <a:pt x="275" y="600"/>
                    </a:lnTo>
                    <a:lnTo>
                      <a:pt x="273" y="585"/>
                    </a:lnTo>
                    <a:lnTo>
                      <a:pt x="267" y="575"/>
                    </a:lnTo>
                    <a:lnTo>
                      <a:pt x="269" y="569"/>
                    </a:lnTo>
                    <a:lnTo>
                      <a:pt x="264" y="552"/>
                    </a:lnTo>
                    <a:lnTo>
                      <a:pt x="255" y="546"/>
                    </a:lnTo>
                    <a:lnTo>
                      <a:pt x="249" y="543"/>
                    </a:lnTo>
                    <a:lnTo>
                      <a:pt x="249" y="537"/>
                    </a:lnTo>
                    <a:lnTo>
                      <a:pt x="245" y="536"/>
                    </a:lnTo>
                    <a:lnTo>
                      <a:pt x="245" y="527"/>
                    </a:lnTo>
                    <a:lnTo>
                      <a:pt x="239" y="521"/>
                    </a:lnTo>
                    <a:lnTo>
                      <a:pt x="231" y="513"/>
                    </a:lnTo>
                    <a:lnTo>
                      <a:pt x="227" y="513"/>
                    </a:lnTo>
                    <a:lnTo>
                      <a:pt x="216" y="507"/>
                    </a:lnTo>
                    <a:lnTo>
                      <a:pt x="194" y="497"/>
                    </a:lnTo>
                    <a:lnTo>
                      <a:pt x="186" y="492"/>
                    </a:lnTo>
                    <a:lnTo>
                      <a:pt x="174" y="480"/>
                    </a:lnTo>
                    <a:lnTo>
                      <a:pt x="168" y="470"/>
                    </a:lnTo>
                    <a:lnTo>
                      <a:pt x="158" y="465"/>
                    </a:lnTo>
                    <a:lnTo>
                      <a:pt x="159" y="453"/>
                    </a:lnTo>
                    <a:lnTo>
                      <a:pt x="147" y="450"/>
                    </a:lnTo>
                    <a:lnTo>
                      <a:pt x="138" y="438"/>
                    </a:lnTo>
                    <a:lnTo>
                      <a:pt x="122" y="429"/>
                    </a:lnTo>
                    <a:lnTo>
                      <a:pt x="119" y="420"/>
                    </a:lnTo>
                    <a:lnTo>
                      <a:pt x="114" y="419"/>
                    </a:lnTo>
                    <a:lnTo>
                      <a:pt x="113" y="413"/>
                    </a:lnTo>
                    <a:lnTo>
                      <a:pt x="96" y="401"/>
                    </a:lnTo>
                    <a:lnTo>
                      <a:pt x="90" y="404"/>
                    </a:lnTo>
                    <a:lnTo>
                      <a:pt x="87" y="398"/>
                    </a:lnTo>
                    <a:lnTo>
                      <a:pt x="84" y="398"/>
                    </a:lnTo>
                    <a:lnTo>
                      <a:pt x="78" y="393"/>
                    </a:lnTo>
                    <a:lnTo>
                      <a:pt x="74" y="384"/>
                    </a:lnTo>
                    <a:lnTo>
                      <a:pt x="63" y="383"/>
                    </a:lnTo>
                    <a:lnTo>
                      <a:pt x="60" y="377"/>
                    </a:lnTo>
                    <a:lnTo>
                      <a:pt x="65" y="369"/>
                    </a:lnTo>
                    <a:lnTo>
                      <a:pt x="63" y="362"/>
                    </a:lnTo>
                    <a:lnTo>
                      <a:pt x="66" y="356"/>
                    </a:lnTo>
                    <a:lnTo>
                      <a:pt x="62" y="348"/>
                    </a:lnTo>
                    <a:lnTo>
                      <a:pt x="57" y="347"/>
                    </a:lnTo>
                    <a:lnTo>
                      <a:pt x="48" y="348"/>
                    </a:lnTo>
                    <a:lnTo>
                      <a:pt x="39" y="344"/>
                    </a:lnTo>
                    <a:lnTo>
                      <a:pt x="24" y="360"/>
                    </a:lnTo>
                    <a:lnTo>
                      <a:pt x="17" y="357"/>
                    </a:lnTo>
                    <a:lnTo>
                      <a:pt x="12" y="353"/>
                    </a:lnTo>
                    <a:lnTo>
                      <a:pt x="6" y="357"/>
                    </a:lnTo>
                    <a:lnTo>
                      <a:pt x="0" y="351"/>
                    </a:lnTo>
                    <a:lnTo>
                      <a:pt x="0" y="345"/>
                    </a:lnTo>
                    <a:lnTo>
                      <a:pt x="30" y="321"/>
                    </a:lnTo>
                    <a:lnTo>
                      <a:pt x="56" y="300"/>
                    </a:lnTo>
                    <a:lnTo>
                      <a:pt x="68" y="282"/>
                    </a:lnTo>
                    <a:lnTo>
                      <a:pt x="74" y="263"/>
                    </a:lnTo>
                    <a:lnTo>
                      <a:pt x="95" y="213"/>
                    </a:lnTo>
                    <a:lnTo>
                      <a:pt x="111" y="183"/>
                    </a:lnTo>
                    <a:lnTo>
                      <a:pt x="141" y="170"/>
                    </a:lnTo>
                    <a:lnTo>
                      <a:pt x="156" y="167"/>
                    </a:lnTo>
                    <a:lnTo>
                      <a:pt x="155" y="177"/>
                    </a:lnTo>
                    <a:lnTo>
                      <a:pt x="165" y="188"/>
                    </a:lnTo>
                    <a:lnTo>
                      <a:pt x="182" y="195"/>
                    </a:lnTo>
                    <a:lnTo>
                      <a:pt x="192" y="198"/>
                    </a:lnTo>
                    <a:lnTo>
                      <a:pt x="216" y="210"/>
                    </a:lnTo>
                    <a:lnTo>
                      <a:pt x="227" y="215"/>
                    </a:lnTo>
                    <a:lnTo>
                      <a:pt x="234" y="215"/>
                    </a:lnTo>
                    <a:lnTo>
                      <a:pt x="234" y="210"/>
                    </a:lnTo>
                    <a:lnTo>
                      <a:pt x="225" y="207"/>
                    </a:lnTo>
                    <a:lnTo>
                      <a:pt x="228" y="201"/>
                    </a:lnTo>
                    <a:lnTo>
                      <a:pt x="215" y="204"/>
                    </a:lnTo>
                    <a:lnTo>
                      <a:pt x="212" y="198"/>
                    </a:lnTo>
                    <a:lnTo>
                      <a:pt x="222" y="194"/>
                    </a:lnTo>
                    <a:lnTo>
                      <a:pt x="222" y="192"/>
                    </a:lnTo>
                    <a:lnTo>
                      <a:pt x="209" y="189"/>
                    </a:lnTo>
                    <a:lnTo>
                      <a:pt x="204" y="183"/>
                    </a:lnTo>
                    <a:lnTo>
                      <a:pt x="207" y="182"/>
                    </a:lnTo>
                    <a:lnTo>
                      <a:pt x="228" y="185"/>
                    </a:lnTo>
                    <a:lnTo>
                      <a:pt x="231" y="179"/>
                    </a:lnTo>
                    <a:lnTo>
                      <a:pt x="212" y="174"/>
                    </a:lnTo>
                    <a:lnTo>
                      <a:pt x="195" y="173"/>
                    </a:lnTo>
                    <a:lnTo>
                      <a:pt x="177" y="137"/>
                    </a:lnTo>
                    <a:lnTo>
                      <a:pt x="171" y="149"/>
                    </a:lnTo>
                    <a:lnTo>
                      <a:pt x="170" y="138"/>
                    </a:lnTo>
                    <a:lnTo>
                      <a:pt x="162" y="134"/>
                    </a:lnTo>
                    <a:lnTo>
                      <a:pt x="165" y="125"/>
                    </a:lnTo>
                    <a:lnTo>
                      <a:pt x="164" y="120"/>
                    </a:lnTo>
                    <a:lnTo>
                      <a:pt x="147" y="117"/>
                    </a:lnTo>
                    <a:lnTo>
                      <a:pt x="135" y="102"/>
                    </a:lnTo>
                    <a:lnTo>
                      <a:pt x="135" y="78"/>
                    </a:lnTo>
                    <a:lnTo>
                      <a:pt x="140" y="44"/>
                    </a:lnTo>
                    <a:lnTo>
                      <a:pt x="149" y="8"/>
                    </a:lnTo>
                    <a:lnTo>
                      <a:pt x="165" y="0"/>
                    </a:lnTo>
                    <a:lnTo>
                      <a:pt x="186" y="3"/>
                    </a:lnTo>
                    <a:lnTo>
                      <a:pt x="210" y="35"/>
                    </a:lnTo>
                    <a:lnTo>
                      <a:pt x="221" y="33"/>
                    </a:lnTo>
                    <a:lnTo>
                      <a:pt x="228" y="39"/>
                    </a:lnTo>
                    <a:lnTo>
                      <a:pt x="248" y="36"/>
                    </a:lnTo>
                    <a:lnTo>
                      <a:pt x="252" y="32"/>
                    </a:lnTo>
                    <a:lnTo>
                      <a:pt x="263" y="24"/>
                    </a:lnTo>
                    <a:lnTo>
                      <a:pt x="275" y="26"/>
                    </a:lnTo>
                    <a:lnTo>
                      <a:pt x="284" y="15"/>
                    </a:lnTo>
                    <a:lnTo>
                      <a:pt x="306" y="9"/>
                    </a:lnTo>
                    <a:lnTo>
                      <a:pt x="317" y="5"/>
                    </a:lnTo>
                    <a:lnTo>
                      <a:pt x="335" y="11"/>
                    </a:lnTo>
                    <a:lnTo>
                      <a:pt x="350" y="21"/>
                    </a:lnTo>
                    <a:lnTo>
                      <a:pt x="360" y="29"/>
                    </a:lnTo>
                    <a:lnTo>
                      <a:pt x="369" y="30"/>
                    </a:lnTo>
                    <a:lnTo>
                      <a:pt x="384" y="41"/>
                    </a:lnTo>
                    <a:lnTo>
                      <a:pt x="389" y="50"/>
                    </a:lnTo>
                    <a:lnTo>
                      <a:pt x="395" y="59"/>
                    </a:lnTo>
                    <a:lnTo>
                      <a:pt x="411" y="57"/>
                    </a:lnTo>
                    <a:lnTo>
                      <a:pt x="417" y="63"/>
                    </a:lnTo>
                    <a:lnTo>
                      <a:pt x="431" y="65"/>
                    </a:lnTo>
                    <a:lnTo>
                      <a:pt x="435" y="53"/>
                    </a:lnTo>
                    <a:lnTo>
                      <a:pt x="449" y="42"/>
                    </a:lnTo>
                    <a:lnTo>
                      <a:pt x="450" y="42"/>
                    </a:lnTo>
                    <a:lnTo>
                      <a:pt x="458" y="42"/>
                    </a:lnTo>
                    <a:lnTo>
                      <a:pt x="464" y="50"/>
                    </a:lnTo>
                    <a:lnTo>
                      <a:pt x="462" y="51"/>
                    </a:lnTo>
                    <a:lnTo>
                      <a:pt x="465" y="57"/>
                    </a:lnTo>
                    <a:lnTo>
                      <a:pt x="464" y="62"/>
                    </a:lnTo>
                    <a:lnTo>
                      <a:pt x="444" y="75"/>
                    </a:lnTo>
                    <a:lnTo>
                      <a:pt x="449" y="90"/>
                    </a:lnTo>
                    <a:lnTo>
                      <a:pt x="455" y="92"/>
                    </a:lnTo>
                    <a:lnTo>
                      <a:pt x="456" y="87"/>
                    </a:lnTo>
                    <a:lnTo>
                      <a:pt x="462" y="92"/>
                    </a:lnTo>
                    <a:lnTo>
                      <a:pt x="470" y="98"/>
                    </a:lnTo>
                    <a:lnTo>
                      <a:pt x="494" y="111"/>
                    </a:lnTo>
                    <a:lnTo>
                      <a:pt x="519" y="117"/>
                    </a:lnTo>
                    <a:lnTo>
                      <a:pt x="528" y="120"/>
                    </a:lnTo>
                    <a:lnTo>
                      <a:pt x="537" y="131"/>
                    </a:lnTo>
                    <a:lnTo>
                      <a:pt x="546" y="132"/>
                    </a:lnTo>
                    <a:lnTo>
                      <a:pt x="548" y="140"/>
                    </a:lnTo>
                    <a:lnTo>
                      <a:pt x="542" y="147"/>
                    </a:lnTo>
                    <a:lnTo>
                      <a:pt x="543" y="153"/>
                    </a:lnTo>
                    <a:lnTo>
                      <a:pt x="549" y="159"/>
                    </a:lnTo>
                    <a:lnTo>
                      <a:pt x="555" y="177"/>
                    </a:lnTo>
                    <a:lnTo>
                      <a:pt x="558" y="179"/>
                    </a:lnTo>
                    <a:lnTo>
                      <a:pt x="558" y="183"/>
                    </a:lnTo>
                    <a:lnTo>
                      <a:pt x="560" y="195"/>
                    </a:lnTo>
                    <a:lnTo>
                      <a:pt x="569" y="192"/>
                    </a:lnTo>
                    <a:lnTo>
                      <a:pt x="570" y="186"/>
                    </a:lnTo>
                    <a:lnTo>
                      <a:pt x="579" y="191"/>
                    </a:lnTo>
                    <a:lnTo>
                      <a:pt x="588" y="179"/>
                    </a:lnTo>
                    <a:lnTo>
                      <a:pt x="599" y="180"/>
                    </a:lnTo>
                    <a:lnTo>
                      <a:pt x="603" y="191"/>
                    </a:lnTo>
                    <a:lnTo>
                      <a:pt x="611" y="203"/>
                    </a:lnTo>
                    <a:lnTo>
                      <a:pt x="614" y="203"/>
                    </a:lnTo>
                    <a:lnTo>
                      <a:pt x="623" y="191"/>
                    </a:lnTo>
                    <a:lnTo>
                      <a:pt x="630" y="180"/>
                    </a:lnTo>
                    <a:lnTo>
                      <a:pt x="639" y="180"/>
                    </a:lnTo>
                    <a:lnTo>
                      <a:pt x="654" y="179"/>
                    </a:lnTo>
                    <a:lnTo>
                      <a:pt x="660" y="174"/>
                    </a:lnTo>
                    <a:lnTo>
                      <a:pt x="668" y="174"/>
                    </a:lnTo>
                    <a:lnTo>
                      <a:pt x="669" y="180"/>
                    </a:lnTo>
                    <a:lnTo>
                      <a:pt x="674" y="183"/>
                    </a:lnTo>
                    <a:lnTo>
                      <a:pt x="681" y="182"/>
                    </a:lnTo>
                    <a:lnTo>
                      <a:pt x="690" y="176"/>
                    </a:lnTo>
                    <a:lnTo>
                      <a:pt x="707" y="164"/>
                    </a:lnTo>
                    <a:lnTo>
                      <a:pt x="719" y="173"/>
                    </a:lnTo>
                    <a:lnTo>
                      <a:pt x="723" y="173"/>
                    </a:lnTo>
                    <a:lnTo>
                      <a:pt x="732" y="174"/>
                    </a:lnTo>
                    <a:lnTo>
                      <a:pt x="740" y="168"/>
                    </a:lnTo>
                    <a:lnTo>
                      <a:pt x="750" y="171"/>
                    </a:lnTo>
                    <a:lnTo>
                      <a:pt x="752" y="161"/>
                    </a:lnTo>
                    <a:lnTo>
                      <a:pt x="746" y="156"/>
                    </a:lnTo>
                    <a:lnTo>
                      <a:pt x="744" y="153"/>
                    </a:lnTo>
                    <a:lnTo>
                      <a:pt x="755" y="147"/>
                    </a:lnTo>
                    <a:lnTo>
                      <a:pt x="761" y="153"/>
                    </a:lnTo>
                    <a:lnTo>
                      <a:pt x="777" y="176"/>
                    </a:lnTo>
                    <a:lnTo>
                      <a:pt x="783" y="182"/>
                    </a:lnTo>
                    <a:lnTo>
                      <a:pt x="791" y="182"/>
                    </a:lnTo>
                    <a:lnTo>
                      <a:pt x="791" y="177"/>
                    </a:lnTo>
                    <a:lnTo>
                      <a:pt x="794" y="165"/>
                    </a:lnTo>
                    <a:lnTo>
                      <a:pt x="801" y="159"/>
                    </a:lnTo>
                    <a:lnTo>
                      <a:pt x="809" y="158"/>
                    </a:lnTo>
                    <a:lnTo>
                      <a:pt x="815" y="152"/>
                    </a:lnTo>
                    <a:lnTo>
                      <a:pt x="824" y="156"/>
                    </a:lnTo>
                    <a:lnTo>
                      <a:pt x="843" y="156"/>
                    </a:lnTo>
                    <a:lnTo>
                      <a:pt x="855" y="156"/>
                    </a:lnTo>
                    <a:lnTo>
                      <a:pt x="858" y="167"/>
                    </a:lnTo>
                    <a:lnTo>
                      <a:pt x="869" y="180"/>
                    </a:lnTo>
                    <a:lnTo>
                      <a:pt x="882" y="183"/>
                    </a:lnTo>
                    <a:lnTo>
                      <a:pt x="885" y="194"/>
                    </a:lnTo>
                    <a:lnTo>
                      <a:pt x="887" y="200"/>
                    </a:lnTo>
                    <a:lnTo>
                      <a:pt x="878" y="207"/>
                    </a:lnTo>
                    <a:lnTo>
                      <a:pt x="870" y="209"/>
                    </a:lnTo>
                    <a:lnTo>
                      <a:pt x="849" y="218"/>
                    </a:lnTo>
                    <a:lnTo>
                      <a:pt x="830" y="224"/>
                    </a:lnTo>
                    <a:lnTo>
                      <a:pt x="827" y="231"/>
                    </a:lnTo>
                    <a:lnTo>
                      <a:pt x="818" y="236"/>
                    </a:lnTo>
                    <a:lnTo>
                      <a:pt x="809" y="243"/>
                    </a:lnTo>
                    <a:lnTo>
                      <a:pt x="798" y="291"/>
                    </a:lnTo>
                    <a:lnTo>
                      <a:pt x="800" y="300"/>
                    </a:lnTo>
                    <a:lnTo>
                      <a:pt x="812" y="302"/>
                    </a:lnTo>
                    <a:lnTo>
                      <a:pt x="821" y="308"/>
                    </a:lnTo>
                    <a:lnTo>
                      <a:pt x="822" y="314"/>
                    </a:lnTo>
                    <a:lnTo>
                      <a:pt x="830" y="326"/>
                    </a:lnTo>
                    <a:lnTo>
                      <a:pt x="834" y="330"/>
                    </a:lnTo>
                    <a:lnTo>
                      <a:pt x="836" y="327"/>
                    </a:lnTo>
                    <a:lnTo>
                      <a:pt x="837" y="320"/>
                    </a:lnTo>
                    <a:lnTo>
                      <a:pt x="840" y="308"/>
                    </a:lnTo>
                    <a:lnTo>
                      <a:pt x="848" y="290"/>
                    </a:lnTo>
                    <a:lnTo>
                      <a:pt x="849" y="284"/>
                    </a:lnTo>
                    <a:lnTo>
                      <a:pt x="851" y="281"/>
                    </a:lnTo>
                    <a:lnTo>
                      <a:pt x="846" y="273"/>
                    </a:lnTo>
                    <a:lnTo>
                      <a:pt x="852" y="267"/>
                    </a:lnTo>
                    <a:lnTo>
                      <a:pt x="864" y="273"/>
                    </a:lnTo>
                    <a:lnTo>
                      <a:pt x="873" y="267"/>
                    </a:lnTo>
                    <a:lnTo>
                      <a:pt x="878" y="266"/>
                    </a:lnTo>
                    <a:lnTo>
                      <a:pt x="891" y="267"/>
                    </a:lnTo>
                    <a:lnTo>
                      <a:pt x="896" y="269"/>
                    </a:lnTo>
                    <a:lnTo>
                      <a:pt x="906" y="272"/>
                    </a:lnTo>
                    <a:lnTo>
                      <a:pt x="917" y="288"/>
                    </a:lnTo>
                    <a:lnTo>
                      <a:pt x="926" y="287"/>
                    </a:lnTo>
                    <a:lnTo>
                      <a:pt x="932" y="282"/>
                    </a:lnTo>
                    <a:lnTo>
                      <a:pt x="932" y="266"/>
                    </a:lnTo>
                    <a:lnTo>
                      <a:pt x="933" y="263"/>
                    </a:lnTo>
                    <a:lnTo>
                      <a:pt x="942" y="267"/>
                    </a:lnTo>
                    <a:lnTo>
                      <a:pt x="950" y="264"/>
                    </a:lnTo>
                    <a:lnTo>
                      <a:pt x="954" y="269"/>
                    </a:lnTo>
                    <a:lnTo>
                      <a:pt x="950" y="278"/>
                    </a:lnTo>
                    <a:lnTo>
                      <a:pt x="948" y="284"/>
                    </a:lnTo>
                    <a:lnTo>
                      <a:pt x="947" y="290"/>
                    </a:lnTo>
                    <a:lnTo>
                      <a:pt x="954" y="293"/>
                    </a:lnTo>
                    <a:lnTo>
                      <a:pt x="966" y="296"/>
                    </a:lnTo>
                    <a:lnTo>
                      <a:pt x="983" y="299"/>
                    </a:lnTo>
                    <a:lnTo>
                      <a:pt x="992" y="302"/>
                    </a:lnTo>
                    <a:lnTo>
                      <a:pt x="999" y="306"/>
                    </a:lnTo>
                    <a:lnTo>
                      <a:pt x="1004" y="311"/>
                    </a:lnTo>
                    <a:lnTo>
                      <a:pt x="1010" y="309"/>
                    </a:lnTo>
                    <a:lnTo>
                      <a:pt x="1023" y="315"/>
                    </a:lnTo>
                    <a:lnTo>
                      <a:pt x="1040" y="315"/>
                    </a:lnTo>
                    <a:lnTo>
                      <a:pt x="1044" y="321"/>
                    </a:lnTo>
                    <a:lnTo>
                      <a:pt x="1049" y="324"/>
                    </a:lnTo>
                    <a:lnTo>
                      <a:pt x="1052" y="324"/>
                    </a:lnTo>
                    <a:lnTo>
                      <a:pt x="1055" y="320"/>
                    </a:lnTo>
                    <a:lnTo>
                      <a:pt x="1050" y="309"/>
                    </a:lnTo>
                    <a:lnTo>
                      <a:pt x="1050" y="302"/>
                    </a:lnTo>
                    <a:lnTo>
                      <a:pt x="1058" y="297"/>
                    </a:lnTo>
                    <a:lnTo>
                      <a:pt x="1052" y="279"/>
                    </a:lnTo>
                    <a:lnTo>
                      <a:pt x="1071" y="282"/>
                    </a:lnTo>
                    <a:lnTo>
                      <a:pt x="1091" y="293"/>
                    </a:lnTo>
                    <a:lnTo>
                      <a:pt x="1088" y="294"/>
                    </a:lnTo>
                    <a:lnTo>
                      <a:pt x="1098" y="299"/>
                    </a:lnTo>
                    <a:lnTo>
                      <a:pt x="1112" y="296"/>
                    </a:lnTo>
                    <a:lnTo>
                      <a:pt x="1113" y="303"/>
                    </a:lnTo>
                    <a:lnTo>
                      <a:pt x="1112" y="312"/>
                    </a:lnTo>
                    <a:lnTo>
                      <a:pt x="1109" y="326"/>
                    </a:lnTo>
                    <a:lnTo>
                      <a:pt x="1100" y="342"/>
                    </a:lnTo>
                    <a:lnTo>
                      <a:pt x="1097" y="354"/>
                    </a:lnTo>
                    <a:lnTo>
                      <a:pt x="1089" y="362"/>
                    </a:lnTo>
                    <a:lnTo>
                      <a:pt x="1077" y="368"/>
                    </a:lnTo>
                    <a:lnTo>
                      <a:pt x="1080" y="372"/>
                    </a:lnTo>
                    <a:lnTo>
                      <a:pt x="1089" y="381"/>
                    </a:lnTo>
                    <a:lnTo>
                      <a:pt x="1094" y="384"/>
                    </a:lnTo>
                    <a:lnTo>
                      <a:pt x="1109" y="377"/>
                    </a:lnTo>
                    <a:lnTo>
                      <a:pt x="1119" y="365"/>
                    </a:lnTo>
                    <a:lnTo>
                      <a:pt x="1124" y="365"/>
                    </a:lnTo>
                    <a:lnTo>
                      <a:pt x="1133" y="351"/>
                    </a:lnTo>
                    <a:lnTo>
                      <a:pt x="1137" y="353"/>
                    </a:lnTo>
                    <a:lnTo>
                      <a:pt x="1146" y="347"/>
                    </a:lnTo>
                    <a:lnTo>
                      <a:pt x="1151" y="350"/>
                    </a:lnTo>
                    <a:lnTo>
                      <a:pt x="1158" y="341"/>
                    </a:lnTo>
                    <a:lnTo>
                      <a:pt x="1175" y="341"/>
                    </a:lnTo>
                    <a:lnTo>
                      <a:pt x="1175" y="357"/>
                    </a:lnTo>
                    <a:lnTo>
                      <a:pt x="1191" y="374"/>
                    </a:lnTo>
                    <a:lnTo>
                      <a:pt x="1187" y="381"/>
                    </a:lnTo>
                    <a:lnTo>
                      <a:pt x="1182" y="387"/>
                    </a:lnTo>
                    <a:lnTo>
                      <a:pt x="1172" y="386"/>
                    </a:lnTo>
                    <a:lnTo>
                      <a:pt x="1169" y="392"/>
                    </a:lnTo>
                    <a:lnTo>
                      <a:pt x="1172" y="398"/>
                    </a:lnTo>
                    <a:lnTo>
                      <a:pt x="1181" y="404"/>
                    </a:lnTo>
                    <a:lnTo>
                      <a:pt x="1188" y="399"/>
                    </a:lnTo>
                    <a:lnTo>
                      <a:pt x="1188" y="393"/>
                    </a:lnTo>
                    <a:lnTo>
                      <a:pt x="1208" y="383"/>
                    </a:lnTo>
                    <a:lnTo>
                      <a:pt x="1215" y="389"/>
                    </a:lnTo>
                    <a:lnTo>
                      <a:pt x="1223" y="372"/>
                    </a:lnTo>
                    <a:lnTo>
                      <a:pt x="1235" y="372"/>
                    </a:lnTo>
                    <a:lnTo>
                      <a:pt x="1241" y="366"/>
                    </a:lnTo>
                    <a:lnTo>
                      <a:pt x="1238" y="363"/>
                    </a:lnTo>
                    <a:lnTo>
                      <a:pt x="1244" y="362"/>
                    </a:lnTo>
                    <a:lnTo>
                      <a:pt x="1254" y="363"/>
                    </a:lnTo>
                    <a:lnTo>
                      <a:pt x="1256" y="368"/>
                    </a:lnTo>
                    <a:lnTo>
                      <a:pt x="1262" y="374"/>
                    </a:lnTo>
                    <a:lnTo>
                      <a:pt x="1278" y="363"/>
                    </a:lnTo>
                    <a:lnTo>
                      <a:pt x="1287" y="366"/>
                    </a:lnTo>
                    <a:lnTo>
                      <a:pt x="1293" y="357"/>
                    </a:lnTo>
                    <a:lnTo>
                      <a:pt x="1304" y="363"/>
                    </a:lnTo>
                    <a:lnTo>
                      <a:pt x="1310" y="365"/>
                    </a:lnTo>
                    <a:lnTo>
                      <a:pt x="1337" y="372"/>
                    </a:lnTo>
                    <a:lnTo>
                      <a:pt x="1343" y="374"/>
                    </a:lnTo>
                    <a:lnTo>
                      <a:pt x="1356" y="366"/>
                    </a:lnTo>
                    <a:lnTo>
                      <a:pt x="1361" y="377"/>
                    </a:lnTo>
                    <a:lnTo>
                      <a:pt x="1376" y="380"/>
                    </a:lnTo>
                    <a:lnTo>
                      <a:pt x="1377" y="393"/>
                    </a:lnTo>
                    <a:lnTo>
                      <a:pt x="1385" y="398"/>
                    </a:lnTo>
                    <a:lnTo>
                      <a:pt x="1403" y="396"/>
                    </a:lnTo>
                    <a:lnTo>
                      <a:pt x="1401" y="405"/>
                    </a:lnTo>
                    <a:lnTo>
                      <a:pt x="1418" y="407"/>
                    </a:lnTo>
                    <a:lnTo>
                      <a:pt x="1422" y="413"/>
                    </a:lnTo>
                    <a:lnTo>
                      <a:pt x="1422" y="423"/>
                    </a:lnTo>
                    <a:lnTo>
                      <a:pt x="1413" y="428"/>
                    </a:lnTo>
                    <a:lnTo>
                      <a:pt x="1413" y="434"/>
                    </a:lnTo>
                    <a:lnTo>
                      <a:pt x="1418" y="441"/>
                    </a:lnTo>
                    <a:lnTo>
                      <a:pt x="1433" y="438"/>
                    </a:lnTo>
                    <a:lnTo>
                      <a:pt x="1443" y="440"/>
                    </a:lnTo>
                    <a:lnTo>
                      <a:pt x="1413" y="461"/>
                    </a:lnTo>
                    <a:lnTo>
                      <a:pt x="1412" y="473"/>
                    </a:lnTo>
                    <a:lnTo>
                      <a:pt x="1407" y="480"/>
                    </a:lnTo>
                    <a:lnTo>
                      <a:pt x="1392" y="497"/>
                    </a:lnTo>
                    <a:lnTo>
                      <a:pt x="1377" y="513"/>
                    </a:lnTo>
                    <a:lnTo>
                      <a:pt x="1374" y="524"/>
                    </a:lnTo>
                    <a:lnTo>
                      <a:pt x="1376" y="545"/>
                    </a:lnTo>
                    <a:lnTo>
                      <a:pt x="1376" y="552"/>
                    </a:lnTo>
                    <a:lnTo>
                      <a:pt x="1376" y="558"/>
                    </a:lnTo>
                    <a:lnTo>
                      <a:pt x="1355" y="573"/>
                    </a:lnTo>
                    <a:lnTo>
                      <a:pt x="1346" y="555"/>
                    </a:lnTo>
                    <a:lnTo>
                      <a:pt x="1340" y="567"/>
                    </a:lnTo>
                    <a:lnTo>
                      <a:pt x="1352" y="605"/>
                    </a:lnTo>
                    <a:lnTo>
                      <a:pt x="1344" y="611"/>
                    </a:lnTo>
                    <a:lnTo>
                      <a:pt x="1334" y="618"/>
                    </a:lnTo>
                    <a:lnTo>
                      <a:pt x="1335" y="626"/>
                    </a:lnTo>
                    <a:lnTo>
                      <a:pt x="1337" y="632"/>
                    </a:lnTo>
                    <a:lnTo>
                      <a:pt x="1346" y="630"/>
                    </a:lnTo>
                    <a:lnTo>
                      <a:pt x="1352" y="633"/>
                    </a:lnTo>
                    <a:lnTo>
                      <a:pt x="1350" y="644"/>
                    </a:lnTo>
                    <a:lnTo>
                      <a:pt x="1353" y="656"/>
                    </a:lnTo>
                    <a:lnTo>
                      <a:pt x="1352" y="665"/>
                    </a:lnTo>
                    <a:lnTo>
                      <a:pt x="1337" y="680"/>
                    </a:lnTo>
                    <a:lnTo>
                      <a:pt x="1341" y="692"/>
                    </a:lnTo>
                    <a:lnTo>
                      <a:pt x="1364" y="696"/>
                    </a:lnTo>
                    <a:lnTo>
                      <a:pt x="1367" y="723"/>
                    </a:lnTo>
                    <a:lnTo>
                      <a:pt x="1367" y="734"/>
                    </a:lnTo>
                    <a:lnTo>
                      <a:pt x="1368" y="737"/>
                    </a:lnTo>
                    <a:lnTo>
                      <a:pt x="1376" y="740"/>
                    </a:lnTo>
                    <a:lnTo>
                      <a:pt x="1379" y="761"/>
                    </a:lnTo>
                    <a:lnTo>
                      <a:pt x="1382" y="779"/>
                    </a:lnTo>
                    <a:lnTo>
                      <a:pt x="1377" y="785"/>
                    </a:lnTo>
                    <a:lnTo>
                      <a:pt x="1383" y="804"/>
                    </a:lnTo>
                    <a:lnTo>
                      <a:pt x="1383" y="815"/>
                    </a:lnTo>
                    <a:lnTo>
                      <a:pt x="1377" y="815"/>
                    </a:lnTo>
                    <a:lnTo>
                      <a:pt x="1374" y="810"/>
                    </a:lnTo>
                    <a:lnTo>
                      <a:pt x="1371" y="809"/>
                    </a:lnTo>
                    <a:lnTo>
                      <a:pt x="1370" y="818"/>
                    </a:lnTo>
                    <a:lnTo>
                      <a:pt x="1361" y="827"/>
                    </a:lnTo>
                    <a:lnTo>
                      <a:pt x="1364" y="831"/>
                    </a:lnTo>
                    <a:lnTo>
                      <a:pt x="1368" y="842"/>
                    </a:lnTo>
                    <a:lnTo>
                      <a:pt x="1373" y="851"/>
                    </a:lnTo>
                    <a:lnTo>
                      <a:pt x="1362" y="863"/>
                    </a:lnTo>
                    <a:lnTo>
                      <a:pt x="1370" y="875"/>
                    </a:lnTo>
                    <a:lnTo>
                      <a:pt x="1379" y="884"/>
                    </a:lnTo>
                    <a:lnTo>
                      <a:pt x="1382" y="890"/>
                    </a:lnTo>
                    <a:lnTo>
                      <a:pt x="1395" y="903"/>
                    </a:lnTo>
                    <a:lnTo>
                      <a:pt x="1397" y="909"/>
                    </a:lnTo>
                    <a:lnTo>
                      <a:pt x="1398" y="914"/>
                    </a:lnTo>
                    <a:lnTo>
                      <a:pt x="1385" y="921"/>
                    </a:lnTo>
                    <a:lnTo>
                      <a:pt x="1386" y="933"/>
                    </a:lnTo>
                    <a:lnTo>
                      <a:pt x="1385" y="944"/>
                    </a:lnTo>
                    <a:lnTo>
                      <a:pt x="1388" y="950"/>
                    </a:lnTo>
                    <a:lnTo>
                      <a:pt x="1383" y="959"/>
                    </a:lnTo>
                    <a:lnTo>
                      <a:pt x="1383" y="974"/>
                    </a:lnTo>
                    <a:lnTo>
                      <a:pt x="1367" y="983"/>
                    </a:lnTo>
                    <a:lnTo>
                      <a:pt x="1368" y="996"/>
                    </a:lnTo>
                    <a:lnTo>
                      <a:pt x="1371" y="999"/>
                    </a:lnTo>
                    <a:lnTo>
                      <a:pt x="1371" y="1001"/>
                    </a:lnTo>
                    <a:lnTo>
                      <a:pt x="1382" y="1014"/>
                    </a:lnTo>
                    <a:lnTo>
                      <a:pt x="1385" y="1020"/>
                    </a:lnTo>
                    <a:lnTo>
                      <a:pt x="1385" y="1026"/>
                    </a:lnTo>
                    <a:lnTo>
                      <a:pt x="1377" y="1028"/>
                    </a:lnTo>
                    <a:lnTo>
                      <a:pt x="1374" y="1025"/>
                    </a:lnTo>
                    <a:lnTo>
                      <a:pt x="1371" y="1028"/>
                    </a:lnTo>
                    <a:lnTo>
                      <a:pt x="1371" y="1041"/>
                    </a:lnTo>
                    <a:lnTo>
                      <a:pt x="1379" y="1047"/>
                    </a:lnTo>
                    <a:lnTo>
                      <a:pt x="1406" y="1056"/>
                    </a:lnTo>
                    <a:lnTo>
                      <a:pt x="1418" y="1062"/>
                    </a:lnTo>
                    <a:lnTo>
                      <a:pt x="1412" y="1076"/>
                    </a:lnTo>
                    <a:lnTo>
                      <a:pt x="1392" y="1085"/>
                    </a:lnTo>
                    <a:lnTo>
                      <a:pt x="1377" y="1077"/>
                    </a:lnTo>
                    <a:lnTo>
                      <a:pt x="1365" y="1079"/>
                    </a:lnTo>
                    <a:lnTo>
                      <a:pt x="1359" y="1085"/>
                    </a:lnTo>
                    <a:lnTo>
                      <a:pt x="1358" y="1095"/>
                    </a:lnTo>
                    <a:lnTo>
                      <a:pt x="1358" y="1119"/>
                    </a:lnTo>
                    <a:lnTo>
                      <a:pt x="1358" y="1122"/>
                    </a:lnTo>
                    <a:lnTo>
                      <a:pt x="1361" y="1133"/>
                    </a:lnTo>
                    <a:lnTo>
                      <a:pt x="1361" y="1146"/>
                    </a:lnTo>
                    <a:lnTo>
                      <a:pt x="1353" y="1151"/>
                    </a:lnTo>
                    <a:lnTo>
                      <a:pt x="1349" y="1154"/>
                    </a:lnTo>
                    <a:lnTo>
                      <a:pt x="1346" y="1160"/>
                    </a:lnTo>
                    <a:lnTo>
                      <a:pt x="1343" y="1175"/>
                    </a:lnTo>
                    <a:lnTo>
                      <a:pt x="1337" y="1181"/>
                    </a:lnTo>
                    <a:lnTo>
                      <a:pt x="1332" y="1187"/>
                    </a:lnTo>
                    <a:lnTo>
                      <a:pt x="1325" y="1190"/>
                    </a:lnTo>
                    <a:lnTo>
                      <a:pt x="1322" y="1199"/>
                    </a:lnTo>
                    <a:lnTo>
                      <a:pt x="1314" y="1205"/>
                    </a:lnTo>
                    <a:lnTo>
                      <a:pt x="1298" y="1190"/>
                    </a:lnTo>
                    <a:lnTo>
                      <a:pt x="1287" y="1190"/>
                    </a:lnTo>
                    <a:lnTo>
                      <a:pt x="1280" y="1202"/>
                    </a:lnTo>
                    <a:lnTo>
                      <a:pt x="1268" y="1211"/>
                    </a:lnTo>
                    <a:lnTo>
                      <a:pt x="1256" y="1214"/>
                    </a:lnTo>
                    <a:lnTo>
                      <a:pt x="1247" y="1221"/>
                    </a:lnTo>
                    <a:lnTo>
                      <a:pt x="1257" y="1236"/>
                    </a:lnTo>
                    <a:lnTo>
                      <a:pt x="1266" y="1241"/>
                    </a:lnTo>
                    <a:lnTo>
                      <a:pt x="1278" y="1242"/>
                    </a:lnTo>
                    <a:lnTo>
                      <a:pt x="1280" y="1250"/>
                    </a:lnTo>
                    <a:lnTo>
                      <a:pt x="1292" y="1245"/>
                    </a:lnTo>
                    <a:lnTo>
                      <a:pt x="1295" y="1251"/>
                    </a:lnTo>
                    <a:lnTo>
                      <a:pt x="1299" y="1251"/>
                    </a:lnTo>
                    <a:lnTo>
                      <a:pt x="1304" y="1253"/>
                    </a:lnTo>
                    <a:lnTo>
                      <a:pt x="1310" y="1248"/>
                    </a:lnTo>
                    <a:lnTo>
                      <a:pt x="1313" y="1254"/>
                    </a:lnTo>
                    <a:lnTo>
                      <a:pt x="1305" y="1265"/>
                    </a:lnTo>
                    <a:lnTo>
                      <a:pt x="1308" y="1275"/>
                    </a:lnTo>
                    <a:lnTo>
                      <a:pt x="1313" y="1298"/>
                    </a:lnTo>
                    <a:lnTo>
                      <a:pt x="1313" y="1307"/>
                    </a:lnTo>
                    <a:lnTo>
                      <a:pt x="1319" y="1322"/>
                    </a:lnTo>
                    <a:lnTo>
                      <a:pt x="1308" y="1325"/>
                    </a:lnTo>
                    <a:lnTo>
                      <a:pt x="1305" y="1331"/>
                    </a:lnTo>
                    <a:lnTo>
                      <a:pt x="1298" y="1326"/>
                    </a:lnTo>
                    <a:lnTo>
                      <a:pt x="1281" y="1335"/>
                    </a:lnTo>
                    <a:lnTo>
                      <a:pt x="1274" y="1329"/>
                    </a:lnTo>
                    <a:lnTo>
                      <a:pt x="1284" y="1323"/>
                    </a:lnTo>
                    <a:lnTo>
                      <a:pt x="1290" y="1316"/>
                    </a:lnTo>
                    <a:lnTo>
                      <a:pt x="1290" y="1311"/>
                    </a:lnTo>
                    <a:lnTo>
                      <a:pt x="1284" y="1311"/>
                    </a:lnTo>
                    <a:lnTo>
                      <a:pt x="1280" y="1311"/>
                    </a:lnTo>
                    <a:lnTo>
                      <a:pt x="1266" y="1313"/>
                    </a:lnTo>
                    <a:lnTo>
                      <a:pt x="1257" y="1316"/>
                    </a:lnTo>
                    <a:lnTo>
                      <a:pt x="1259" y="1341"/>
                    </a:lnTo>
                    <a:lnTo>
                      <a:pt x="1265" y="1353"/>
                    </a:lnTo>
                    <a:lnTo>
                      <a:pt x="1260" y="1359"/>
                    </a:lnTo>
                    <a:lnTo>
                      <a:pt x="1263" y="1368"/>
                    </a:lnTo>
                    <a:lnTo>
                      <a:pt x="1271" y="1374"/>
                    </a:lnTo>
                    <a:lnTo>
                      <a:pt x="1275" y="1368"/>
                    </a:lnTo>
                    <a:lnTo>
                      <a:pt x="1298" y="1374"/>
                    </a:lnTo>
                    <a:lnTo>
                      <a:pt x="1301" y="1385"/>
                    </a:lnTo>
                    <a:lnTo>
                      <a:pt x="1316" y="1388"/>
                    </a:lnTo>
                    <a:lnTo>
                      <a:pt x="1317" y="1380"/>
                    </a:lnTo>
                    <a:lnTo>
                      <a:pt x="1317" y="1370"/>
                    </a:lnTo>
                    <a:lnTo>
                      <a:pt x="1316" y="1370"/>
                    </a:lnTo>
                    <a:lnTo>
                      <a:pt x="1308" y="1365"/>
                    </a:lnTo>
                    <a:lnTo>
                      <a:pt x="1305" y="1356"/>
                    </a:lnTo>
                    <a:lnTo>
                      <a:pt x="1299" y="1361"/>
                    </a:lnTo>
                    <a:lnTo>
                      <a:pt x="1290" y="1362"/>
                    </a:lnTo>
                    <a:lnTo>
                      <a:pt x="1286" y="1359"/>
                    </a:lnTo>
                    <a:lnTo>
                      <a:pt x="1283" y="1344"/>
                    </a:lnTo>
                    <a:lnTo>
                      <a:pt x="1290" y="1338"/>
                    </a:lnTo>
                    <a:lnTo>
                      <a:pt x="1304" y="1340"/>
                    </a:lnTo>
                    <a:lnTo>
                      <a:pt x="1310" y="1347"/>
                    </a:lnTo>
                    <a:lnTo>
                      <a:pt x="1316" y="1347"/>
                    </a:lnTo>
                    <a:lnTo>
                      <a:pt x="1320" y="1341"/>
                    </a:lnTo>
                    <a:lnTo>
                      <a:pt x="1326" y="1341"/>
                    </a:lnTo>
                    <a:lnTo>
                      <a:pt x="1337" y="1346"/>
                    </a:lnTo>
                    <a:lnTo>
                      <a:pt x="1334" y="1350"/>
                    </a:lnTo>
                    <a:lnTo>
                      <a:pt x="1329" y="1352"/>
                    </a:lnTo>
                    <a:lnTo>
                      <a:pt x="1331" y="1356"/>
                    </a:lnTo>
                    <a:lnTo>
                      <a:pt x="1332" y="1358"/>
                    </a:lnTo>
                    <a:lnTo>
                      <a:pt x="1344" y="1356"/>
                    </a:lnTo>
                    <a:lnTo>
                      <a:pt x="1347" y="1364"/>
                    </a:lnTo>
                    <a:lnTo>
                      <a:pt x="1346" y="1388"/>
                    </a:lnTo>
                    <a:lnTo>
                      <a:pt x="1349" y="1397"/>
                    </a:lnTo>
                    <a:lnTo>
                      <a:pt x="1350" y="1400"/>
                    </a:lnTo>
                    <a:lnTo>
                      <a:pt x="1356" y="1406"/>
                    </a:lnTo>
                    <a:lnTo>
                      <a:pt x="1359" y="1404"/>
                    </a:lnTo>
                    <a:lnTo>
                      <a:pt x="1362" y="1400"/>
                    </a:lnTo>
                    <a:lnTo>
                      <a:pt x="1353" y="1380"/>
                    </a:lnTo>
                    <a:lnTo>
                      <a:pt x="1365" y="1358"/>
                    </a:lnTo>
                    <a:lnTo>
                      <a:pt x="1376" y="1367"/>
                    </a:lnTo>
                    <a:lnTo>
                      <a:pt x="1376" y="1382"/>
                    </a:lnTo>
                    <a:lnTo>
                      <a:pt x="1379" y="1392"/>
                    </a:lnTo>
                    <a:lnTo>
                      <a:pt x="1389" y="1397"/>
                    </a:lnTo>
                    <a:lnTo>
                      <a:pt x="1397" y="1395"/>
                    </a:lnTo>
                    <a:lnTo>
                      <a:pt x="1398" y="1398"/>
                    </a:lnTo>
                    <a:lnTo>
                      <a:pt x="1395" y="1406"/>
                    </a:lnTo>
                    <a:lnTo>
                      <a:pt x="1379" y="1410"/>
                    </a:lnTo>
                    <a:lnTo>
                      <a:pt x="1374" y="1415"/>
                    </a:lnTo>
                    <a:lnTo>
                      <a:pt x="1374" y="1424"/>
                    </a:lnTo>
                    <a:lnTo>
                      <a:pt x="1359" y="1421"/>
                    </a:lnTo>
                    <a:lnTo>
                      <a:pt x="1362" y="1436"/>
                    </a:lnTo>
                    <a:lnTo>
                      <a:pt x="1347" y="1446"/>
                    </a:lnTo>
                    <a:lnTo>
                      <a:pt x="1343" y="1449"/>
                    </a:lnTo>
                    <a:close/>
                  </a:path>
                </a:pathLst>
              </a:custGeom>
              <a:solidFill>
                <a:sysClr val="window" lastClr="FFFFFF"/>
              </a:solid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307" name="Freeform 351">
                <a:extLst>
                  <a:ext uri="{FF2B5EF4-FFF2-40B4-BE49-F238E27FC236}">
                    <a16:creationId xmlns:a16="http://schemas.microsoft.com/office/drawing/2014/main" id="{B378E9CC-8F20-F4CD-2DA7-6E4D08368028}"/>
                  </a:ext>
                </a:extLst>
              </p:cNvPr>
              <p:cNvSpPr>
                <a:spLocks/>
              </p:cNvSpPr>
              <p:nvPr/>
            </p:nvSpPr>
            <p:spPr bwMode="auto">
              <a:xfrm>
                <a:off x="4412" y="2635"/>
                <a:ext cx="438" cy="361"/>
              </a:xfrm>
              <a:custGeom>
                <a:avLst/>
                <a:gdLst>
                  <a:gd name="T0" fmla="*/ 0 w 1314"/>
                  <a:gd name="T1" fmla="*/ 0 h 1083"/>
                  <a:gd name="T2" fmla="*/ 0 w 1314"/>
                  <a:gd name="T3" fmla="*/ 0 h 1083"/>
                  <a:gd name="T4" fmla="*/ 0 w 1314"/>
                  <a:gd name="T5" fmla="*/ 0 h 1083"/>
                  <a:gd name="T6" fmla="*/ 0 w 1314"/>
                  <a:gd name="T7" fmla="*/ 0 h 1083"/>
                  <a:gd name="T8" fmla="*/ 0 w 1314"/>
                  <a:gd name="T9" fmla="*/ 0 h 1083"/>
                  <a:gd name="T10" fmla="*/ 0 w 1314"/>
                  <a:gd name="T11" fmla="*/ 0 h 1083"/>
                  <a:gd name="T12" fmla="*/ 0 w 1314"/>
                  <a:gd name="T13" fmla="*/ 0 h 1083"/>
                  <a:gd name="T14" fmla="*/ 0 w 1314"/>
                  <a:gd name="T15" fmla="*/ 0 h 1083"/>
                  <a:gd name="T16" fmla="*/ 0 w 1314"/>
                  <a:gd name="T17" fmla="*/ 0 h 1083"/>
                  <a:gd name="T18" fmla="*/ 0 w 1314"/>
                  <a:gd name="T19" fmla="*/ 0 h 1083"/>
                  <a:gd name="T20" fmla="*/ 0 w 1314"/>
                  <a:gd name="T21" fmla="*/ 0 h 1083"/>
                  <a:gd name="T22" fmla="*/ 0 w 1314"/>
                  <a:gd name="T23" fmla="*/ 0 h 1083"/>
                  <a:gd name="T24" fmla="*/ 0 w 1314"/>
                  <a:gd name="T25" fmla="*/ 0 h 1083"/>
                  <a:gd name="T26" fmla="*/ 0 w 1314"/>
                  <a:gd name="T27" fmla="*/ 0 h 1083"/>
                  <a:gd name="T28" fmla="*/ 0 w 1314"/>
                  <a:gd name="T29" fmla="*/ 0 h 1083"/>
                  <a:gd name="T30" fmla="*/ 0 w 1314"/>
                  <a:gd name="T31" fmla="*/ 0 h 1083"/>
                  <a:gd name="T32" fmla="*/ 0 w 1314"/>
                  <a:gd name="T33" fmla="*/ 0 h 1083"/>
                  <a:gd name="T34" fmla="*/ 0 w 1314"/>
                  <a:gd name="T35" fmla="*/ 0 h 1083"/>
                  <a:gd name="T36" fmla="*/ 0 w 1314"/>
                  <a:gd name="T37" fmla="*/ 0 h 1083"/>
                  <a:gd name="T38" fmla="*/ 0 w 1314"/>
                  <a:gd name="T39" fmla="*/ 0 h 1083"/>
                  <a:gd name="T40" fmla="*/ 0 w 1314"/>
                  <a:gd name="T41" fmla="*/ 0 h 1083"/>
                  <a:gd name="T42" fmla="*/ 0 w 1314"/>
                  <a:gd name="T43" fmla="*/ 0 h 1083"/>
                  <a:gd name="T44" fmla="*/ 0 w 1314"/>
                  <a:gd name="T45" fmla="*/ 0 h 1083"/>
                  <a:gd name="T46" fmla="*/ 0 w 1314"/>
                  <a:gd name="T47" fmla="*/ 0 h 1083"/>
                  <a:gd name="T48" fmla="*/ 0 w 1314"/>
                  <a:gd name="T49" fmla="*/ 0 h 1083"/>
                  <a:gd name="T50" fmla="*/ 0 w 1314"/>
                  <a:gd name="T51" fmla="*/ 0 h 1083"/>
                  <a:gd name="T52" fmla="*/ 0 w 1314"/>
                  <a:gd name="T53" fmla="*/ 0 h 1083"/>
                  <a:gd name="T54" fmla="*/ 0 w 1314"/>
                  <a:gd name="T55" fmla="*/ 0 h 1083"/>
                  <a:gd name="T56" fmla="*/ 0 w 1314"/>
                  <a:gd name="T57" fmla="*/ 0 h 1083"/>
                  <a:gd name="T58" fmla="*/ 0 w 1314"/>
                  <a:gd name="T59" fmla="*/ 0 h 1083"/>
                  <a:gd name="T60" fmla="*/ 0 w 1314"/>
                  <a:gd name="T61" fmla="*/ 0 h 1083"/>
                  <a:gd name="T62" fmla="*/ 0 w 1314"/>
                  <a:gd name="T63" fmla="*/ 0 h 1083"/>
                  <a:gd name="T64" fmla="*/ 0 w 1314"/>
                  <a:gd name="T65" fmla="*/ 0 h 1083"/>
                  <a:gd name="T66" fmla="*/ 0 w 1314"/>
                  <a:gd name="T67" fmla="*/ 0 h 1083"/>
                  <a:gd name="T68" fmla="*/ 0 w 1314"/>
                  <a:gd name="T69" fmla="*/ 0 h 1083"/>
                  <a:gd name="T70" fmla="*/ 0 w 1314"/>
                  <a:gd name="T71" fmla="*/ 0 h 1083"/>
                  <a:gd name="T72" fmla="*/ 0 w 1314"/>
                  <a:gd name="T73" fmla="*/ 0 h 1083"/>
                  <a:gd name="T74" fmla="*/ 0 w 1314"/>
                  <a:gd name="T75" fmla="*/ 0 h 1083"/>
                  <a:gd name="T76" fmla="*/ 0 w 1314"/>
                  <a:gd name="T77" fmla="*/ 0 h 1083"/>
                  <a:gd name="T78" fmla="*/ 0 w 1314"/>
                  <a:gd name="T79" fmla="*/ 0 h 1083"/>
                  <a:gd name="T80" fmla="*/ 0 w 1314"/>
                  <a:gd name="T81" fmla="*/ 0 h 1083"/>
                  <a:gd name="T82" fmla="*/ 0 w 1314"/>
                  <a:gd name="T83" fmla="*/ 0 h 1083"/>
                  <a:gd name="T84" fmla="*/ 0 w 1314"/>
                  <a:gd name="T85" fmla="*/ 0 h 1083"/>
                  <a:gd name="T86" fmla="*/ 0 w 1314"/>
                  <a:gd name="T87" fmla="*/ 0 h 1083"/>
                  <a:gd name="T88" fmla="*/ 0 w 1314"/>
                  <a:gd name="T89" fmla="*/ 0 h 1083"/>
                  <a:gd name="T90" fmla="*/ 0 w 1314"/>
                  <a:gd name="T91" fmla="*/ 0 h 1083"/>
                  <a:gd name="T92" fmla="*/ 0 w 1314"/>
                  <a:gd name="T93" fmla="*/ 0 h 1083"/>
                  <a:gd name="T94" fmla="*/ 0 w 1314"/>
                  <a:gd name="T95" fmla="*/ 0 h 1083"/>
                  <a:gd name="T96" fmla="*/ 0 w 1314"/>
                  <a:gd name="T97" fmla="*/ 0 h 1083"/>
                  <a:gd name="T98" fmla="*/ 0 w 1314"/>
                  <a:gd name="T99" fmla="*/ 0 h 1083"/>
                  <a:gd name="T100" fmla="*/ 0 w 1314"/>
                  <a:gd name="T101" fmla="*/ 0 h 1083"/>
                  <a:gd name="T102" fmla="*/ 0 w 1314"/>
                  <a:gd name="T103" fmla="*/ 0 h 1083"/>
                  <a:gd name="T104" fmla="*/ 0 w 1314"/>
                  <a:gd name="T105" fmla="*/ 0 h 108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314" h="1083">
                    <a:moveTo>
                      <a:pt x="1167" y="315"/>
                    </a:moveTo>
                    <a:lnTo>
                      <a:pt x="1182" y="318"/>
                    </a:lnTo>
                    <a:lnTo>
                      <a:pt x="1196" y="308"/>
                    </a:lnTo>
                    <a:lnTo>
                      <a:pt x="1205" y="299"/>
                    </a:lnTo>
                    <a:lnTo>
                      <a:pt x="1259" y="327"/>
                    </a:lnTo>
                    <a:lnTo>
                      <a:pt x="1266" y="338"/>
                    </a:lnTo>
                    <a:lnTo>
                      <a:pt x="1277" y="344"/>
                    </a:lnTo>
                    <a:lnTo>
                      <a:pt x="1253" y="381"/>
                    </a:lnTo>
                    <a:lnTo>
                      <a:pt x="1262" y="386"/>
                    </a:lnTo>
                    <a:lnTo>
                      <a:pt x="1272" y="407"/>
                    </a:lnTo>
                    <a:lnTo>
                      <a:pt x="1281" y="450"/>
                    </a:lnTo>
                    <a:lnTo>
                      <a:pt x="1290" y="468"/>
                    </a:lnTo>
                    <a:lnTo>
                      <a:pt x="1308" y="468"/>
                    </a:lnTo>
                    <a:lnTo>
                      <a:pt x="1314" y="504"/>
                    </a:lnTo>
                    <a:lnTo>
                      <a:pt x="1290" y="503"/>
                    </a:lnTo>
                    <a:lnTo>
                      <a:pt x="1254" y="500"/>
                    </a:lnTo>
                    <a:lnTo>
                      <a:pt x="1235" y="516"/>
                    </a:lnTo>
                    <a:lnTo>
                      <a:pt x="1218" y="542"/>
                    </a:lnTo>
                    <a:lnTo>
                      <a:pt x="1193" y="543"/>
                    </a:lnTo>
                    <a:lnTo>
                      <a:pt x="1175" y="555"/>
                    </a:lnTo>
                    <a:lnTo>
                      <a:pt x="1173" y="567"/>
                    </a:lnTo>
                    <a:lnTo>
                      <a:pt x="1160" y="579"/>
                    </a:lnTo>
                    <a:lnTo>
                      <a:pt x="1145" y="578"/>
                    </a:lnTo>
                    <a:lnTo>
                      <a:pt x="1136" y="597"/>
                    </a:lnTo>
                    <a:lnTo>
                      <a:pt x="1122" y="599"/>
                    </a:lnTo>
                    <a:lnTo>
                      <a:pt x="1110" y="606"/>
                    </a:lnTo>
                    <a:lnTo>
                      <a:pt x="1100" y="608"/>
                    </a:lnTo>
                    <a:lnTo>
                      <a:pt x="1097" y="618"/>
                    </a:lnTo>
                    <a:lnTo>
                      <a:pt x="1086" y="612"/>
                    </a:lnTo>
                    <a:lnTo>
                      <a:pt x="1076" y="621"/>
                    </a:lnTo>
                    <a:lnTo>
                      <a:pt x="1074" y="636"/>
                    </a:lnTo>
                    <a:lnTo>
                      <a:pt x="1068" y="638"/>
                    </a:lnTo>
                    <a:lnTo>
                      <a:pt x="1062" y="639"/>
                    </a:lnTo>
                    <a:lnTo>
                      <a:pt x="1047" y="659"/>
                    </a:lnTo>
                    <a:lnTo>
                      <a:pt x="1017" y="669"/>
                    </a:lnTo>
                    <a:lnTo>
                      <a:pt x="1001" y="668"/>
                    </a:lnTo>
                    <a:lnTo>
                      <a:pt x="999" y="677"/>
                    </a:lnTo>
                    <a:lnTo>
                      <a:pt x="1004" y="689"/>
                    </a:lnTo>
                    <a:lnTo>
                      <a:pt x="993" y="701"/>
                    </a:lnTo>
                    <a:lnTo>
                      <a:pt x="993" y="720"/>
                    </a:lnTo>
                    <a:lnTo>
                      <a:pt x="980" y="729"/>
                    </a:lnTo>
                    <a:lnTo>
                      <a:pt x="969" y="738"/>
                    </a:lnTo>
                    <a:lnTo>
                      <a:pt x="965" y="783"/>
                    </a:lnTo>
                    <a:lnTo>
                      <a:pt x="933" y="785"/>
                    </a:lnTo>
                    <a:lnTo>
                      <a:pt x="915" y="785"/>
                    </a:lnTo>
                    <a:lnTo>
                      <a:pt x="893" y="779"/>
                    </a:lnTo>
                    <a:lnTo>
                      <a:pt x="869" y="782"/>
                    </a:lnTo>
                    <a:lnTo>
                      <a:pt x="848" y="774"/>
                    </a:lnTo>
                    <a:lnTo>
                      <a:pt x="842" y="776"/>
                    </a:lnTo>
                    <a:lnTo>
                      <a:pt x="831" y="776"/>
                    </a:lnTo>
                    <a:lnTo>
                      <a:pt x="828" y="762"/>
                    </a:lnTo>
                    <a:lnTo>
                      <a:pt x="822" y="758"/>
                    </a:lnTo>
                    <a:lnTo>
                      <a:pt x="810" y="749"/>
                    </a:lnTo>
                    <a:lnTo>
                      <a:pt x="797" y="756"/>
                    </a:lnTo>
                    <a:lnTo>
                      <a:pt x="786" y="743"/>
                    </a:lnTo>
                    <a:lnTo>
                      <a:pt x="786" y="735"/>
                    </a:lnTo>
                    <a:lnTo>
                      <a:pt x="773" y="725"/>
                    </a:lnTo>
                    <a:lnTo>
                      <a:pt x="753" y="708"/>
                    </a:lnTo>
                    <a:lnTo>
                      <a:pt x="752" y="698"/>
                    </a:lnTo>
                    <a:lnTo>
                      <a:pt x="732" y="710"/>
                    </a:lnTo>
                    <a:lnTo>
                      <a:pt x="735" y="720"/>
                    </a:lnTo>
                    <a:lnTo>
                      <a:pt x="728" y="732"/>
                    </a:lnTo>
                    <a:lnTo>
                      <a:pt x="731" y="743"/>
                    </a:lnTo>
                    <a:lnTo>
                      <a:pt x="723" y="761"/>
                    </a:lnTo>
                    <a:lnTo>
                      <a:pt x="711" y="761"/>
                    </a:lnTo>
                    <a:lnTo>
                      <a:pt x="707" y="756"/>
                    </a:lnTo>
                    <a:lnTo>
                      <a:pt x="696" y="749"/>
                    </a:lnTo>
                    <a:lnTo>
                      <a:pt x="684" y="752"/>
                    </a:lnTo>
                    <a:lnTo>
                      <a:pt x="677" y="764"/>
                    </a:lnTo>
                    <a:lnTo>
                      <a:pt x="650" y="768"/>
                    </a:lnTo>
                    <a:lnTo>
                      <a:pt x="660" y="792"/>
                    </a:lnTo>
                    <a:lnTo>
                      <a:pt x="668" y="821"/>
                    </a:lnTo>
                    <a:lnTo>
                      <a:pt x="662" y="845"/>
                    </a:lnTo>
                    <a:lnTo>
                      <a:pt x="648" y="851"/>
                    </a:lnTo>
                    <a:lnTo>
                      <a:pt x="617" y="812"/>
                    </a:lnTo>
                    <a:lnTo>
                      <a:pt x="603" y="804"/>
                    </a:lnTo>
                    <a:lnTo>
                      <a:pt x="600" y="789"/>
                    </a:lnTo>
                    <a:lnTo>
                      <a:pt x="597" y="792"/>
                    </a:lnTo>
                    <a:lnTo>
                      <a:pt x="593" y="791"/>
                    </a:lnTo>
                    <a:lnTo>
                      <a:pt x="585" y="783"/>
                    </a:lnTo>
                    <a:lnTo>
                      <a:pt x="584" y="767"/>
                    </a:lnTo>
                    <a:lnTo>
                      <a:pt x="566" y="758"/>
                    </a:lnTo>
                    <a:lnTo>
                      <a:pt x="560" y="755"/>
                    </a:lnTo>
                    <a:lnTo>
                      <a:pt x="548" y="755"/>
                    </a:lnTo>
                    <a:lnTo>
                      <a:pt x="533" y="753"/>
                    </a:lnTo>
                    <a:lnTo>
                      <a:pt x="527" y="753"/>
                    </a:lnTo>
                    <a:lnTo>
                      <a:pt x="524" y="765"/>
                    </a:lnTo>
                    <a:lnTo>
                      <a:pt x="516" y="768"/>
                    </a:lnTo>
                    <a:lnTo>
                      <a:pt x="521" y="783"/>
                    </a:lnTo>
                    <a:lnTo>
                      <a:pt x="513" y="774"/>
                    </a:lnTo>
                    <a:lnTo>
                      <a:pt x="510" y="780"/>
                    </a:lnTo>
                    <a:lnTo>
                      <a:pt x="506" y="780"/>
                    </a:lnTo>
                    <a:lnTo>
                      <a:pt x="498" y="791"/>
                    </a:lnTo>
                    <a:lnTo>
                      <a:pt x="492" y="794"/>
                    </a:lnTo>
                    <a:lnTo>
                      <a:pt x="489" y="804"/>
                    </a:lnTo>
                    <a:lnTo>
                      <a:pt x="470" y="819"/>
                    </a:lnTo>
                    <a:lnTo>
                      <a:pt x="453" y="825"/>
                    </a:lnTo>
                    <a:lnTo>
                      <a:pt x="446" y="827"/>
                    </a:lnTo>
                    <a:lnTo>
                      <a:pt x="441" y="834"/>
                    </a:lnTo>
                    <a:lnTo>
                      <a:pt x="438" y="839"/>
                    </a:lnTo>
                    <a:lnTo>
                      <a:pt x="428" y="854"/>
                    </a:lnTo>
                    <a:lnTo>
                      <a:pt x="422" y="869"/>
                    </a:lnTo>
                    <a:lnTo>
                      <a:pt x="410" y="900"/>
                    </a:lnTo>
                    <a:lnTo>
                      <a:pt x="407" y="905"/>
                    </a:lnTo>
                    <a:lnTo>
                      <a:pt x="393" y="911"/>
                    </a:lnTo>
                    <a:lnTo>
                      <a:pt x="389" y="929"/>
                    </a:lnTo>
                    <a:lnTo>
                      <a:pt x="393" y="935"/>
                    </a:lnTo>
                    <a:lnTo>
                      <a:pt x="404" y="932"/>
                    </a:lnTo>
                    <a:lnTo>
                      <a:pt x="407" y="941"/>
                    </a:lnTo>
                    <a:lnTo>
                      <a:pt x="407" y="948"/>
                    </a:lnTo>
                    <a:lnTo>
                      <a:pt x="405" y="951"/>
                    </a:lnTo>
                    <a:lnTo>
                      <a:pt x="408" y="963"/>
                    </a:lnTo>
                    <a:lnTo>
                      <a:pt x="398" y="966"/>
                    </a:lnTo>
                    <a:lnTo>
                      <a:pt x="396" y="980"/>
                    </a:lnTo>
                    <a:lnTo>
                      <a:pt x="405" y="984"/>
                    </a:lnTo>
                    <a:lnTo>
                      <a:pt x="402" y="1002"/>
                    </a:lnTo>
                    <a:lnTo>
                      <a:pt x="390" y="1001"/>
                    </a:lnTo>
                    <a:lnTo>
                      <a:pt x="369" y="981"/>
                    </a:lnTo>
                    <a:lnTo>
                      <a:pt x="363" y="977"/>
                    </a:lnTo>
                    <a:lnTo>
                      <a:pt x="365" y="966"/>
                    </a:lnTo>
                    <a:lnTo>
                      <a:pt x="341" y="948"/>
                    </a:lnTo>
                    <a:lnTo>
                      <a:pt x="333" y="972"/>
                    </a:lnTo>
                    <a:lnTo>
                      <a:pt x="333" y="990"/>
                    </a:lnTo>
                    <a:lnTo>
                      <a:pt x="333" y="999"/>
                    </a:lnTo>
                    <a:lnTo>
                      <a:pt x="348" y="1008"/>
                    </a:lnTo>
                    <a:lnTo>
                      <a:pt x="363" y="1034"/>
                    </a:lnTo>
                    <a:lnTo>
                      <a:pt x="377" y="1056"/>
                    </a:lnTo>
                    <a:lnTo>
                      <a:pt x="393" y="1062"/>
                    </a:lnTo>
                    <a:lnTo>
                      <a:pt x="395" y="1074"/>
                    </a:lnTo>
                    <a:lnTo>
                      <a:pt x="389" y="1080"/>
                    </a:lnTo>
                    <a:lnTo>
                      <a:pt x="372" y="1079"/>
                    </a:lnTo>
                    <a:lnTo>
                      <a:pt x="366" y="1080"/>
                    </a:lnTo>
                    <a:lnTo>
                      <a:pt x="356" y="1076"/>
                    </a:lnTo>
                    <a:lnTo>
                      <a:pt x="336" y="1071"/>
                    </a:lnTo>
                    <a:lnTo>
                      <a:pt x="327" y="1062"/>
                    </a:lnTo>
                    <a:lnTo>
                      <a:pt x="311" y="1055"/>
                    </a:lnTo>
                    <a:lnTo>
                      <a:pt x="300" y="1056"/>
                    </a:lnTo>
                    <a:lnTo>
                      <a:pt x="288" y="1065"/>
                    </a:lnTo>
                    <a:lnTo>
                      <a:pt x="275" y="1064"/>
                    </a:lnTo>
                    <a:lnTo>
                      <a:pt x="254" y="1068"/>
                    </a:lnTo>
                    <a:lnTo>
                      <a:pt x="221" y="1083"/>
                    </a:lnTo>
                    <a:lnTo>
                      <a:pt x="210" y="1076"/>
                    </a:lnTo>
                    <a:lnTo>
                      <a:pt x="213" y="1070"/>
                    </a:lnTo>
                    <a:lnTo>
                      <a:pt x="207" y="1052"/>
                    </a:lnTo>
                    <a:lnTo>
                      <a:pt x="210" y="1029"/>
                    </a:lnTo>
                    <a:lnTo>
                      <a:pt x="203" y="1016"/>
                    </a:lnTo>
                    <a:lnTo>
                      <a:pt x="203" y="1001"/>
                    </a:lnTo>
                    <a:lnTo>
                      <a:pt x="215" y="992"/>
                    </a:lnTo>
                    <a:lnTo>
                      <a:pt x="209" y="983"/>
                    </a:lnTo>
                    <a:lnTo>
                      <a:pt x="200" y="980"/>
                    </a:lnTo>
                    <a:lnTo>
                      <a:pt x="186" y="987"/>
                    </a:lnTo>
                    <a:lnTo>
                      <a:pt x="174" y="971"/>
                    </a:lnTo>
                    <a:lnTo>
                      <a:pt x="180" y="962"/>
                    </a:lnTo>
                    <a:lnTo>
                      <a:pt x="176" y="950"/>
                    </a:lnTo>
                    <a:lnTo>
                      <a:pt x="165" y="947"/>
                    </a:lnTo>
                    <a:lnTo>
                      <a:pt x="159" y="936"/>
                    </a:lnTo>
                    <a:lnTo>
                      <a:pt x="173" y="915"/>
                    </a:lnTo>
                    <a:lnTo>
                      <a:pt x="170" y="909"/>
                    </a:lnTo>
                    <a:lnTo>
                      <a:pt x="140" y="909"/>
                    </a:lnTo>
                    <a:lnTo>
                      <a:pt x="120" y="908"/>
                    </a:lnTo>
                    <a:lnTo>
                      <a:pt x="110" y="914"/>
                    </a:lnTo>
                    <a:lnTo>
                      <a:pt x="102" y="911"/>
                    </a:lnTo>
                    <a:lnTo>
                      <a:pt x="101" y="902"/>
                    </a:lnTo>
                    <a:lnTo>
                      <a:pt x="90" y="899"/>
                    </a:lnTo>
                    <a:lnTo>
                      <a:pt x="84" y="893"/>
                    </a:lnTo>
                    <a:lnTo>
                      <a:pt x="63" y="905"/>
                    </a:lnTo>
                    <a:lnTo>
                      <a:pt x="56" y="894"/>
                    </a:lnTo>
                    <a:lnTo>
                      <a:pt x="44" y="890"/>
                    </a:lnTo>
                    <a:lnTo>
                      <a:pt x="38" y="872"/>
                    </a:lnTo>
                    <a:lnTo>
                      <a:pt x="27" y="869"/>
                    </a:lnTo>
                    <a:lnTo>
                      <a:pt x="18" y="866"/>
                    </a:lnTo>
                    <a:lnTo>
                      <a:pt x="26" y="852"/>
                    </a:lnTo>
                    <a:lnTo>
                      <a:pt x="12" y="821"/>
                    </a:lnTo>
                    <a:lnTo>
                      <a:pt x="2" y="818"/>
                    </a:lnTo>
                    <a:lnTo>
                      <a:pt x="0" y="812"/>
                    </a:lnTo>
                    <a:lnTo>
                      <a:pt x="15" y="800"/>
                    </a:lnTo>
                    <a:lnTo>
                      <a:pt x="44" y="809"/>
                    </a:lnTo>
                    <a:lnTo>
                      <a:pt x="53" y="803"/>
                    </a:lnTo>
                    <a:lnTo>
                      <a:pt x="62" y="801"/>
                    </a:lnTo>
                    <a:lnTo>
                      <a:pt x="56" y="792"/>
                    </a:lnTo>
                    <a:lnTo>
                      <a:pt x="38" y="785"/>
                    </a:lnTo>
                    <a:lnTo>
                      <a:pt x="36" y="777"/>
                    </a:lnTo>
                    <a:lnTo>
                      <a:pt x="33" y="761"/>
                    </a:lnTo>
                    <a:lnTo>
                      <a:pt x="41" y="753"/>
                    </a:lnTo>
                    <a:lnTo>
                      <a:pt x="35" y="735"/>
                    </a:lnTo>
                    <a:lnTo>
                      <a:pt x="33" y="725"/>
                    </a:lnTo>
                    <a:lnTo>
                      <a:pt x="45" y="722"/>
                    </a:lnTo>
                    <a:lnTo>
                      <a:pt x="65" y="732"/>
                    </a:lnTo>
                    <a:lnTo>
                      <a:pt x="75" y="731"/>
                    </a:lnTo>
                    <a:lnTo>
                      <a:pt x="83" y="731"/>
                    </a:lnTo>
                    <a:lnTo>
                      <a:pt x="104" y="738"/>
                    </a:lnTo>
                    <a:lnTo>
                      <a:pt x="122" y="758"/>
                    </a:lnTo>
                    <a:lnTo>
                      <a:pt x="134" y="750"/>
                    </a:lnTo>
                    <a:lnTo>
                      <a:pt x="147" y="759"/>
                    </a:lnTo>
                    <a:lnTo>
                      <a:pt x="156" y="756"/>
                    </a:lnTo>
                    <a:lnTo>
                      <a:pt x="168" y="722"/>
                    </a:lnTo>
                    <a:lnTo>
                      <a:pt x="177" y="717"/>
                    </a:lnTo>
                    <a:lnTo>
                      <a:pt x="186" y="720"/>
                    </a:lnTo>
                    <a:lnTo>
                      <a:pt x="195" y="717"/>
                    </a:lnTo>
                    <a:lnTo>
                      <a:pt x="192" y="707"/>
                    </a:lnTo>
                    <a:lnTo>
                      <a:pt x="182" y="698"/>
                    </a:lnTo>
                    <a:lnTo>
                      <a:pt x="164" y="680"/>
                    </a:lnTo>
                    <a:lnTo>
                      <a:pt x="159" y="683"/>
                    </a:lnTo>
                    <a:lnTo>
                      <a:pt x="143" y="666"/>
                    </a:lnTo>
                    <a:lnTo>
                      <a:pt x="150" y="650"/>
                    </a:lnTo>
                    <a:lnTo>
                      <a:pt x="155" y="644"/>
                    </a:lnTo>
                    <a:lnTo>
                      <a:pt x="164" y="629"/>
                    </a:lnTo>
                    <a:lnTo>
                      <a:pt x="170" y="615"/>
                    </a:lnTo>
                    <a:lnTo>
                      <a:pt x="177" y="599"/>
                    </a:lnTo>
                    <a:lnTo>
                      <a:pt x="186" y="593"/>
                    </a:lnTo>
                    <a:lnTo>
                      <a:pt x="186" y="581"/>
                    </a:lnTo>
                    <a:lnTo>
                      <a:pt x="179" y="567"/>
                    </a:lnTo>
                    <a:lnTo>
                      <a:pt x="182" y="551"/>
                    </a:lnTo>
                    <a:lnTo>
                      <a:pt x="194" y="545"/>
                    </a:lnTo>
                    <a:lnTo>
                      <a:pt x="206" y="549"/>
                    </a:lnTo>
                    <a:lnTo>
                      <a:pt x="213" y="545"/>
                    </a:lnTo>
                    <a:lnTo>
                      <a:pt x="222" y="552"/>
                    </a:lnTo>
                    <a:lnTo>
                      <a:pt x="254" y="557"/>
                    </a:lnTo>
                    <a:lnTo>
                      <a:pt x="255" y="551"/>
                    </a:lnTo>
                    <a:lnTo>
                      <a:pt x="264" y="549"/>
                    </a:lnTo>
                    <a:lnTo>
                      <a:pt x="263" y="540"/>
                    </a:lnTo>
                    <a:lnTo>
                      <a:pt x="266" y="530"/>
                    </a:lnTo>
                    <a:lnTo>
                      <a:pt x="291" y="545"/>
                    </a:lnTo>
                    <a:lnTo>
                      <a:pt x="299" y="545"/>
                    </a:lnTo>
                    <a:lnTo>
                      <a:pt x="306" y="536"/>
                    </a:lnTo>
                    <a:lnTo>
                      <a:pt x="309" y="519"/>
                    </a:lnTo>
                    <a:lnTo>
                      <a:pt x="317" y="512"/>
                    </a:lnTo>
                    <a:lnTo>
                      <a:pt x="326" y="503"/>
                    </a:lnTo>
                    <a:lnTo>
                      <a:pt x="324" y="491"/>
                    </a:lnTo>
                    <a:lnTo>
                      <a:pt x="315" y="483"/>
                    </a:lnTo>
                    <a:lnTo>
                      <a:pt x="314" y="474"/>
                    </a:lnTo>
                    <a:lnTo>
                      <a:pt x="321" y="450"/>
                    </a:lnTo>
                    <a:lnTo>
                      <a:pt x="329" y="447"/>
                    </a:lnTo>
                    <a:lnTo>
                      <a:pt x="329" y="423"/>
                    </a:lnTo>
                    <a:lnTo>
                      <a:pt x="335" y="423"/>
                    </a:lnTo>
                    <a:lnTo>
                      <a:pt x="350" y="432"/>
                    </a:lnTo>
                    <a:lnTo>
                      <a:pt x="366" y="435"/>
                    </a:lnTo>
                    <a:lnTo>
                      <a:pt x="386" y="425"/>
                    </a:lnTo>
                    <a:lnTo>
                      <a:pt x="401" y="426"/>
                    </a:lnTo>
                    <a:lnTo>
                      <a:pt x="420" y="417"/>
                    </a:lnTo>
                    <a:lnTo>
                      <a:pt x="426" y="411"/>
                    </a:lnTo>
                    <a:lnTo>
                      <a:pt x="425" y="405"/>
                    </a:lnTo>
                    <a:lnTo>
                      <a:pt x="447" y="398"/>
                    </a:lnTo>
                    <a:lnTo>
                      <a:pt x="437" y="384"/>
                    </a:lnTo>
                    <a:lnTo>
                      <a:pt x="426" y="372"/>
                    </a:lnTo>
                    <a:lnTo>
                      <a:pt x="453" y="356"/>
                    </a:lnTo>
                    <a:lnTo>
                      <a:pt x="467" y="362"/>
                    </a:lnTo>
                    <a:lnTo>
                      <a:pt x="473" y="338"/>
                    </a:lnTo>
                    <a:lnTo>
                      <a:pt x="486" y="332"/>
                    </a:lnTo>
                    <a:lnTo>
                      <a:pt x="507" y="350"/>
                    </a:lnTo>
                    <a:lnTo>
                      <a:pt x="513" y="351"/>
                    </a:lnTo>
                    <a:lnTo>
                      <a:pt x="539" y="333"/>
                    </a:lnTo>
                    <a:lnTo>
                      <a:pt x="557" y="317"/>
                    </a:lnTo>
                    <a:lnTo>
                      <a:pt x="570" y="300"/>
                    </a:lnTo>
                    <a:lnTo>
                      <a:pt x="584" y="300"/>
                    </a:lnTo>
                    <a:lnTo>
                      <a:pt x="596" y="311"/>
                    </a:lnTo>
                    <a:lnTo>
                      <a:pt x="612" y="311"/>
                    </a:lnTo>
                    <a:lnTo>
                      <a:pt x="621" y="303"/>
                    </a:lnTo>
                    <a:lnTo>
                      <a:pt x="647" y="309"/>
                    </a:lnTo>
                    <a:lnTo>
                      <a:pt x="657" y="308"/>
                    </a:lnTo>
                    <a:lnTo>
                      <a:pt x="665" y="288"/>
                    </a:lnTo>
                    <a:lnTo>
                      <a:pt x="699" y="285"/>
                    </a:lnTo>
                    <a:lnTo>
                      <a:pt x="705" y="294"/>
                    </a:lnTo>
                    <a:lnTo>
                      <a:pt x="732" y="312"/>
                    </a:lnTo>
                    <a:lnTo>
                      <a:pt x="750" y="300"/>
                    </a:lnTo>
                    <a:lnTo>
                      <a:pt x="740" y="281"/>
                    </a:lnTo>
                    <a:lnTo>
                      <a:pt x="753" y="266"/>
                    </a:lnTo>
                    <a:lnTo>
                      <a:pt x="755" y="242"/>
                    </a:lnTo>
                    <a:lnTo>
                      <a:pt x="750" y="224"/>
                    </a:lnTo>
                    <a:lnTo>
                      <a:pt x="753" y="209"/>
                    </a:lnTo>
                    <a:lnTo>
                      <a:pt x="726" y="195"/>
                    </a:lnTo>
                    <a:lnTo>
                      <a:pt x="731" y="180"/>
                    </a:lnTo>
                    <a:lnTo>
                      <a:pt x="725" y="158"/>
                    </a:lnTo>
                    <a:lnTo>
                      <a:pt x="728" y="144"/>
                    </a:lnTo>
                    <a:lnTo>
                      <a:pt x="713" y="138"/>
                    </a:lnTo>
                    <a:lnTo>
                      <a:pt x="677" y="141"/>
                    </a:lnTo>
                    <a:lnTo>
                      <a:pt x="633" y="132"/>
                    </a:lnTo>
                    <a:lnTo>
                      <a:pt x="627" y="122"/>
                    </a:lnTo>
                    <a:lnTo>
                      <a:pt x="638" y="66"/>
                    </a:lnTo>
                    <a:lnTo>
                      <a:pt x="647" y="54"/>
                    </a:lnTo>
                    <a:lnTo>
                      <a:pt x="648" y="21"/>
                    </a:lnTo>
                    <a:lnTo>
                      <a:pt x="677" y="3"/>
                    </a:lnTo>
                    <a:lnTo>
                      <a:pt x="705" y="17"/>
                    </a:lnTo>
                    <a:lnTo>
                      <a:pt x="725" y="15"/>
                    </a:lnTo>
                    <a:lnTo>
                      <a:pt x="737" y="9"/>
                    </a:lnTo>
                    <a:lnTo>
                      <a:pt x="752" y="18"/>
                    </a:lnTo>
                    <a:lnTo>
                      <a:pt x="758" y="47"/>
                    </a:lnTo>
                    <a:lnTo>
                      <a:pt x="756" y="51"/>
                    </a:lnTo>
                    <a:lnTo>
                      <a:pt x="753" y="60"/>
                    </a:lnTo>
                    <a:lnTo>
                      <a:pt x="771" y="68"/>
                    </a:lnTo>
                    <a:lnTo>
                      <a:pt x="789" y="62"/>
                    </a:lnTo>
                    <a:lnTo>
                      <a:pt x="798" y="71"/>
                    </a:lnTo>
                    <a:lnTo>
                      <a:pt x="812" y="65"/>
                    </a:lnTo>
                    <a:lnTo>
                      <a:pt x="824" y="80"/>
                    </a:lnTo>
                    <a:lnTo>
                      <a:pt x="852" y="74"/>
                    </a:lnTo>
                    <a:lnTo>
                      <a:pt x="863" y="54"/>
                    </a:lnTo>
                    <a:lnTo>
                      <a:pt x="848" y="33"/>
                    </a:lnTo>
                    <a:lnTo>
                      <a:pt x="873" y="18"/>
                    </a:lnTo>
                    <a:lnTo>
                      <a:pt x="888" y="26"/>
                    </a:lnTo>
                    <a:lnTo>
                      <a:pt x="909" y="15"/>
                    </a:lnTo>
                    <a:lnTo>
                      <a:pt x="915" y="6"/>
                    </a:lnTo>
                    <a:lnTo>
                      <a:pt x="924" y="0"/>
                    </a:lnTo>
                    <a:lnTo>
                      <a:pt x="963" y="9"/>
                    </a:lnTo>
                    <a:lnTo>
                      <a:pt x="959" y="21"/>
                    </a:lnTo>
                    <a:lnTo>
                      <a:pt x="974" y="41"/>
                    </a:lnTo>
                    <a:lnTo>
                      <a:pt x="978" y="59"/>
                    </a:lnTo>
                    <a:lnTo>
                      <a:pt x="990" y="72"/>
                    </a:lnTo>
                    <a:lnTo>
                      <a:pt x="996" y="93"/>
                    </a:lnTo>
                    <a:lnTo>
                      <a:pt x="1010" y="114"/>
                    </a:lnTo>
                    <a:lnTo>
                      <a:pt x="1050" y="114"/>
                    </a:lnTo>
                    <a:lnTo>
                      <a:pt x="1059" y="125"/>
                    </a:lnTo>
                    <a:lnTo>
                      <a:pt x="1053" y="149"/>
                    </a:lnTo>
                    <a:lnTo>
                      <a:pt x="1065" y="168"/>
                    </a:lnTo>
                    <a:lnTo>
                      <a:pt x="1068" y="189"/>
                    </a:lnTo>
                    <a:lnTo>
                      <a:pt x="1059" y="209"/>
                    </a:lnTo>
                    <a:lnTo>
                      <a:pt x="1064" y="218"/>
                    </a:lnTo>
                    <a:lnTo>
                      <a:pt x="1062" y="236"/>
                    </a:lnTo>
                    <a:lnTo>
                      <a:pt x="1067" y="246"/>
                    </a:lnTo>
                    <a:lnTo>
                      <a:pt x="1089" y="258"/>
                    </a:lnTo>
                    <a:lnTo>
                      <a:pt x="1124" y="294"/>
                    </a:lnTo>
                    <a:lnTo>
                      <a:pt x="1167" y="315"/>
                    </a:lnTo>
                    <a:close/>
                  </a:path>
                </a:pathLst>
              </a:custGeom>
              <a:grp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grpSp>
        <p:sp>
          <p:nvSpPr>
            <p:cNvPr id="216" name="Freeform 163">
              <a:extLst>
                <a:ext uri="{FF2B5EF4-FFF2-40B4-BE49-F238E27FC236}">
                  <a16:creationId xmlns:a16="http://schemas.microsoft.com/office/drawing/2014/main" id="{B31DB65E-B245-1F51-6C76-E96CAE883909}"/>
                </a:ext>
              </a:extLst>
            </p:cNvPr>
            <p:cNvSpPr>
              <a:spLocks noChangeAspect="1"/>
            </p:cNvSpPr>
            <p:nvPr/>
          </p:nvSpPr>
          <p:spPr bwMode="auto">
            <a:xfrm>
              <a:off x="2895600" y="4052888"/>
              <a:ext cx="473075" cy="511175"/>
            </a:xfrm>
            <a:custGeom>
              <a:avLst/>
              <a:gdLst>
                <a:gd name="T0" fmla="*/ 2147483647 w 254"/>
                <a:gd name="T1" fmla="*/ 2147483647 h 292"/>
                <a:gd name="T2" fmla="*/ 2147483647 w 254"/>
                <a:gd name="T3" fmla="*/ 2147483647 h 292"/>
                <a:gd name="T4" fmla="*/ 2147483647 w 254"/>
                <a:gd name="T5" fmla="*/ 2147483647 h 292"/>
                <a:gd name="T6" fmla="*/ 2147483647 w 254"/>
                <a:gd name="T7" fmla="*/ 2147483647 h 292"/>
                <a:gd name="T8" fmla="*/ 2147483647 w 254"/>
                <a:gd name="T9" fmla="*/ 2147483647 h 292"/>
                <a:gd name="T10" fmla="*/ 2147483647 w 254"/>
                <a:gd name="T11" fmla="*/ 2147483647 h 292"/>
                <a:gd name="T12" fmla="*/ 2147483647 w 254"/>
                <a:gd name="T13" fmla="*/ 2147483647 h 292"/>
                <a:gd name="T14" fmla="*/ 2147483647 w 254"/>
                <a:gd name="T15" fmla="*/ 2147483647 h 292"/>
                <a:gd name="T16" fmla="*/ 2147483647 w 254"/>
                <a:gd name="T17" fmla="*/ 2147483647 h 292"/>
                <a:gd name="T18" fmla="*/ 2147483647 w 254"/>
                <a:gd name="T19" fmla="*/ 2147483647 h 292"/>
                <a:gd name="T20" fmla="*/ 2147483647 w 254"/>
                <a:gd name="T21" fmla="*/ 2147483647 h 292"/>
                <a:gd name="T22" fmla="*/ 2147483647 w 254"/>
                <a:gd name="T23" fmla="*/ 2147483647 h 292"/>
                <a:gd name="T24" fmla="*/ 2147483647 w 254"/>
                <a:gd name="T25" fmla="*/ 2147483647 h 292"/>
                <a:gd name="T26" fmla="*/ 2147483647 w 254"/>
                <a:gd name="T27" fmla="*/ 2147483647 h 292"/>
                <a:gd name="T28" fmla="*/ 2147483647 w 254"/>
                <a:gd name="T29" fmla="*/ 2147483647 h 292"/>
                <a:gd name="T30" fmla="*/ 2147483647 w 254"/>
                <a:gd name="T31" fmla="*/ 2147483647 h 292"/>
                <a:gd name="T32" fmla="*/ 2147483647 w 254"/>
                <a:gd name="T33" fmla="*/ 2147483647 h 292"/>
                <a:gd name="T34" fmla="*/ 2147483647 w 254"/>
                <a:gd name="T35" fmla="*/ 2147483647 h 292"/>
                <a:gd name="T36" fmla="*/ 2147483647 w 254"/>
                <a:gd name="T37" fmla="*/ 2147483647 h 292"/>
                <a:gd name="T38" fmla="*/ 2147483647 w 254"/>
                <a:gd name="T39" fmla="*/ 2147483647 h 292"/>
                <a:gd name="T40" fmla="*/ 2147483647 w 254"/>
                <a:gd name="T41" fmla="*/ 2147483647 h 292"/>
                <a:gd name="T42" fmla="*/ 2147483647 w 254"/>
                <a:gd name="T43" fmla="*/ 2147483647 h 292"/>
                <a:gd name="T44" fmla="*/ 2147483647 w 254"/>
                <a:gd name="T45" fmla="*/ 2147483647 h 292"/>
                <a:gd name="T46" fmla="*/ 2147483647 w 254"/>
                <a:gd name="T47" fmla="*/ 2147483647 h 292"/>
                <a:gd name="T48" fmla="*/ 2147483647 w 254"/>
                <a:gd name="T49" fmla="*/ 2147483647 h 292"/>
                <a:gd name="T50" fmla="*/ 2147483647 w 254"/>
                <a:gd name="T51" fmla="*/ 2147483647 h 292"/>
                <a:gd name="T52" fmla="*/ 2147483647 w 254"/>
                <a:gd name="T53" fmla="*/ 2147483647 h 292"/>
                <a:gd name="T54" fmla="*/ 2147483647 w 254"/>
                <a:gd name="T55" fmla="*/ 2147483647 h 292"/>
                <a:gd name="T56" fmla="*/ 2147483647 w 254"/>
                <a:gd name="T57" fmla="*/ 2147483647 h 292"/>
                <a:gd name="T58" fmla="*/ 2147483647 w 254"/>
                <a:gd name="T59" fmla="*/ 2147483647 h 292"/>
                <a:gd name="T60" fmla="*/ 2147483647 w 254"/>
                <a:gd name="T61" fmla="*/ 2147483647 h 292"/>
                <a:gd name="T62" fmla="*/ 2147483647 w 254"/>
                <a:gd name="T63" fmla="*/ 2147483647 h 292"/>
                <a:gd name="T64" fmla="*/ 2147483647 w 254"/>
                <a:gd name="T65" fmla="*/ 2147483647 h 292"/>
                <a:gd name="T66" fmla="*/ 2147483647 w 254"/>
                <a:gd name="T67" fmla="*/ 2147483647 h 292"/>
                <a:gd name="T68" fmla="*/ 2147483647 w 254"/>
                <a:gd name="T69" fmla="*/ 2147483647 h 292"/>
                <a:gd name="T70" fmla="*/ 2147483647 w 254"/>
                <a:gd name="T71" fmla="*/ 2147483647 h 292"/>
                <a:gd name="T72" fmla="*/ 2147483647 w 254"/>
                <a:gd name="T73" fmla="*/ 2147483647 h 292"/>
                <a:gd name="T74" fmla="*/ 2147483647 w 254"/>
                <a:gd name="T75" fmla="*/ 2147483647 h 292"/>
                <a:gd name="T76" fmla="*/ 2147483647 w 254"/>
                <a:gd name="T77" fmla="*/ 2147483647 h 292"/>
                <a:gd name="T78" fmla="*/ 2147483647 w 254"/>
                <a:gd name="T79" fmla="*/ 2147483647 h 292"/>
                <a:gd name="T80" fmla="*/ 2147483647 w 254"/>
                <a:gd name="T81" fmla="*/ 2147483647 h 292"/>
                <a:gd name="T82" fmla="*/ 2147483647 w 254"/>
                <a:gd name="T83" fmla="*/ 2147483647 h 292"/>
                <a:gd name="T84" fmla="*/ 2147483647 w 254"/>
                <a:gd name="T85" fmla="*/ 2147483647 h 2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4"/>
                <a:gd name="T130" fmla="*/ 0 h 292"/>
                <a:gd name="T131" fmla="*/ 254 w 254"/>
                <a:gd name="T132" fmla="*/ 292 h 2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4" h="292">
                  <a:moveTo>
                    <a:pt x="205" y="153"/>
                  </a:moveTo>
                  <a:lnTo>
                    <a:pt x="182" y="153"/>
                  </a:lnTo>
                  <a:lnTo>
                    <a:pt x="159" y="162"/>
                  </a:lnTo>
                  <a:lnTo>
                    <a:pt x="154" y="165"/>
                  </a:lnTo>
                  <a:lnTo>
                    <a:pt x="147" y="165"/>
                  </a:lnTo>
                  <a:lnTo>
                    <a:pt x="138" y="169"/>
                  </a:lnTo>
                  <a:lnTo>
                    <a:pt x="120" y="164"/>
                  </a:lnTo>
                  <a:lnTo>
                    <a:pt x="118" y="160"/>
                  </a:lnTo>
                  <a:lnTo>
                    <a:pt x="116" y="160"/>
                  </a:lnTo>
                  <a:lnTo>
                    <a:pt x="112" y="152"/>
                  </a:lnTo>
                  <a:lnTo>
                    <a:pt x="107" y="148"/>
                  </a:lnTo>
                  <a:lnTo>
                    <a:pt x="102" y="148"/>
                  </a:lnTo>
                  <a:lnTo>
                    <a:pt x="101" y="148"/>
                  </a:lnTo>
                  <a:lnTo>
                    <a:pt x="100" y="145"/>
                  </a:lnTo>
                  <a:lnTo>
                    <a:pt x="91" y="143"/>
                  </a:lnTo>
                  <a:lnTo>
                    <a:pt x="88" y="153"/>
                  </a:lnTo>
                  <a:lnTo>
                    <a:pt x="89" y="157"/>
                  </a:lnTo>
                  <a:lnTo>
                    <a:pt x="86" y="166"/>
                  </a:lnTo>
                  <a:lnTo>
                    <a:pt x="86" y="173"/>
                  </a:lnTo>
                  <a:lnTo>
                    <a:pt x="88" y="176"/>
                  </a:lnTo>
                  <a:lnTo>
                    <a:pt x="85" y="179"/>
                  </a:lnTo>
                  <a:lnTo>
                    <a:pt x="85" y="191"/>
                  </a:lnTo>
                  <a:lnTo>
                    <a:pt x="91" y="197"/>
                  </a:lnTo>
                  <a:lnTo>
                    <a:pt x="92" y="200"/>
                  </a:lnTo>
                  <a:lnTo>
                    <a:pt x="87" y="206"/>
                  </a:lnTo>
                  <a:lnTo>
                    <a:pt x="89" y="215"/>
                  </a:lnTo>
                  <a:lnTo>
                    <a:pt x="89" y="228"/>
                  </a:lnTo>
                  <a:lnTo>
                    <a:pt x="85" y="245"/>
                  </a:lnTo>
                  <a:lnTo>
                    <a:pt x="76" y="259"/>
                  </a:lnTo>
                  <a:lnTo>
                    <a:pt x="66" y="266"/>
                  </a:lnTo>
                  <a:lnTo>
                    <a:pt x="58" y="274"/>
                  </a:lnTo>
                  <a:lnTo>
                    <a:pt x="56" y="278"/>
                  </a:lnTo>
                  <a:lnTo>
                    <a:pt x="52" y="282"/>
                  </a:lnTo>
                  <a:lnTo>
                    <a:pt x="42" y="281"/>
                  </a:lnTo>
                  <a:lnTo>
                    <a:pt x="39" y="289"/>
                  </a:lnTo>
                  <a:lnTo>
                    <a:pt x="34" y="292"/>
                  </a:lnTo>
                  <a:lnTo>
                    <a:pt x="22" y="291"/>
                  </a:lnTo>
                  <a:lnTo>
                    <a:pt x="16" y="286"/>
                  </a:lnTo>
                  <a:lnTo>
                    <a:pt x="17" y="281"/>
                  </a:lnTo>
                  <a:lnTo>
                    <a:pt x="16" y="273"/>
                  </a:lnTo>
                  <a:lnTo>
                    <a:pt x="13" y="264"/>
                  </a:lnTo>
                  <a:lnTo>
                    <a:pt x="5" y="256"/>
                  </a:lnTo>
                  <a:lnTo>
                    <a:pt x="5" y="241"/>
                  </a:lnTo>
                  <a:lnTo>
                    <a:pt x="0" y="227"/>
                  </a:lnTo>
                  <a:lnTo>
                    <a:pt x="2" y="212"/>
                  </a:lnTo>
                  <a:lnTo>
                    <a:pt x="4" y="190"/>
                  </a:lnTo>
                  <a:lnTo>
                    <a:pt x="4" y="180"/>
                  </a:lnTo>
                  <a:lnTo>
                    <a:pt x="5" y="176"/>
                  </a:lnTo>
                  <a:lnTo>
                    <a:pt x="3" y="166"/>
                  </a:lnTo>
                  <a:lnTo>
                    <a:pt x="4" y="162"/>
                  </a:lnTo>
                  <a:lnTo>
                    <a:pt x="3" y="156"/>
                  </a:lnTo>
                  <a:lnTo>
                    <a:pt x="8" y="138"/>
                  </a:lnTo>
                  <a:lnTo>
                    <a:pt x="5" y="135"/>
                  </a:lnTo>
                  <a:lnTo>
                    <a:pt x="2" y="126"/>
                  </a:lnTo>
                  <a:lnTo>
                    <a:pt x="3" y="117"/>
                  </a:lnTo>
                  <a:lnTo>
                    <a:pt x="4" y="109"/>
                  </a:lnTo>
                  <a:lnTo>
                    <a:pt x="9" y="97"/>
                  </a:lnTo>
                  <a:lnTo>
                    <a:pt x="8" y="91"/>
                  </a:lnTo>
                  <a:lnTo>
                    <a:pt x="18" y="79"/>
                  </a:lnTo>
                  <a:lnTo>
                    <a:pt x="28" y="71"/>
                  </a:lnTo>
                  <a:lnTo>
                    <a:pt x="32" y="70"/>
                  </a:lnTo>
                  <a:lnTo>
                    <a:pt x="41" y="72"/>
                  </a:lnTo>
                  <a:lnTo>
                    <a:pt x="45" y="83"/>
                  </a:lnTo>
                  <a:lnTo>
                    <a:pt x="54" y="87"/>
                  </a:lnTo>
                  <a:lnTo>
                    <a:pt x="56" y="91"/>
                  </a:lnTo>
                  <a:lnTo>
                    <a:pt x="59" y="90"/>
                  </a:lnTo>
                  <a:lnTo>
                    <a:pt x="62" y="97"/>
                  </a:lnTo>
                  <a:lnTo>
                    <a:pt x="69" y="95"/>
                  </a:lnTo>
                  <a:lnTo>
                    <a:pt x="74" y="98"/>
                  </a:lnTo>
                  <a:lnTo>
                    <a:pt x="73" y="100"/>
                  </a:lnTo>
                  <a:lnTo>
                    <a:pt x="78" y="105"/>
                  </a:lnTo>
                  <a:lnTo>
                    <a:pt x="87" y="106"/>
                  </a:lnTo>
                  <a:lnTo>
                    <a:pt x="85" y="111"/>
                  </a:lnTo>
                  <a:lnTo>
                    <a:pt x="82" y="118"/>
                  </a:lnTo>
                  <a:lnTo>
                    <a:pt x="80" y="114"/>
                  </a:lnTo>
                  <a:lnTo>
                    <a:pt x="78" y="120"/>
                  </a:lnTo>
                  <a:lnTo>
                    <a:pt x="83" y="119"/>
                  </a:lnTo>
                  <a:lnTo>
                    <a:pt x="82" y="124"/>
                  </a:lnTo>
                  <a:lnTo>
                    <a:pt x="85" y="124"/>
                  </a:lnTo>
                  <a:lnTo>
                    <a:pt x="88" y="118"/>
                  </a:lnTo>
                  <a:lnTo>
                    <a:pt x="89" y="120"/>
                  </a:lnTo>
                  <a:lnTo>
                    <a:pt x="88" y="124"/>
                  </a:lnTo>
                  <a:lnTo>
                    <a:pt x="90" y="126"/>
                  </a:lnTo>
                  <a:lnTo>
                    <a:pt x="95" y="119"/>
                  </a:lnTo>
                  <a:lnTo>
                    <a:pt x="102" y="117"/>
                  </a:lnTo>
                  <a:lnTo>
                    <a:pt x="107" y="120"/>
                  </a:lnTo>
                  <a:lnTo>
                    <a:pt x="108" y="115"/>
                  </a:lnTo>
                  <a:lnTo>
                    <a:pt x="109" y="116"/>
                  </a:lnTo>
                  <a:lnTo>
                    <a:pt x="111" y="108"/>
                  </a:lnTo>
                  <a:lnTo>
                    <a:pt x="115" y="106"/>
                  </a:lnTo>
                  <a:lnTo>
                    <a:pt x="118" y="92"/>
                  </a:lnTo>
                  <a:lnTo>
                    <a:pt x="123" y="87"/>
                  </a:lnTo>
                  <a:lnTo>
                    <a:pt x="127" y="89"/>
                  </a:lnTo>
                  <a:lnTo>
                    <a:pt x="134" y="85"/>
                  </a:lnTo>
                  <a:lnTo>
                    <a:pt x="134" y="77"/>
                  </a:lnTo>
                  <a:lnTo>
                    <a:pt x="137" y="74"/>
                  </a:lnTo>
                  <a:lnTo>
                    <a:pt x="134" y="68"/>
                  </a:lnTo>
                  <a:lnTo>
                    <a:pt x="133" y="67"/>
                  </a:lnTo>
                  <a:lnTo>
                    <a:pt x="131" y="67"/>
                  </a:lnTo>
                  <a:lnTo>
                    <a:pt x="126" y="63"/>
                  </a:lnTo>
                  <a:lnTo>
                    <a:pt x="122" y="50"/>
                  </a:lnTo>
                  <a:lnTo>
                    <a:pt x="123" y="34"/>
                  </a:lnTo>
                  <a:lnTo>
                    <a:pt x="134" y="21"/>
                  </a:lnTo>
                  <a:lnTo>
                    <a:pt x="137" y="21"/>
                  </a:lnTo>
                  <a:lnTo>
                    <a:pt x="142" y="15"/>
                  </a:lnTo>
                  <a:lnTo>
                    <a:pt x="148" y="12"/>
                  </a:lnTo>
                  <a:lnTo>
                    <a:pt x="159" y="0"/>
                  </a:lnTo>
                  <a:lnTo>
                    <a:pt x="162" y="1"/>
                  </a:lnTo>
                  <a:lnTo>
                    <a:pt x="160" y="6"/>
                  </a:lnTo>
                  <a:lnTo>
                    <a:pt x="162" y="9"/>
                  </a:lnTo>
                  <a:lnTo>
                    <a:pt x="168" y="6"/>
                  </a:lnTo>
                  <a:lnTo>
                    <a:pt x="167" y="15"/>
                  </a:lnTo>
                  <a:lnTo>
                    <a:pt x="179" y="28"/>
                  </a:lnTo>
                  <a:lnTo>
                    <a:pt x="180" y="45"/>
                  </a:lnTo>
                  <a:lnTo>
                    <a:pt x="179" y="56"/>
                  </a:lnTo>
                  <a:lnTo>
                    <a:pt x="175" y="66"/>
                  </a:lnTo>
                  <a:lnTo>
                    <a:pt x="175" y="69"/>
                  </a:lnTo>
                  <a:lnTo>
                    <a:pt x="178" y="83"/>
                  </a:lnTo>
                  <a:lnTo>
                    <a:pt x="183" y="95"/>
                  </a:lnTo>
                  <a:lnTo>
                    <a:pt x="213" y="111"/>
                  </a:lnTo>
                  <a:lnTo>
                    <a:pt x="221" y="116"/>
                  </a:lnTo>
                  <a:lnTo>
                    <a:pt x="225" y="121"/>
                  </a:lnTo>
                  <a:lnTo>
                    <a:pt x="230" y="129"/>
                  </a:lnTo>
                  <a:lnTo>
                    <a:pt x="233" y="139"/>
                  </a:lnTo>
                  <a:lnTo>
                    <a:pt x="238" y="145"/>
                  </a:lnTo>
                  <a:lnTo>
                    <a:pt x="253" y="153"/>
                  </a:lnTo>
                  <a:lnTo>
                    <a:pt x="254" y="157"/>
                  </a:lnTo>
                  <a:lnTo>
                    <a:pt x="240" y="150"/>
                  </a:lnTo>
                  <a:lnTo>
                    <a:pt x="225" y="149"/>
                  </a:lnTo>
                  <a:lnTo>
                    <a:pt x="205" y="153"/>
                  </a:lnTo>
                  <a:close/>
                </a:path>
              </a:pathLst>
            </a:custGeom>
            <a:grp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17" name="Freeform 162">
              <a:extLst>
                <a:ext uri="{FF2B5EF4-FFF2-40B4-BE49-F238E27FC236}">
                  <a16:creationId xmlns:a16="http://schemas.microsoft.com/office/drawing/2014/main" id="{66B4803C-EE82-74B2-6A7A-1BCB197E8FCE}"/>
                </a:ext>
              </a:extLst>
            </p:cNvPr>
            <p:cNvSpPr>
              <a:spLocks noChangeAspect="1"/>
            </p:cNvSpPr>
            <p:nvPr/>
          </p:nvSpPr>
          <p:spPr bwMode="auto">
            <a:xfrm>
              <a:off x="2941638" y="4627563"/>
              <a:ext cx="282575" cy="458787"/>
            </a:xfrm>
            <a:custGeom>
              <a:avLst/>
              <a:gdLst>
                <a:gd name="T0" fmla="*/ 2147483647 w 150"/>
                <a:gd name="T1" fmla="*/ 2147483647 h 266"/>
                <a:gd name="T2" fmla="*/ 2147483647 w 150"/>
                <a:gd name="T3" fmla="*/ 2147483647 h 266"/>
                <a:gd name="T4" fmla="*/ 2147483647 w 150"/>
                <a:gd name="T5" fmla="*/ 2147483647 h 266"/>
                <a:gd name="T6" fmla="*/ 2147483647 w 150"/>
                <a:gd name="T7" fmla="*/ 2147483647 h 266"/>
                <a:gd name="T8" fmla="*/ 2147483647 w 150"/>
                <a:gd name="T9" fmla="*/ 2147483647 h 266"/>
                <a:gd name="T10" fmla="*/ 2147483647 w 150"/>
                <a:gd name="T11" fmla="*/ 2147483647 h 266"/>
                <a:gd name="T12" fmla="*/ 2147483647 w 150"/>
                <a:gd name="T13" fmla="*/ 2147483647 h 266"/>
                <a:gd name="T14" fmla="*/ 2147483647 w 150"/>
                <a:gd name="T15" fmla="*/ 2147483647 h 266"/>
                <a:gd name="T16" fmla="*/ 2147483647 w 150"/>
                <a:gd name="T17" fmla="*/ 2147483647 h 266"/>
                <a:gd name="T18" fmla="*/ 2147483647 w 150"/>
                <a:gd name="T19" fmla="*/ 2147483647 h 266"/>
                <a:gd name="T20" fmla="*/ 2147483647 w 150"/>
                <a:gd name="T21" fmla="*/ 2147483647 h 266"/>
                <a:gd name="T22" fmla="*/ 2147483647 w 150"/>
                <a:gd name="T23" fmla="*/ 2147483647 h 266"/>
                <a:gd name="T24" fmla="*/ 2147483647 w 150"/>
                <a:gd name="T25" fmla="*/ 2147483647 h 266"/>
                <a:gd name="T26" fmla="*/ 2147483647 w 150"/>
                <a:gd name="T27" fmla="*/ 2147483647 h 266"/>
                <a:gd name="T28" fmla="*/ 2147483647 w 150"/>
                <a:gd name="T29" fmla="*/ 2147483647 h 266"/>
                <a:gd name="T30" fmla="*/ 2147483647 w 150"/>
                <a:gd name="T31" fmla="*/ 2147483647 h 266"/>
                <a:gd name="T32" fmla="*/ 2147483647 w 150"/>
                <a:gd name="T33" fmla="*/ 2147483647 h 266"/>
                <a:gd name="T34" fmla="*/ 2147483647 w 150"/>
                <a:gd name="T35" fmla="*/ 2147483647 h 266"/>
                <a:gd name="T36" fmla="*/ 2147483647 w 150"/>
                <a:gd name="T37" fmla="*/ 2147483647 h 266"/>
                <a:gd name="T38" fmla="*/ 2147483647 w 150"/>
                <a:gd name="T39" fmla="*/ 2147483647 h 266"/>
                <a:gd name="T40" fmla="*/ 2147483647 w 150"/>
                <a:gd name="T41" fmla="*/ 2147483647 h 266"/>
                <a:gd name="T42" fmla="*/ 2147483647 w 150"/>
                <a:gd name="T43" fmla="*/ 2147483647 h 266"/>
                <a:gd name="T44" fmla="*/ 2147483647 w 150"/>
                <a:gd name="T45" fmla="*/ 2147483647 h 266"/>
                <a:gd name="T46" fmla="*/ 2147483647 w 150"/>
                <a:gd name="T47" fmla="*/ 2147483647 h 266"/>
                <a:gd name="T48" fmla="*/ 2147483647 w 150"/>
                <a:gd name="T49" fmla="*/ 2147483647 h 266"/>
                <a:gd name="T50" fmla="*/ 2147483647 w 150"/>
                <a:gd name="T51" fmla="*/ 2147483647 h 266"/>
                <a:gd name="T52" fmla="*/ 0 w 150"/>
                <a:gd name="T53" fmla="*/ 2147483647 h 266"/>
                <a:gd name="T54" fmla="*/ 2147483647 w 150"/>
                <a:gd name="T55" fmla="*/ 2147483647 h 266"/>
                <a:gd name="T56" fmla="*/ 2147483647 w 150"/>
                <a:gd name="T57" fmla="*/ 2147483647 h 266"/>
                <a:gd name="T58" fmla="*/ 2147483647 w 150"/>
                <a:gd name="T59" fmla="*/ 2147483647 h 266"/>
                <a:gd name="T60" fmla="*/ 2147483647 w 150"/>
                <a:gd name="T61" fmla="*/ 2147483647 h 266"/>
                <a:gd name="T62" fmla="*/ 2147483647 w 150"/>
                <a:gd name="T63" fmla="*/ 2147483647 h 266"/>
                <a:gd name="T64" fmla="*/ 2147483647 w 150"/>
                <a:gd name="T65" fmla="*/ 2147483647 h 266"/>
                <a:gd name="T66" fmla="*/ 2147483647 w 150"/>
                <a:gd name="T67" fmla="*/ 2147483647 h 266"/>
                <a:gd name="T68" fmla="*/ 2147483647 w 150"/>
                <a:gd name="T69" fmla="*/ 2147483647 h 266"/>
                <a:gd name="T70" fmla="*/ 2147483647 w 150"/>
                <a:gd name="T71" fmla="*/ 2147483647 h 266"/>
                <a:gd name="T72" fmla="*/ 2147483647 w 150"/>
                <a:gd name="T73" fmla="*/ 2147483647 h 266"/>
                <a:gd name="T74" fmla="*/ 2147483647 w 150"/>
                <a:gd name="T75" fmla="*/ 2147483647 h 266"/>
                <a:gd name="T76" fmla="*/ 2147483647 w 150"/>
                <a:gd name="T77" fmla="*/ 2147483647 h 266"/>
                <a:gd name="T78" fmla="*/ 2147483647 w 150"/>
                <a:gd name="T79" fmla="*/ 2147483647 h 266"/>
                <a:gd name="T80" fmla="*/ 2147483647 w 150"/>
                <a:gd name="T81" fmla="*/ 2147483647 h 266"/>
                <a:gd name="T82" fmla="*/ 2147483647 w 150"/>
                <a:gd name="T83" fmla="*/ 2147483647 h 266"/>
                <a:gd name="T84" fmla="*/ 2147483647 w 150"/>
                <a:gd name="T85" fmla="*/ 2147483647 h 266"/>
                <a:gd name="T86" fmla="*/ 2147483647 w 150"/>
                <a:gd name="T87" fmla="*/ 2147483647 h 266"/>
                <a:gd name="T88" fmla="*/ 2147483647 w 150"/>
                <a:gd name="T89" fmla="*/ 2147483647 h 266"/>
                <a:gd name="T90" fmla="*/ 2147483647 w 150"/>
                <a:gd name="T91" fmla="*/ 2147483647 h 266"/>
                <a:gd name="T92" fmla="*/ 2147483647 w 150"/>
                <a:gd name="T93" fmla="*/ 2147483647 h 266"/>
                <a:gd name="T94" fmla="*/ 2147483647 w 150"/>
                <a:gd name="T95" fmla="*/ 2147483647 h 266"/>
                <a:gd name="T96" fmla="*/ 2147483647 w 150"/>
                <a:gd name="T97" fmla="*/ 2147483647 h 266"/>
                <a:gd name="T98" fmla="*/ 2147483647 w 150"/>
                <a:gd name="T99" fmla="*/ 2147483647 h 266"/>
                <a:gd name="T100" fmla="*/ 2147483647 w 150"/>
                <a:gd name="T101" fmla="*/ 2147483647 h 266"/>
                <a:gd name="T102" fmla="*/ 2147483647 w 150"/>
                <a:gd name="T103" fmla="*/ 2147483647 h 266"/>
                <a:gd name="T104" fmla="*/ 2147483647 w 150"/>
                <a:gd name="T105" fmla="*/ 2147483647 h 266"/>
                <a:gd name="T106" fmla="*/ 2147483647 w 150"/>
                <a:gd name="T107" fmla="*/ 2147483647 h 266"/>
                <a:gd name="T108" fmla="*/ 2147483647 w 150"/>
                <a:gd name="T109" fmla="*/ 2147483647 h 266"/>
                <a:gd name="T110" fmla="*/ 2147483647 w 150"/>
                <a:gd name="T111" fmla="*/ 2147483647 h 26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0"/>
                <a:gd name="T169" fmla="*/ 0 h 266"/>
                <a:gd name="T170" fmla="*/ 150 w 150"/>
                <a:gd name="T171" fmla="*/ 266 h 26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0" h="266">
                  <a:moveTo>
                    <a:pt x="146" y="227"/>
                  </a:moveTo>
                  <a:lnTo>
                    <a:pt x="142" y="230"/>
                  </a:lnTo>
                  <a:lnTo>
                    <a:pt x="145" y="236"/>
                  </a:lnTo>
                  <a:lnTo>
                    <a:pt x="140" y="238"/>
                  </a:lnTo>
                  <a:lnTo>
                    <a:pt x="140" y="240"/>
                  </a:lnTo>
                  <a:lnTo>
                    <a:pt x="135" y="247"/>
                  </a:lnTo>
                  <a:lnTo>
                    <a:pt x="139" y="249"/>
                  </a:lnTo>
                  <a:lnTo>
                    <a:pt x="132" y="252"/>
                  </a:lnTo>
                  <a:lnTo>
                    <a:pt x="130" y="250"/>
                  </a:lnTo>
                  <a:lnTo>
                    <a:pt x="128" y="252"/>
                  </a:lnTo>
                  <a:lnTo>
                    <a:pt x="131" y="258"/>
                  </a:lnTo>
                  <a:lnTo>
                    <a:pt x="125" y="258"/>
                  </a:lnTo>
                  <a:lnTo>
                    <a:pt x="123" y="266"/>
                  </a:lnTo>
                  <a:lnTo>
                    <a:pt x="113" y="266"/>
                  </a:lnTo>
                  <a:lnTo>
                    <a:pt x="109" y="252"/>
                  </a:lnTo>
                  <a:lnTo>
                    <a:pt x="115" y="245"/>
                  </a:lnTo>
                  <a:lnTo>
                    <a:pt x="115" y="237"/>
                  </a:lnTo>
                  <a:lnTo>
                    <a:pt x="119" y="238"/>
                  </a:lnTo>
                  <a:lnTo>
                    <a:pt x="120" y="235"/>
                  </a:lnTo>
                  <a:lnTo>
                    <a:pt x="122" y="234"/>
                  </a:lnTo>
                  <a:lnTo>
                    <a:pt x="122" y="233"/>
                  </a:lnTo>
                  <a:lnTo>
                    <a:pt x="124" y="231"/>
                  </a:lnTo>
                  <a:lnTo>
                    <a:pt x="124" y="226"/>
                  </a:lnTo>
                  <a:lnTo>
                    <a:pt x="116" y="228"/>
                  </a:lnTo>
                  <a:lnTo>
                    <a:pt x="110" y="239"/>
                  </a:lnTo>
                  <a:lnTo>
                    <a:pt x="107" y="237"/>
                  </a:lnTo>
                  <a:lnTo>
                    <a:pt x="108" y="234"/>
                  </a:lnTo>
                  <a:lnTo>
                    <a:pt x="105" y="233"/>
                  </a:lnTo>
                  <a:lnTo>
                    <a:pt x="104" y="226"/>
                  </a:lnTo>
                  <a:lnTo>
                    <a:pt x="96" y="230"/>
                  </a:lnTo>
                  <a:lnTo>
                    <a:pt x="92" y="227"/>
                  </a:lnTo>
                  <a:lnTo>
                    <a:pt x="87" y="227"/>
                  </a:lnTo>
                  <a:lnTo>
                    <a:pt x="81" y="222"/>
                  </a:lnTo>
                  <a:lnTo>
                    <a:pt x="80" y="224"/>
                  </a:lnTo>
                  <a:lnTo>
                    <a:pt x="76" y="225"/>
                  </a:lnTo>
                  <a:lnTo>
                    <a:pt x="77" y="217"/>
                  </a:lnTo>
                  <a:lnTo>
                    <a:pt x="75" y="218"/>
                  </a:lnTo>
                  <a:lnTo>
                    <a:pt x="75" y="220"/>
                  </a:lnTo>
                  <a:lnTo>
                    <a:pt x="71" y="223"/>
                  </a:lnTo>
                  <a:lnTo>
                    <a:pt x="73" y="224"/>
                  </a:lnTo>
                  <a:lnTo>
                    <a:pt x="70" y="224"/>
                  </a:lnTo>
                  <a:lnTo>
                    <a:pt x="66" y="220"/>
                  </a:lnTo>
                  <a:lnTo>
                    <a:pt x="64" y="221"/>
                  </a:lnTo>
                  <a:lnTo>
                    <a:pt x="59" y="216"/>
                  </a:lnTo>
                  <a:lnTo>
                    <a:pt x="51" y="220"/>
                  </a:lnTo>
                  <a:lnTo>
                    <a:pt x="47" y="225"/>
                  </a:lnTo>
                  <a:lnTo>
                    <a:pt x="43" y="228"/>
                  </a:lnTo>
                  <a:lnTo>
                    <a:pt x="37" y="226"/>
                  </a:lnTo>
                  <a:lnTo>
                    <a:pt x="38" y="221"/>
                  </a:lnTo>
                  <a:lnTo>
                    <a:pt x="32" y="217"/>
                  </a:lnTo>
                  <a:lnTo>
                    <a:pt x="33" y="211"/>
                  </a:lnTo>
                  <a:lnTo>
                    <a:pt x="35" y="209"/>
                  </a:lnTo>
                  <a:lnTo>
                    <a:pt x="31" y="206"/>
                  </a:lnTo>
                  <a:lnTo>
                    <a:pt x="31" y="205"/>
                  </a:lnTo>
                  <a:lnTo>
                    <a:pt x="33" y="203"/>
                  </a:lnTo>
                  <a:lnTo>
                    <a:pt x="33" y="198"/>
                  </a:lnTo>
                  <a:lnTo>
                    <a:pt x="29" y="197"/>
                  </a:lnTo>
                  <a:lnTo>
                    <a:pt x="30" y="192"/>
                  </a:lnTo>
                  <a:lnTo>
                    <a:pt x="35" y="188"/>
                  </a:lnTo>
                  <a:lnTo>
                    <a:pt x="35" y="185"/>
                  </a:lnTo>
                  <a:lnTo>
                    <a:pt x="38" y="184"/>
                  </a:lnTo>
                  <a:lnTo>
                    <a:pt x="42" y="181"/>
                  </a:lnTo>
                  <a:lnTo>
                    <a:pt x="43" y="182"/>
                  </a:lnTo>
                  <a:lnTo>
                    <a:pt x="46" y="178"/>
                  </a:lnTo>
                  <a:lnTo>
                    <a:pt x="46" y="175"/>
                  </a:lnTo>
                  <a:lnTo>
                    <a:pt x="50" y="175"/>
                  </a:lnTo>
                  <a:lnTo>
                    <a:pt x="50" y="172"/>
                  </a:lnTo>
                  <a:lnTo>
                    <a:pt x="54" y="172"/>
                  </a:lnTo>
                  <a:lnTo>
                    <a:pt x="53" y="175"/>
                  </a:lnTo>
                  <a:lnTo>
                    <a:pt x="58" y="174"/>
                  </a:lnTo>
                  <a:lnTo>
                    <a:pt x="58" y="177"/>
                  </a:lnTo>
                  <a:lnTo>
                    <a:pt x="56" y="183"/>
                  </a:lnTo>
                  <a:lnTo>
                    <a:pt x="63" y="184"/>
                  </a:lnTo>
                  <a:lnTo>
                    <a:pt x="70" y="183"/>
                  </a:lnTo>
                  <a:lnTo>
                    <a:pt x="76" y="179"/>
                  </a:lnTo>
                  <a:lnTo>
                    <a:pt x="74" y="175"/>
                  </a:lnTo>
                  <a:lnTo>
                    <a:pt x="70" y="174"/>
                  </a:lnTo>
                  <a:lnTo>
                    <a:pt x="71" y="164"/>
                  </a:lnTo>
                  <a:lnTo>
                    <a:pt x="66" y="158"/>
                  </a:lnTo>
                  <a:lnTo>
                    <a:pt x="70" y="154"/>
                  </a:lnTo>
                  <a:lnTo>
                    <a:pt x="69" y="149"/>
                  </a:lnTo>
                  <a:lnTo>
                    <a:pt x="68" y="149"/>
                  </a:lnTo>
                  <a:lnTo>
                    <a:pt x="68" y="147"/>
                  </a:lnTo>
                  <a:lnTo>
                    <a:pt x="64" y="149"/>
                  </a:lnTo>
                  <a:lnTo>
                    <a:pt x="61" y="149"/>
                  </a:lnTo>
                  <a:lnTo>
                    <a:pt x="62" y="157"/>
                  </a:lnTo>
                  <a:lnTo>
                    <a:pt x="53" y="152"/>
                  </a:lnTo>
                  <a:lnTo>
                    <a:pt x="54" y="150"/>
                  </a:lnTo>
                  <a:lnTo>
                    <a:pt x="49" y="150"/>
                  </a:lnTo>
                  <a:lnTo>
                    <a:pt x="49" y="152"/>
                  </a:lnTo>
                  <a:lnTo>
                    <a:pt x="47" y="149"/>
                  </a:lnTo>
                  <a:lnTo>
                    <a:pt x="42" y="151"/>
                  </a:lnTo>
                  <a:lnTo>
                    <a:pt x="39" y="150"/>
                  </a:lnTo>
                  <a:lnTo>
                    <a:pt x="37" y="141"/>
                  </a:lnTo>
                  <a:lnTo>
                    <a:pt x="29" y="135"/>
                  </a:lnTo>
                  <a:lnTo>
                    <a:pt x="23" y="130"/>
                  </a:lnTo>
                  <a:lnTo>
                    <a:pt x="22" y="122"/>
                  </a:lnTo>
                  <a:lnTo>
                    <a:pt x="17" y="122"/>
                  </a:lnTo>
                  <a:lnTo>
                    <a:pt x="16" y="118"/>
                  </a:lnTo>
                  <a:lnTo>
                    <a:pt x="14" y="111"/>
                  </a:lnTo>
                  <a:lnTo>
                    <a:pt x="9" y="97"/>
                  </a:lnTo>
                  <a:lnTo>
                    <a:pt x="8" y="89"/>
                  </a:lnTo>
                  <a:lnTo>
                    <a:pt x="14" y="76"/>
                  </a:lnTo>
                  <a:lnTo>
                    <a:pt x="16" y="72"/>
                  </a:lnTo>
                  <a:lnTo>
                    <a:pt x="8" y="59"/>
                  </a:lnTo>
                  <a:lnTo>
                    <a:pt x="7" y="54"/>
                  </a:lnTo>
                  <a:lnTo>
                    <a:pt x="4" y="52"/>
                  </a:lnTo>
                  <a:lnTo>
                    <a:pt x="0" y="46"/>
                  </a:lnTo>
                  <a:lnTo>
                    <a:pt x="0" y="32"/>
                  </a:lnTo>
                  <a:lnTo>
                    <a:pt x="2" y="27"/>
                  </a:lnTo>
                  <a:lnTo>
                    <a:pt x="1" y="25"/>
                  </a:lnTo>
                  <a:lnTo>
                    <a:pt x="7" y="18"/>
                  </a:lnTo>
                  <a:lnTo>
                    <a:pt x="12" y="11"/>
                  </a:lnTo>
                  <a:lnTo>
                    <a:pt x="15" y="9"/>
                  </a:lnTo>
                  <a:lnTo>
                    <a:pt x="19" y="6"/>
                  </a:lnTo>
                  <a:lnTo>
                    <a:pt x="20" y="6"/>
                  </a:lnTo>
                  <a:lnTo>
                    <a:pt x="22" y="6"/>
                  </a:lnTo>
                  <a:lnTo>
                    <a:pt x="23" y="4"/>
                  </a:lnTo>
                  <a:lnTo>
                    <a:pt x="29" y="3"/>
                  </a:lnTo>
                  <a:lnTo>
                    <a:pt x="29" y="2"/>
                  </a:lnTo>
                  <a:lnTo>
                    <a:pt x="30" y="0"/>
                  </a:lnTo>
                  <a:lnTo>
                    <a:pt x="40" y="2"/>
                  </a:lnTo>
                  <a:lnTo>
                    <a:pt x="45" y="2"/>
                  </a:lnTo>
                  <a:lnTo>
                    <a:pt x="47" y="5"/>
                  </a:lnTo>
                  <a:lnTo>
                    <a:pt x="54" y="5"/>
                  </a:lnTo>
                  <a:lnTo>
                    <a:pt x="63" y="19"/>
                  </a:lnTo>
                  <a:lnTo>
                    <a:pt x="68" y="22"/>
                  </a:lnTo>
                  <a:lnTo>
                    <a:pt x="75" y="24"/>
                  </a:lnTo>
                  <a:lnTo>
                    <a:pt x="76" y="29"/>
                  </a:lnTo>
                  <a:lnTo>
                    <a:pt x="82" y="26"/>
                  </a:lnTo>
                  <a:lnTo>
                    <a:pt x="87" y="31"/>
                  </a:lnTo>
                  <a:lnTo>
                    <a:pt x="87" y="36"/>
                  </a:lnTo>
                  <a:lnTo>
                    <a:pt x="89" y="36"/>
                  </a:lnTo>
                  <a:lnTo>
                    <a:pt x="89" y="42"/>
                  </a:lnTo>
                  <a:lnTo>
                    <a:pt x="96" y="44"/>
                  </a:lnTo>
                  <a:lnTo>
                    <a:pt x="94" y="48"/>
                  </a:lnTo>
                  <a:lnTo>
                    <a:pt x="96" y="54"/>
                  </a:lnTo>
                  <a:lnTo>
                    <a:pt x="98" y="54"/>
                  </a:lnTo>
                  <a:lnTo>
                    <a:pt x="99" y="55"/>
                  </a:lnTo>
                  <a:lnTo>
                    <a:pt x="98" y="59"/>
                  </a:lnTo>
                  <a:lnTo>
                    <a:pt x="104" y="62"/>
                  </a:lnTo>
                  <a:lnTo>
                    <a:pt x="103" y="63"/>
                  </a:lnTo>
                  <a:lnTo>
                    <a:pt x="104" y="69"/>
                  </a:lnTo>
                  <a:lnTo>
                    <a:pt x="107" y="73"/>
                  </a:lnTo>
                  <a:lnTo>
                    <a:pt x="107" y="74"/>
                  </a:lnTo>
                  <a:lnTo>
                    <a:pt x="107" y="77"/>
                  </a:lnTo>
                  <a:lnTo>
                    <a:pt x="108" y="81"/>
                  </a:lnTo>
                  <a:lnTo>
                    <a:pt x="111" y="75"/>
                  </a:lnTo>
                  <a:lnTo>
                    <a:pt x="120" y="71"/>
                  </a:lnTo>
                  <a:lnTo>
                    <a:pt x="128" y="71"/>
                  </a:lnTo>
                  <a:lnTo>
                    <a:pt x="140" y="65"/>
                  </a:lnTo>
                  <a:lnTo>
                    <a:pt x="142" y="62"/>
                  </a:lnTo>
                  <a:lnTo>
                    <a:pt x="143" y="66"/>
                  </a:lnTo>
                  <a:lnTo>
                    <a:pt x="149" y="68"/>
                  </a:lnTo>
                  <a:lnTo>
                    <a:pt x="145" y="72"/>
                  </a:lnTo>
                  <a:lnTo>
                    <a:pt x="147" y="76"/>
                  </a:lnTo>
                  <a:lnTo>
                    <a:pt x="141" y="76"/>
                  </a:lnTo>
                  <a:lnTo>
                    <a:pt x="141" y="73"/>
                  </a:lnTo>
                  <a:lnTo>
                    <a:pt x="139" y="73"/>
                  </a:lnTo>
                  <a:lnTo>
                    <a:pt x="138" y="80"/>
                  </a:lnTo>
                  <a:lnTo>
                    <a:pt x="136" y="82"/>
                  </a:lnTo>
                  <a:lnTo>
                    <a:pt x="138" y="85"/>
                  </a:lnTo>
                  <a:lnTo>
                    <a:pt x="130" y="88"/>
                  </a:lnTo>
                  <a:lnTo>
                    <a:pt x="127" y="86"/>
                  </a:lnTo>
                  <a:lnTo>
                    <a:pt x="127" y="82"/>
                  </a:lnTo>
                  <a:lnTo>
                    <a:pt x="126" y="78"/>
                  </a:lnTo>
                  <a:lnTo>
                    <a:pt x="118" y="78"/>
                  </a:lnTo>
                  <a:lnTo>
                    <a:pt x="113" y="82"/>
                  </a:lnTo>
                  <a:lnTo>
                    <a:pt x="118" y="84"/>
                  </a:lnTo>
                  <a:lnTo>
                    <a:pt x="112" y="89"/>
                  </a:lnTo>
                  <a:lnTo>
                    <a:pt x="116" y="91"/>
                  </a:lnTo>
                  <a:lnTo>
                    <a:pt x="120" y="94"/>
                  </a:lnTo>
                  <a:lnTo>
                    <a:pt x="115" y="98"/>
                  </a:lnTo>
                  <a:lnTo>
                    <a:pt x="123" y="97"/>
                  </a:lnTo>
                  <a:lnTo>
                    <a:pt x="124" y="97"/>
                  </a:lnTo>
                  <a:lnTo>
                    <a:pt x="124" y="103"/>
                  </a:lnTo>
                  <a:lnTo>
                    <a:pt x="128" y="105"/>
                  </a:lnTo>
                  <a:lnTo>
                    <a:pt x="129" y="106"/>
                  </a:lnTo>
                  <a:lnTo>
                    <a:pt x="117" y="109"/>
                  </a:lnTo>
                  <a:lnTo>
                    <a:pt x="118" y="113"/>
                  </a:lnTo>
                  <a:lnTo>
                    <a:pt x="111" y="111"/>
                  </a:lnTo>
                  <a:lnTo>
                    <a:pt x="113" y="115"/>
                  </a:lnTo>
                  <a:lnTo>
                    <a:pt x="110" y="117"/>
                  </a:lnTo>
                  <a:lnTo>
                    <a:pt x="113" y="121"/>
                  </a:lnTo>
                  <a:lnTo>
                    <a:pt x="113" y="123"/>
                  </a:lnTo>
                  <a:lnTo>
                    <a:pt x="114" y="125"/>
                  </a:lnTo>
                  <a:lnTo>
                    <a:pt x="116" y="125"/>
                  </a:lnTo>
                  <a:lnTo>
                    <a:pt x="121" y="120"/>
                  </a:lnTo>
                  <a:lnTo>
                    <a:pt x="126" y="122"/>
                  </a:lnTo>
                  <a:lnTo>
                    <a:pt x="126" y="125"/>
                  </a:lnTo>
                  <a:lnTo>
                    <a:pt x="129" y="124"/>
                  </a:lnTo>
                  <a:lnTo>
                    <a:pt x="134" y="124"/>
                  </a:lnTo>
                  <a:lnTo>
                    <a:pt x="134" y="127"/>
                  </a:lnTo>
                  <a:lnTo>
                    <a:pt x="129" y="131"/>
                  </a:lnTo>
                  <a:lnTo>
                    <a:pt x="125" y="129"/>
                  </a:lnTo>
                  <a:lnTo>
                    <a:pt x="121" y="132"/>
                  </a:lnTo>
                  <a:lnTo>
                    <a:pt x="127" y="135"/>
                  </a:lnTo>
                  <a:lnTo>
                    <a:pt x="127" y="141"/>
                  </a:lnTo>
                  <a:lnTo>
                    <a:pt x="122" y="146"/>
                  </a:lnTo>
                  <a:lnTo>
                    <a:pt x="130" y="148"/>
                  </a:lnTo>
                  <a:lnTo>
                    <a:pt x="134" y="146"/>
                  </a:lnTo>
                  <a:lnTo>
                    <a:pt x="137" y="149"/>
                  </a:lnTo>
                  <a:lnTo>
                    <a:pt x="132" y="150"/>
                  </a:lnTo>
                  <a:lnTo>
                    <a:pt x="135" y="158"/>
                  </a:lnTo>
                  <a:lnTo>
                    <a:pt x="135" y="164"/>
                  </a:lnTo>
                  <a:lnTo>
                    <a:pt x="142" y="162"/>
                  </a:lnTo>
                  <a:lnTo>
                    <a:pt x="143" y="167"/>
                  </a:lnTo>
                  <a:lnTo>
                    <a:pt x="143" y="169"/>
                  </a:lnTo>
                  <a:lnTo>
                    <a:pt x="145" y="172"/>
                  </a:lnTo>
                  <a:lnTo>
                    <a:pt x="140" y="173"/>
                  </a:lnTo>
                  <a:lnTo>
                    <a:pt x="144" y="178"/>
                  </a:lnTo>
                  <a:lnTo>
                    <a:pt x="146" y="174"/>
                  </a:lnTo>
                  <a:lnTo>
                    <a:pt x="150" y="178"/>
                  </a:lnTo>
                  <a:lnTo>
                    <a:pt x="143" y="186"/>
                  </a:lnTo>
                  <a:lnTo>
                    <a:pt x="147" y="194"/>
                  </a:lnTo>
                  <a:lnTo>
                    <a:pt x="143" y="195"/>
                  </a:lnTo>
                  <a:lnTo>
                    <a:pt x="146" y="200"/>
                  </a:lnTo>
                  <a:lnTo>
                    <a:pt x="143" y="201"/>
                  </a:lnTo>
                  <a:lnTo>
                    <a:pt x="141" y="206"/>
                  </a:lnTo>
                  <a:lnTo>
                    <a:pt x="147" y="205"/>
                  </a:lnTo>
                  <a:lnTo>
                    <a:pt x="147" y="211"/>
                  </a:lnTo>
                  <a:lnTo>
                    <a:pt x="144" y="213"/>
                  </a:lnTo>
                  <a:lnTo>
                    <a:pt x="149" y="216"/>
                  </a:lnTo>
                  <a:lnTo>
                    <a:pt x="148" y="218"/>
                  </a:lnTo>
                  <a:lnTo>
                    <a:pt x="149" y="221"/>
                  </a:lnTo>
                  <a:lnTo>
                    <a:pt x="146" y="227"/>
                  </a:lnTo>
                  <a:close/>
                </a:path>
              </a:pathLst>
            </a:custGeom>
            <a:grp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18" name="Freeform 172">
              <a:extLst>
                <a:ext uri="{FF2B5EF4-FFF2-40B4-BE49-F238E27FC236}">
                  <a16:creationId xmlns:a16="http://schemas.microsoft.com/office/drawing/2014/main" id="{FF486172-7E97-03E9-60DF-15A1342FC82E}"/>
                </a:ext>
              </a:extLst>
            </p:cNvPr>
            <p:cNvSpPr>
              <a:spLocks noChangeAspect="1"/>
            </p:cNvSpPr>
            <p:nvPr/>
          </p:nvSpPr>
          <p:spPr bwMode="auto">
            <a:xfrm>
              <a:off x="2927350" y="5254625"/>
              <a:ext cx="484188" cy="458788"/>
            </a:xfrm>
            <a:custGeom>
              <a:avLst/>
              <a:gdLst>
                <a:gd name="T0" fmla="*/ 2147483647 w 259"/>
                <a:gd name="T1" fmla="*/ 2147483647 h 264"/>
                <a:gd name="T2" fmla="*/ 2147483647 w 259"/>
                <a:gd name="T3" fmla="*/ 2147483647 h 264"/>
                <a:gd name="T4" fmla="*/ 2147483647 w 259"/>
                <a:gd name="T5" fmla="*/ 2147483647 h 264"/>
                <a:gd name="T6" fmla="*/ 2147483647 w 259"/>
                <a:gd name="T7" fmla="*/ 2147483647 h 264"/>
                <a:gd name="T8" fmla="*/ 2147483647 w 259"/>
                <a:gd name="T9" fmla="*/ 2147483647 h 264"/>
                <a:gd name="T10" fmla="*/ 2147483647 w 259"/>
                <a:gd name="T11" fmla="*/ 2147483647 h 264"/>
                <a:gd name="T12" fmla="*/ 2147483647 w 259"/>
                <a:gd name="T13" fmla="*/ 2147483647 h 264"/>
                <a:gd name="T14" fmla="*/ 2147483647 w 259"/>
                <a:gd name="T15" fmla="*/ 2147483647 h 264"/>
                <a:gd name="T16" fmla="*/ 2147483647 w 259"/>
                <a:gd name="T17" fmla="*/ 2147483647 h 264"/>
                <a:gd name="T18" fmla="*/ 2147483647 w 259"/>
                <a:gd name="T19" fmla="*/ 2147483647 h 264"/>
                <a:gd name="T20" fmla="*/ 2147483647 w 259"/>
                <a:gd name="T21" fmla="*/ 2147483647 h 264"/>
                <a:gd name="T22" fmla="*/ 2147483647 w 259"/>
                <a:gd name="T23" fmla="*/ 2147483647 h 264"/>
                <a:gd name="T24" fmla="*/ 2147483647 w 259"/>
                <a:gd name="T25" fmla="*/ 2147483647 h 264"/>
                <a:gd name="T26" fmla="*/ 2147483647 w 259"/>
                <a:gd name="T27" fmla="*/ 2147483647 h 264"/>
                <a:gd name="T28" fmla="*/ 2147483647 w 259"/>
                <a:gd name="T29" fmla="*/ 2147483647 h 264"/>
                <a:gd name="T30" fmla="*/ 2147483647 w 259"/>
                <a:gd name="T31" fmla="*/ 2147483647 h 264"/>
                <a:gd name="T32" fmla="*/ 2147483647 w 259"/>
                <a:gd name="T33" fmla="*/ 2147483647 h 264"/>
                <a:gd name="T34" fmla="*/ 2147483647 w 259"/>
                <a:gd name="T35" fmla="*/ 2147483647 h 264"/>
                <a:gd name="T36" fmla="*/ 2147483647 w 259"/>
                <a:gd name="T37" fmla="*/ 2147483647 h 264"/>
                <a:gd name="T38" fmla="*/ 2147483647 w 259"/>
                <a:gd name="T39" fmla="*/ 2147483647 h 264"/>
                <a:gd name="T40" fmla="*/ 2147483647 w 259"/>
                <a:gd name="T41" fmla="*/ 2147483647 h 264"/>
                <a:gd name="T42" fmla="*/ 2147483647 w 259"/>
                <a:gd name="T43" fmla="*/ 2147483647 h 264"/>
                <a:gd name="T44" fmla="*/ 2147483647 w 259"/>
                <a:gd name="T45" fmla="*/ 0 h 264"/>
                <a:gd name="T46" fmla="*/ 2147483647 w 259"/>
                <a:gd name="T47" fmla="*/ 2147483647 h 264"/>
                <a:gd name="T48" fmla="*/ 2147483647 w 259"/>
                <a:gd name="T49" fmla="*/ 2147483647 h 264"/>
                <a:gd name="T50" fmla="*/ 2147483647 w 259"/>
                <a:gd name="T51" fmla="*/ 2147483647 h 264"/>
                <a:gd name="T52" fmla="*/ 2147483647 w 259"/>
                <a:gd name="T53" fmla="*/ 2147483647 h 264"/>
                <a:gd name="T54" fmla="*/ 2147483647 w 259"/>
                <a:gd name="T55" fmla="*/ 2147483647 h 264"/>
                <a:gd name="T56" fmla="*/ 2147483647 w 259"/>
                <a:gd name="T57" fmla="*/ 2147483647 h 264"/>
                <a:gd name="T58" fmla="*/ 2147483647 w 259"/>
                <a:gd name="T59" fmla="*/ 2147483647 h 264"/>
                <a:gd name="T60" fmla="*/ 2147483647 w 259"/>
                <a:gd name="T61" fmla="*/ 2147483647 h 264"/>
                <a:gd name="T62" fmla="*/ 2147483647 w 259"/>
                <a:gd name="T63" fmla="*/ 2147483647 h 264"/>
                <a:gd name="T64" fmla="*/ 2147483647 w 259"/>
                <a:gd name="T65" fmla="*/ 2147483647 h 264"/>
                <a:gd name="T66" fmla="*/ 2147483647 w 259"/>
                <a:gd name="T67" fmla="*/ 2147483647 h 26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9"/>
                <a:gd name="T103" fmla="*/ 0 h 264"/>
                <a:gd name="T104" fmla="*/ 259 w 259"/>
                <a:gd name="T105" fmla="*/ 264 h 26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9" h="264">
                  <a:moveTo>
                    <a:pt x="240" y="198"/>
                  </a:moveTo>
                  <a:lnTo>
                    <a:pt x="234" y="240"/>
                  </a:lnTo>
                  <a:lnTo>
                    <a:pt x="217" y="256"/>
                  </a:lnTo>
                  <a:lnTo>
                    <a:pt x="209" y="255"/>
                  </a:lnTo>
                  <a:lnTo>
                    <a:pt x="187" y="259"/>
                  </a:lnTo>
                  <a:lnTo>
                    <a:pt x="176" y="257"/>
                  </a:lnTo>
                  <a:lnTo>
                    <a:pt x="174" y="262"/>
                  </a:lnTo>
                  <a:lnTo>
                    <a:pt x="159" y="264"/>
                  </a:lnTo>
                  <a:lnTo>
                    <a:pt x="134" y="255"/>
                  </a:lnTo>
                  <a:lnTo>
                    <a:pt x="121" y="253"/>
                  </a:lnTo>
                  <a:lnTo>
                    <a:pt x="114" y="248"/>
                  </a:lnTo>
                  <a:lnTo>
                    <a:pt x="101" y="240"/>
                  </a:lnTo>
                  <a:lnTo>
                    <a:pt x="93" y="242"/>
                  </a:lnTo>
                  <a:lnTo>
                    <a:pt x="92" y="236"/>
                  </a:lnTo>
                  <a:lnTo>
                    <a:pt x="75" y="229"/>
                  </a:lnTo>
                  <a:lnTo>
                    <a:pt x="70" y="226"/>
                  </a:lnTo>
                  <a:lnTo>
                    <a:pt x="63" y="214"/>
                  </a:lnTo>
                  <a:lnTo>
                    <a:pt x="56" y="209"/>
                  </a:lnTo>
                  <a:lnTo>
                    <a:pt x="48" y="205"/>
                  </a:lnTo>
                  <a:lnTo>
                    <a:pt x="34" y="199"/>
                  </a:lnTo>
                  <a:lnTo>
                    <a:pt x="36" y="190"/>
                  </a:lnTo>
                  <a:lnTo>
                    <a:pt x="32" y="187"/>
                  </a:lnTo>
                  <a:lnTo>
                    <a:pt x="30" y="183"/>
                  </a:lnTo>
                  <a:lnTo>
                    <a:pt x="24" y="178"/>
                  </a:lnTo>
                  <a:lnTo>
                    <a:pt x="19" y="159"/>
                  </a:lnTo>
                  <a:lnTo>
                    <a:pt x="25" y="142"/>
                  </a:lnTo>
                  <a:lnTo>
                    <a:pt x="20" y="134"/>
                  </a:lnTo>
                  <a:lnTo>
                    <a:pt x="20" y="127"/>
                  </a:lnTo>
                  <a:lnTo>
                    <a:pt x="16" y="121"/>
                  </a:lnTo>
                  <a:lnTo>
                    <a:pt x="15" y="116"/>
                  </a:lnTo>
                  <a:lnTo>
                    <a:pt x="0" y="98"/>
                  </a:lnTo>
                  <a:lnTo>
                    <a:pt x="2" y="80"/>
                  </a:lnTo>
                  <a:lnTo>
                    <a:pt x="13" y="69"/>
                  </a:lnTo>
                  <a:lnTo>
                    <a:pt x="26" y="66"/>
                  </a:lnTo>
                  <a:lnTo>
                    <a:pt x="37" y="51"/>
                  </a:lnTo>
                  <a:lnTo>
                    <a:pt x="37" y="39"/>
                  </a:lnTo>
                  <a:lnTo>
                    <a:pt x="44" y="22"/>
                  </a:lnTo>
                  <a:lnTo>
                    <a:pt x="49" y="26"/>
                  </a:lnTo>
                  <a:lnTo>
                    <a:pt x="62" y="26"/>
                  </a:lnTo>
                  <a:lnTo>
                    <a:pt x="70" y="22"/>
                  </a:lnTo>
                  <a:lnTo>
                    <a:pt x="74" y="18"/>
                  </a:lnTo>
                  <a:lnTo>
                    <a:pt x="83" y="13"/>
                  </a:lnTo>
                  <a:lnTo>
                    <a:pt x="88" y="9"/>
                  </a:lnTo>
                  <a:lnTo>
                    <a:pt x="103" y="2"/>
                  </a:lnTo>
                  <a:lnTo>
                    <a:pt x="113" y="2"/>
                  </a:lnTo>
                  <a:lnTo>
                    <a:pt x="117" y="0"/>
                  </a:lnTo>
                  <a:lnTo>
                    <a:pt x="124" y="8"/>
                  </a:lnTo>
                  <a:lnTo>
                    <a:pt x="140" y="9"/>
                  </a:lnTo>
                  <a:lnTo>
                    <a:pt x="157" y="16"/>
                  </a:lnTo>
                  <a:lnTo>
                    <a:pt x="165" y="13"/>
                  </a:lnTo>
                  <a:lnTo>
                    <a:pt x="169" y="16"/>
                  </a:lnTo>
                  <a:lnTo>
                    <a:pt x="179" y="17"/>
                  </a:lnTo>
                  <a:lnTo>
                    <a:pt x="190" y="27"/>
                  </a:lnTo>
                  <a:lnTo>
                    <a:pt x="198" y="29"/>
                  </a:lnTo>
                  <a:lnTo>
                    <a:pt x="211" y="42"/>
                  </a:lnTo>
                  <a:lnTo>
                    <a:pt x="216" y="61"/>
                  </a:lnTo>
                  <a:lnTo>
                    <a:pt x="214" y="76"/>
                  </a:lnTo>
                  <a:lnTo>
                    <a:pt x="215" y="85"/>
                  </a:lnTo>
                  <a:lnTo>
                    <a:pt x="219" y="89"/>
                  </a:lnTo>
                  <a:lnTo>
                    <a:pt x="235" y="125"/>
                  </a:lnTo>
                  <a:lnTo>
                    <a:pt x="242" y="136"/>
                  </a:lnTo>
                  <a:lnTo>
                    <a:pt x="254" y="145"/>
                  </a:lnTo>
                  <a:lnTo>
                    <a:pt x="259" y="155"/>
                  </a:lnTo>
                  <a:lnTo>
                    <a:pt x="259" y="165"/>
                  </a:lnTo>
                  <a:lnTo>
                    <a:pt x="254" y="168"/>
                  </a:lnTo>
                  <a:lnTo>
                    <a:pt x="251" y="179"/>
                  </a:lnTo>
                  <a:lnTo>
                    <a:pt x="242" y="188"/>
                  </a:lnTo>
                  <a:lnTo>
                    <a:pt x="240" y="198"/>
                  </a:lnTo>
                  <a:close/>
                </a:path>
              </a:pathLst>
            </a:custGeom>
            <a:grpFill/>
            <a:ln w="9525">
              <a:solidFill>
                <a:srgbClr val="E7E6E6">
                  <a:lumMod val="50000"/>
                </a:srgbClr>
              </a:solidFill>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19" name="Rectangle 392">
              <a:extLst>
                <a:ext uri="{FF2B5EF4-FFF2-40B4-BE49-F238E27FC236}">
                  <a16:creationId xmlns:a16="http://schemas.microsoft.com/office/drawing/2014/main" id="{453E738B-CFE5-4605-CFAA-9854523E972C}"/>
                </a:ext>
              </a:extLst>
            </p:cNvPr>
            <p:cNvSpPr>
              <a:spLocks noChangeArrowheads="1"/>
            </p:cNvSpPr>
            <p:nvPr/>
          </p:nvSpPr>
          <p:spPr bwMode="auto">
            <a:xfrm>
              <a:off x="7456489" y="4789486"/>
              <a:ext cx="441323" cy="293660"/>
            </a:xfrm>
            <a:prstGeom prst="rect">
              <a:avLst/>
            </a:prstGeom>
            <a:grpFill/>
            <a:ln w="9525">
              <a:noFill/>
              <a:miter lim="800000"/>
              <a:headEnd/>
              <a:tailEnd/>
            </a:ln>
          </p:spPr>
          <p:txBody>
            <a:bodyPr lIns="0" tIns="0" rIns="0" bIns="0">
              <a:spAutoFit/>
            </a:bodyPr>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defTabSz="914377" eaLnBrk="1" fontAlgn="base" latinLnBrk="0" hangingPunct="1">
                <a:lnSpc>
                  <a:spcPct val="100000"/>
                </a:lnSpc>
                <a:spcBef>
                  <a:spcPct val="0"/>
                </a:spcBef>
                <a:spcAft>
                  <a:spcPct val="0"/>
                </a:spcAft>
                <a:buClrTx/>
                <a:buSzTx/>
                <a:buFont typeface="Wingdings" pitchFamily="2" charset="2"/>
                <a:buNone/>
                <a:tabLst/>
                <a:defRPr/>
              </a:pPr>
              <a:r>
                <a:rPr kumimoji="0" lang="fr-FR" altLang="fr-FR" sz="533" b="0" i="0" u="none" strike="noStrike" kern="1200" cap="none" spc="0" normalizeH="0" baseline="0" noProof="0" dirty="0">
                  <a:ln>
                    <a:noFill/>
                  </a:ln>
                  <a:solidFill>
                    <a:srgbClr val="000000"/>
                  </a:solidFill>
                  <a:effectLst/>
                  <a:uLnTx/>
                  <a:uFillTx/>
                  <a:latin typeface="Arial" charset="0"/>
                  <a:ea typeface="MS PGothic" pitchFamily="34" charset="-128"/>
                  <a:cs typeface="Arial" charset="0"/>
                </a:rPr>
                <a:t>      813 </a:t>
              </a:r>
            </a:p>
            <a:p>
              <a:pPr marL="0" marR="0" lvl="0" indent="0" defTabSz="914377" eaLnBrk="1" fontAlgn="base" latinLnBrk="0" hangingPunct="1">
                <a:lnSpc>
                  <a:spcPct val="100000"/>
                </a:lnSpc>
                <a:spcBef>
                  <a:spcPct val="0"/>
                </a:spcBef>
                <a:spcAft>
                  <a:spcPct val="0"/>
                </a:spcAft>
                <a:buClrTx/>
                <a:buSzTx/>
                <a:buFont typeface="Wingdings" pitchFamily="2" charset="2"/>
                <a:buNone/>
                <a:tabLst/>
                <a:defRPr/>
              </a:pPr>
              <a:r>
                <a:rPr kumimoji="0" lang="fr-FR" altLang="fr-FR" sz="533" b="0" i="0" u="none" strike="noStrike" kern="1200" cap="none" spc="0" normalizeH="0" baseline="0" noProof="0" dirty="0">
                  <a:ln>
                    <a:noFill/>
                  </a:ln>
                  <a:solidFill>
                    <a:srgbClr val="000000"/>
                  </a:solidFill>
                  <a:effectLst/>
                  <a:uLnTx/>
                  <a:uFillTx/>
                  <a:latin typeface="Arial" charset="0"/>
                  <a:ea typeface="MS PGothic" pitchFamily="34" charset="-128"/>
                  <a:cs typeface="Arial" charset="0"/>
                </a:rPr>
                <a:t>Alpes Provence</a:t>
              </a:r>
              <a:endParaRPr kumimoji="0" lang="fr-FR" altLang="fr-FR" sz="2400" b="0" i="0" u="none" strike="noStrike" kern="1200" cap="none" spc="0" normalizeH="0" baseline="0" noProof="0" dirty="0">
                <a:ln>
                  <a:noFill/>
                </a:ln>
                <a:solidFill>
                  <a:srgbClr val="000000"/>
                </a:solidFill>
                <a:effectLst/>
                <a:uLnTx/>
                <a:uFillTx/>
                <a:latin typeface="Arial" charset="0"/>
                <a:ea typeface="MS PGothic" pitchFamily="34" charset="-128"/>
                <a:cs typeface="Arial" charset="0"/>
              </a:endParaRPr>
            </a:p>
          </p:txBody>
        </p:sp>
        <p:sp>
          <p:nvSpPr>
            <p:cNvPr id="220" name="Text Box 78">
              <a:extLst>
                <a:ext uri="{FF2B5EF4-FFF2-40B4-BE49-F238E27FC236}">
                  <a16:creationId xmlns:a16="http://schemas.microsoft.com/office/drawing/2014/main" id="{0944259D-C04F-91C0-BD69-25262CAE8A50}"/>
                </a:ext>
              </a:extLst>
            </p:cNvPr>
            <p:cNvSpPr txBox="1">
              <a:spLocks noChangeAspect="1" noChangeArrowheads="1"/>
            </p:cNvSpPr>
            <p:nvPr/>
          </p:nvSpPr>
          <p:spPr bwMode="auto">
            <a:xfrm>
              <a:off x="2517775" y="2652713"/>
              <a:ext cx="423863" cy="282575"/>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29</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Finistère</a:t>
              </a:r>
            </a:p>
          </p:txBody>
        </p:sp>
        <p:sp>
          <p:nvSpPr>
            <p:cNvPr id="221" name="Text Box 77">
              <a:extLst>
                <a:ext uri="{FF2B5EF4-FFF2-40B4-BE49-F238E27FC236}">
                  <a16:creationId xmlns:a16="http://schemas.microsoft.com/office/drawing/2014/main" id="{45B995F9-0B3F-829D-4A86-1CCF94FCDD58}"/>
                </a:ext>
              </a:extLst>
            </p:cNvPr>
            <p:cNvSpPr txBox="1">
              <a:spLocks noChangeAspect="1" noChangeArrowheads="1"/>
            </p:cNvSpPr>
            <p:nvPr/>
          </p:nvSpPr>
          <p:spPr bwMode="auto">
            <a:xfrm>
              <a:off x="2882901" y="2707746"/>
              <a:ext cx="781050" cy="142874"/>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22 – Cotes d’Armor</a:t>
              </a:r>
            </a:p>
          </p:txBody>
        </p:sp>
        <p:sp>
          <p:nvSpPr>
            <p:cNvPr id="222" name="Text Box 79">
              <a:extLst>
                <a:ext uri="{FF2B5EF4-FFF2-40B4-BE49-F238E27FC236}">
                  <a16:creationId xmlns:a16="http://schemas.microsoft.com/office/drawing/2014/main" id="{B875EE6F-B47F-1085-49B7-5E82855A3EAE}"/>
                </a:ext>
              </a:extLst>
            </p:cNvPr>
            <p:cNvSpPr txBox="1">
              <a:spLocks noChangeAspect="1" noChangeArrowheads="1"/>
            </p:cNvSpPr>
            <p:nvPr/>
          </p:nvSpPr>
          <p:spPr bwMode="auto">
            <a:xfrm>
              <a:off x="3073400" y="3011488"/>
              <a:ext cx="423863" cy="214312"/>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60</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Morbihan</a:t>
              </a:r>
            </a:p>
          </p:txBody>
        </p:sp>
        <p:sp>
          <p:nvSpPr>
            <p:cNvPr id="223" name="Text Box 76">
              <a:extLst>
                <a:ext uri="{FF2B5EF4-FFF2-40B4-BE49-F238E27FC236}">
                  <a16:creationId xmlns:a16="http://schemas.microsoft.com/office/drawing/2014/main" id="{426B4CA6-1D98-4C0F-B303-59AC42509A67}"/>
                </a:ext>
              </a:extLst>
            </p:cNvPr>
            <p:cNvSpPr txBox="1">
              <a:spLocks noChangeAspect="1" noChangeArrowheads="1"/>
            </p:cNvSpPr>
            <p:nvPr/>
          </p:nvSpPr>
          <p:spPr bwMode="auto">
            <a:xfrm>
              <a:off x="3544888" y="2819400"/>
              <a:ext cx="496887" cy="271463"/>
            </a:xfrm>
            <a:prstGeom prst="rect">
              <a:avLst/>
            </a:prstGeom>
            <a:no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36 </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 Ille et Vilaine</a:t>
              </a:r>
            </a:p>
          </p:txBody>
        </p:sp>
        <p:sp>
          <p:nvSpPr>
            <p:cNvPr id="224" name="Text Box 75">
              <a:extLst>
                <a:ext uri="{FF2B5EF4-FFF2-40B4-BE49-F238E27FC236}">
                  <a16:creationId xmlns:a16="http://schemas.microsoft.com/office/drawing/2014/main" id="{98A1CE4F-6214-1EC4-DD34-7977578A5288}"/>
                </a:ext>
              </a:extLst>
            </p:cNvPr>
            <p:cNvSpPr txBox="1">
              <a:spLocks noChangeAspect="1" noChangeArrowheads="1"/>
            </p:cNvSpPr>
            <p:nvPr/>
          </p:nvSpPr>
          <p:spPr bwMode="auto">
            <a:xfrm>
              <a:off x="4140200" y="2990850"/>
              <a:ext cx="495300" cy="214314"/>
            </a:xfrm>
            <a:prstGeom prst="rect">
              <a:avLst/>
            </a:prstGeom>
            <a:no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79</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Anjou Maine</a:t>
              </a:r>
            </a:p>
          </p:txBody>
        </p:sp>
        <p:sp>
          <p:nvSpPr>
            <p:cNvPr id="225" name="Text Box 80">
              <a:extLst>
                <a:ext uri="{FF2B5EF4-FFF2-40B4-BE49-F238E27FC236}">
                  <a16:creationId xmlns:a16="http://schemas.microsoft.com/office/drawing/2014/main" id="{92FE409C-ABDA-B64F-4892-283FA3CD4F5B}"/>
                </a:ext>
              </a:extLst>
            </p:cNvPr>
            <p:cNvSpPr txBox="1">
              <a:spLocks noChangeAspect="1" noChangeArrowheads="1"/>
            </p:cNvSpPr>
            <p:nvPr/>
          </p:nvSpPr>
          <p:spPr bwMode="auto">
            <a:xfrm>
              <a:off x="3535363" y="3578225"/>
              <a:ext cx="711200" cy="214314"/>
            </a:xfrm>
            <a:prstGeom prst="rect">
              <a:avLst/>
            </a:prstGeom>
            <a:no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47</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Atlantique Vendée</a:t>
              </a:r>
            </a:p>
          </p:txBody>
        </p:sp>
        <p:sp>
          <p:nvSpPr>
            <p:cNvPr id="226" name="Text Box 74">
              <a:extLst>
                <a:ext uri="{FF2B5EF4-FFF2-40B4-BE49-F238E27FC236}">
                  <a16:creationId xmlns:a16="http://schemas.microsoft.com/office/drawing/2014/main" id="{F1E0ADE0-8C93-3A19-5AEA-2A259C2ED8B5}"/>
                </a:ext>
              </a:extLst>
            </p:cNvPr>
            <p:cNvSpPr txBox="1">
              <a:spLocks noChangeAspect="1" noChangeArrowheads="1"/>
            </p:cNvSpPr>
            <p:nvPr/>
          </p:nvSpPr>
          <p:spPr bwMode="auto">
            <a:xfrm>
              <a:off x="4000500" y="2390775"/>
              <a:ext cx="711200" cy="142875"/>
            </a:xfrm>
            <a:prstGeom prst="rect">
              <a:avLst/>
            </a:prstGeom>
            <a:grpFill/>
            <a:ln w="9525">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66 - Normandie</a:t>
              </a:r>
            </a:p>
          </p:txBody>
        </p:sp>
        <p:sp>
          <p:nvSpPr>
            <p:cNvPr id="227" name="Text Box 72">
              <a:extLst>
                <a:ext uri="{FF2B5EF4-FFF2-40B4-BE49-F238E27FC236}">
                  <a16:creationId xmlns:a16="http://schemas.microsoft.com/office/drawing/2014/main" id="{C4F7156D-8801-6B54-1225-3F4D7AA6964A}"/>
                </a:ext>
              </a:extLst>
            </p:cNvPr>
            <p:cNvSpPr txBox="1">
              <a:spLocks noChangeAspect="1" noChangeArrowheads="1"/>
            </p:cNvSpPr>
            <p:nvPr/>
          </p:nvSpPr>
          <p:spPr bwMode="auto">
            <a:xfrm>
              <a:off x="5435600" y="2003425"/>
              <a:ext cx="566738" cy="246063"/>
            </a:xfrm>
            <a:prstGeom prst="rect">
              <a:avLst/>
            </a:prstGeom>
            <a:grpFill/>
            <a:ln w="9525">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87</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Brie Picardie</a:t>
              </a:r>
            </a:p>
          </p:txBody>
        </p:sp>
        <p:sp>
          <p:nvSpPr>
            <p:cNvPr id="228" name="Text Box 73">
              <a:extLst>
                <a:ext uri="{FF2B5EF4-FFF2-40B4-BE49-F238E27FC236}">
                  <a16:creationId xmlns:a16="http://schemas.microsoft.com/office/drawing/2014/main" id="{480B9502-C544-E1EB-3D3C-D3D0A5237EF4}"/>
                </a:ext>
              </a:extLst>
            </p:cNvPr>
            <p:cNvSpPr txBox="1">
              <a:spLocks noChangeAspect="1" noChangeArrowheads="1"/>
            </p:cNvSpPr>
            <p:nvPr/>
          </p:nvSpPr>
          <p:spPr bwMode="auto">
            <a:xfrm>
              <a:off x="4757738" y="2020888"/>
              <a:ext cx="711200" cy="212725"/>
            </a:xfrm>
            <a:prstGeom prst="rect">
              <a:avLst/>
            </a:prstGeom>
            <a:solidFill>
              <a:sysClr val="window" lastClr="FFFFFF"/>
            </a:solid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83 </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 Normandie Seine</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p:txBody>
        </p:sp>
        <p:sp>
          <p:nvSpPr>
            <p:cNvPr id="229" name="Text Box 61">
              <a:extLst>
                <a:ext uri="{FF2B5EF4-FFF2-40B4-BE49-F238E27FC236}">
                  <a16:creationId xmlns:a16="http://schemas.microsoft.com/office/drawing/2014/main" id="{7EC208DE-BB03-EE40-A5ED-4C87808ECADE}"/>
                </a:ext>
              </a:extLst>
            </p:cNvPr>
            <p:cNvSpPr txBox="1">
              <a:spLocks noChangeAspect="1" noChangeArrowheads="1"/>
            </p:cNvSpPr>
            <p:nvPr/>
          </p:nvSpPr>
          <p:spPr bwMode="auto">
            <a:xfrm>
              <a:off x="5350205" y="1485503"/>
              <a:ext cx="881062" cy="127001"/>
            </a:xfrm>
            <a:prstGeom prst="rect">
              <a:avLst/>
            </a:prstGeom>
            <a:grpFill/>
            <a:ln w="9525">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67 - Nord de France</a:t>
              </a:r>
            </a:p>
          </p:txBody>
        </p:sp>
        <p:sp>
          <p:nvSpPr>
            <p:cNvPr id="230" name="Text Box 63">
              <a:extLst>
                <a:ext uri="{FF2B5EF4-FFF2-40B4-BE49-F238E27FC236}">
                  <a16:creationId xmlns:a16="http://schemas.microsoft.com/office/drawing/2014/main" id="{AE9EF031-A7E4-EDC2-BD6E-81406724127B}"/>
                </a:ext>
              </a:extLst>
            </p:cNvPr>
            <p:cNvSpPr txBox="1">
              <a:spLocks noChangeAspect="1" noChangeArrowheads="1"/>
            </p:cNvSpPr>
            <p:nvPr/>
          </p:nvSpPr>
          <p:spPr bwMode="auto">
            <a:xfrm>
              <a:off x="7140575" y="2428875"/>
              <a:ext cx="623888" cy="152400"/>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61 - Lorraine</a:t>
              </a:r>
            </a:p>
          </p:txBody>
        </p:sp>
        <p:sp>
          <p:nvSpPr>
            <p:cNvPr id="231" name="Text Box 64">
              <a:extLst>
                <a:ext uri="{FF2B5EF4-FFF2-40B4-BE49-F238E27FC236}">
                  <a16:creationId xmlns:a16="http://schemas.microsoft.com/office/drawing/2014/main" id="{12B42ECB-2487-D4E0-0349-96A32A76AEFE}"/>
                </a:ext>
              </a:extLst>
            </p:cNvPr>
            <p:cNvSpPr txBox="1">
              <a:spLocks noChangeAspect="1" noChangeArrowheads="1"/>
            </p:cNvSpPr>
            <p:nvPr/>
          </p:nvSpPr>
          <p:spPr bwMode="auto">
            <a:xfrm>
              <a:off x="7301484" y="2804176"/>
              <a:ext cx="850900" cy="141288"/>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72 – Alsace-Vosges</a:t>
              </a:r>
            </a:p>
          </p:txBody>
        </p:sp>
        <p:sp>
          <p:nvSpPr>
            <p:cNvPr id="232" name="Text Box 65">
              <a:extLst>
                <a:ext uri="{FF2B5EF4-FFF2-40B4-BE49-F238E27FC236}">
                  <a16:creationId xmlns:a16="http://schemas.microsoft.com/office/drawing/2014/main" id="{21EBCAB7-69C9-D837-ED57-B9DE2C8C9AC4}"/>
                </a:ext>
              </a:extLst>
            </p:cNvPr>
            <p:cNvSpPr txBox="1">
              <a:spLocks noChangeAspect="1" noChangeArrowheads="1"/>
            </p:cNvSpPr>
            <p:nvPr/>
          </p:nvSpPr>
          <p:spPr bwMode="auto">
            <a:xfrm>
              <a:off x="6996113" y="3314700"/>
              <a:ext cx="908050" cy="142875"/>
            </a:xfrm>
            <a:prstGeom prst="rect">
              <a:avLst/>
            </a:prstGeom>
            <a:no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25</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Franche Comté</a:t>
              </a:r>
            </a:p>
          </p:txBody>
        </p:sp>
        <p:sp>
          <p:nvSpPr>
            <p:cNvPr id="233" name="Text Box 66">
              <a:extLst>
                <a:ext uri="{FF2B5EF4-FFF2-40B4-BE49-F238E27FC236}">
                  <a16:creationId xmlns:a16="http://schemas.microsoft.com/office/drawing/2014/main" id="{92D59E57-B6D5-AC9C-917F-E7C78E64896D}"/>
                </a:ext>
              </a:extLst>
            </p:cNvPr>
            <p:cNvSpPr txBox="1">
              <a:spLocks noChangeAspect="1" noChangeArrowheads="1"/>
            </p:cNvSpPr>
            <p:nvPr/>
          </p:nvSpPr>
          <p:spPr bwMode="auto">
            <a:xfrm>
              <a:off x="6243841" y="2944919"/>
              <a:ext cx="908049" cy="212725"/>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10</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Champagne-Bourgogne</a:t>
              </a:r>
            </a:p>
          </p:txBody>
        </p:sp>
        <p:sp>
          <p:nvSpPr>
            <p:cNvPr id="234" name="Text Box 69">
              <a:extLst>
                <a:ext uri="{FF2B5EF4-FFF2-40B4-BE49-F238E27FC236}">
                  <a16:creationId xmlns:a16="http://schemas.microsoft.com/office/drawing/2014/main" id="{5D5022E7-2C31-33B8-E7A2-C73E51683DF2}"/>
                </a:ext>
              </a:extLst>
            </p:cNvPr>
            <p:cNvSpPr txBox="1">
              <a:spLocks noChangeAspect="1" noChangeArrowheads="1"/>
            </p:cNvSpPr>
            <p:nvPr/>
          </p:nvSpPr>
          <p:spPr bwMode="auto">
            <a:xfrm>
              <a:off x="5581650" y="3322638"/>
              <a:ext cx="495300" cy="254000"/>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48</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7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Centre Loire</a:t>
              </a:r>
            </a:p>
            <a:p>
              <a:pPr marL="0" marR="0" lvl="0" indent="0" algn="ctr" defTabSz="914377" eaLnBrk="1" fontAlgn="base" latinLnBrk="0" hangingPunct="1">
                <a:lnSpc>
                  <a:spcPct val="7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p:txBody>
        </p:sp>
        <p:sp>
          <p:nvSpPr>
            <p:cNvPr id="235" name="Text Box 70">
              <a:extLst>
                <a:ext uri="{FF2B5EF4-FFF2-40B4-BE49-F238E27FC236}">
                  <a16:creationId xmlns:a16="http://schemas.microsoft.com/office/drawing/2014/main" id="{7DC37D20-61A8-81E6-99E4-757DC8C15F4B}"/>
                </a:ext>
              </a:extLst>
            </p:cNvPr>
            <p:cNvSpPr txBox="1">
              <a:spLocks noChangeAspect="1" noChangeArrowheads="1"/>
            </p:cNvSpPr>
            <p:nvPr/>
          </p:nvSpPr>
          <p:spPr bwMode="auto">
            <a:xfrm>
              <a:off x="4933950" y="2754313"/>
              <a:ext cx="509588" cy="234950"/>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44</a:t>
              </a:r>
            </a:p>
            <a:p>
              <a:pPr marL="0" marR="0" lvl="0" indent="0"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Val de France</a:t>
              </a:r>
            </a:p>
          </p:txBody>
        </p:sp>
        <p:sp>
          <p:nvSpPr>
            <p:cNvPr id="236" name="Text Box 82">
              <a:extLst>
                <a:ext uri="{FF2B5EF4-FFF2-40B4-BE49-F238E27FC236}">
                  <a16:creationId xmlns:a16="http://schemas.microsoft.com/office/drawing/2014/main" id="{1A50B2E5-76C3-A275-C687-CBBB4C80494F}"/>
                </a:ext>
              </a:extLst>
            </p:cNvPr>
            <p:cNvSpPr txBox="1">
              <a:spLocks noChangeAspect="1" noChangeArrowheads="1"/>
            </p:cNvSpPr>
            <p:nvPr/>
          </p:nvSpPr>
          <p:spPr bwMode="auto">
            <a:xfrm>
              <a:off x="4519613" y="3498850"/>
              <a:ext cx="566737" cy="214313"/>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94</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Touraine Poitou</a:t>
              </a:r>
            </a:p>
          </p:txBody>
        </p:sp>
        <p:sp>
          <p:nvSpPr>
            <p:cNvPr id="237" name="Text Box 81">
              <a:extLst>
                <a:ext uri="{FF2B5EF4-FFF2-40B4-BE49-F238E27FC236}">
                  <a16:creationId xmlns:a16="http://schemas.microsoft.com/office/drawing/2014/main" id="{3DAE1697-864D-6926-D85B-10E6F192FA0A}"/>
                </a:ext>
              </a:extLst>
            </p:cNvPr>
            <p:cNvSpPr txBox="1">
              <a:spLocks noChangeAspect="1" noChangeArrowheads="1"/>
            </p:cNvSpPr>
            <p:nvPr/>
          </p:nvSpPr>
          <p:spPr bwMode="auto">
            <a:xfrm>
              <a:off x="3987800" y="3983038"/>
              <a:ext cx="922338" cy="212725"/>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17</a:t>
              </a:r>
            </a:p>
            <a:p>
              <a:pPr marL="0" marR="0" lvl="0" indent="0"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Charente Maritime</a:t>
              </a:r>
            </a:p>
            <a:p>
              <a:pPr marL="0" marR="0" lvl="0" indent="0"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 Deux Sèvres</a:t>
              </a:r>
            </a:p>
          </p:txBody>
        </p:sp>
        <p:sp>
          <p:nvSpPr>
            <p:cNvPr id="238" name="Text Box 84">
              <a:extLst>
                <a:ext uri="{FF2B5EF4-FFF2-40B4-BE49-F238E27FC236}">
                  <a16:creationId xmlns:a16="http://schemas.microsoft.com/office/drawing/2014/main" id="{D0E5452C-1ABD-4416-6CEC-ACC7D761787B}"/>
                </a:ext>
              </a:extLst>
            </p:cNvPr>
            <p:cNvSpPr txBox="1">
              <a:spLocks noChangeAspect="1" noChangeArrowheads="1"/>
            </p:cNvSpPr>
            <p:nvPr/>
          </p:nvSpPr>
          <p:spPr bwMode="auto">
            <a:xfrm>
              <a:off x="4491038" y="4475163"/>
              <a:ext cx="709612" cy="214312"/>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24</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Charente Périgord</a:t>
              </a:r>
            </a:p>
          </p:txBody>
        </p:sp>
        <p:sp>
          <p:nvSpPr>
            <p:cNvPr id="239" name="Text Box 85">
              <a:extLst>
                <a:ext uri="{FF2B5EF4-FFF2-40B4-BE49-F238E27FC236}">
                  <a16:creationId xmlns:a16="http://schemas.microsoft.com/office/drawing/2014/main" id="{7031A556-CEA3-194A-EE35-167BFC0E405C}"/>
                </a:ext>
              </a:extLst>
            </p:cNvPr>
            <p:cNvSpPr txBox="1">
              <a:spLocks noChangeAspect="1" noChangeArrowheads="1"/>
            </p:cNvSpPr>
            <p:nvPr/>
          </p:nvSpPr>
          <p:spPr bwMode="auto">
            <a:xfrm>
              <a:off x="4068763" y="5080000"/>
              <a:ext cx="425450" cy="214313"/>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33</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Aquitaine</a:t>
              </a:r>
            </a:p>
          </p:txBody>
        </p:sp>
        <p:sp>
          <p:nvSpPr>
            <p:cNvPr id="240" name="Text Box 97">
              <a:extLst>
                <a:ext uri="{FF2B5EF4-FFF2-40B4-BE49-F238E27FC236}">
                  <a16:creationId xmlns:a16="http://schemas.microsoft.com/office/drawing/2014/main" id="{5B6731B5-9218-F319-C4D3-6646F7D08E85}"/>
                </a:ext>
              </a:extLst>
            </p:cNvPr>
            <p:cNvSpPr txBox="1">
              <a:spLocks noChangeAspect="1" noChangeArrowheads="1"/>
            </p:cNvSpPr>
            <p:nvPr/>
          </p:nvSpPr>
          <p:spPr bwMode="auto">
            <a:xfrm>
              <a:off x="2998788" y="5394325"/>
              <a:ext cx="355600" cy="214313"/>
            </a:xfrm>
            <a:prstGeom prst="rect">
              <a:avLst/>
            </a:prstGeom>
            <a:grpFill/>
            <a:ln>
              <a:noFill/>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903</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Réunion</a:t>
              </a:r>
            </a:p>
          </p:txBody>
        </p:sp>
        <p:sp>
          <p:nvSpPr>
            <p:cNvPr id="241" name="Text Box 98">
              <a:extLst>
                <a:ext uri="{FF2B5EF4-FFF2-40B4-BE49-F238E27FC236}">
                  <a16:creationId xmlns:a16="http://schemas.microsoft.com/office/drawing/2014/main" id="{8CE3B21B-AA06-69E5-ADC8-9AC13D0B4FF6}"/>
                </a:ext>
              </a:extLst>
            </p:cNvPr>
            <p:cNvSpPr txBox="1">
              <a:spLocks noChangeAspect="1" noChangeArrowheads="1"/>
            </p:cNvSpPr>
            <p:nvPr/>
          </p:nvSpPr>
          <p:spPr bwMode="auto">
            <a:xfrm>
              <a:off x="3163888" y="4760913"/>
              <a:ext cx="638175" cy="142875"/>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902 - Martinique</a:t>
              </a:r>
            </a:p>
          </p:txBody>
        </p:sp>
        <p:sp>
          <p:nvSpPr>
            <p:cNvPr id="242" name="Text Box 99">
              <a:extLst>
                <a:ext uri="{FF2B5EF4-FFF2-40B4-BE49-F238E27FC236}">
                  <a16:creationId xmlns:a16="http://schemas.microsoft.com/office/drawing/2014/main" id="{810E47FC-7E3D-2D6C-C3E3-5050D864D450}"/>
                </a:ext>
              </a:extLst>
            </p:cNvPr>
            <p:cNvSpPr txBox="1">
              <a:spLocks noChangeAspect="1" noChangeArrowheads="1"/>
            </p:cNvSpPr>
            <p:nvPr/>
          </p:nvSpPr>
          <p:spPr bwMode="auto">
            <a:xfrm>
              <a:off x="2998788" y="4354513"/>
              <a:ext cx="747712" cy="141287"/>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900 - Guadeloupe</a:t>
              </a:r>
            </a:p>
          </p:txBody>
        </p:sp>
        <p:sp>
          <p:nvSpPr>
            <p:cNvPr id="243" name="Text Box 86">
              <a:extLst>
                <a:ext uri="{FF2B5EF4-FFF2-40B4-BE49-F238E27FC236}">
                  <a16:creationId xmlns:a16="http://schemas.microsoft.com/office/drawing/2014/main" id="{03AE4976-3E8D-6707-DDDD-F6A700F52129}"/>
                </a:ext>
              </a:extLst>
            </p:cNvPr>
            <p:cNvSpPr txBox="1">
              <a:spLocks noChangeAspect="1" noChangeArrowheads="1"/>
            </p:cNvSpPr>
            <p:nvPr/>
          </p:nvSpPr>
          <p:spPr bwMode="auto">
            <a:xfrm>
              <a:off x="3995738" y="5610225"/>
              <a:ext cx="781050" cy="215900"/>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69</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Pyrénées-Gascogne</a:t>
              </a:r>
            </a:p>
          </p:txBody>
        </p:sp>
        <p:sp>
          <p:nvSpPr>
            <p:cNvPr id="244" name="Text Box 87">
              <a:extLst>
                <a:ext uri="{FF2B5EF4-FFF2-40B4-BE49-F238E27FC236}">
                  <a16:creationId xmlns:a16="http://schemas.microsoft.com/office/drawing/2014/main" id="{0C9621E9-2658-657A-0801-995A7FF4DF07}"/>
                </a:ext>
              </a:extLst>
            </p:cNvPr>
            <p:cNvSpPr txBox="1">
              <a:spLocks noChangeAspect="1" noChangeArrowheads="1"/>
            </p:cNvSpPr>
            <p:nvPr/>
          </p:nvSpPr>
          <p:spPr bwMode="auto">
            <a:xfrm>
              <a:off x="4994275" y="5516563"/>
              <a:ext cx="495300" cy="214312"/>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31</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Toulouse 31</a:t>
              </a:r>
            </a:p>
          </p:txBody>
        </p:sp>
        <p:sp>
          <p:nvSpPr>
            <p:cNvPr id="245" name="Text Box 88">
              <a:extLst>
                <a:ext uri="{FF2B5EF4-FFF2-40B4-BE49-F238E27FC236}">
                  <a16:creationId xmlns:a16="http://schemas.microsoft.com/office/drawing/2014/main" id="{3E4F597A-A9AC-542B-46F0-40BAC9C920E9}"/>
                </a:ext>
              </a:extLst>
            </p:cNvPr>
            <p:cNvSpPr txBox="1">
              <a:spLocks noChangeAspect="1" noChangeArrowheads="1"/>
            </p:cNvSpPr>
            <p:nvPr/>
          </p:nvSpPr>
          <p:spPr bwMode="auto">
            <a:xfrm>
              <a:off x="5227638" y="5122863"/>
              <a:ext cx="714375" cy="336550"/>
            </a:xfrm>
            <a:prstGeom prst="rect">
              <a:avLst/>
            </a:prstGeom>
            <a:grpFill/>
            <a:ln w="9525">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12</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Nord Midi Pyrénées</a:t>
              </a:r>
            </a:p>
          </p:txBody>
        </p:sp>
        <p:sp>
          <p:nvSpPr>
            <p:cNvPr id="246" name="Text Box 94">
              <a:extLst>
                <a:ext uri="{FF2B5EF4-FFF2-40B4-BE49-F238E27FC236}">
                  <a16:creationId xmlns:a16="http://schemas.microsoft.com/office/drawing/2014/main" id="{0863E07F-74FF-E1FD-B2D5-FAC768269C50}"/>
                </a:ext>
              </a:extLst>
            </p:cNvPr>
            <p:cNvSpPr txBox="1">
              <a:spLocks noChangeAspect="1" noChangeArrowheads="1"/>
            </p:cNvSpPr>
            <p:nvPr/>
          </p:nvSpPr>
          <p:spPr bwMode="auto">
            <a:xfrm>
              <a:off x="6046948" y="5302250"/>
              <a:ext cx="498475" cy="214313"/>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35</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Languedoc</a:t>
              </a:r>
            </a:p>
          </p:txBody>
        </p:sp>
        <p:sp>
          <p:nvSpPr>
            <p:cNvPr id="247" name="Text Box 95">
              <a:extLst>
                <a:ext uri="{FF2B5EF4-FFF2-40B4-BE49-F238E27FC236}">
                  <a16:creationId xmlns:a16="http://schemas.microsoft.com/office/drawing/2014/main" id="{178F3D2A-74CB-4BD9-13C0-E40BEEA98053}"/>
                </a:ext>
              </a:extLst>
            </p:cNvPr>
            <p:cNvSpPr txBox="1">
              <a:spLocks noChangeAspect="1" noChangeArrowheads="1"/>
            </p:cNvSpPr>
            <p:nvPr/>
          </p:nvSpPr>
          <p:spPr bwMode="auto">
            <a:xfrm>
              <a:off x="5353050" y="6088063"/>
              <a:ext cx="919163" cy="149225"/>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71 Sud Méditerranée</a:t>
              </a:r>
            </a:p>
          </p:txBody>
        </p:sp>
        <p:sp>
          <p:nvSpPr>
            <p:cNvPr id="248" name="Text Box 93">
              <a:extLst>
                <a:ext uri="{FF2B5EF4-FFF2-40B4-BE49-F238E27FC236}">
                  <a16:creationId xmlns:a16="http://schemas.microsoft.com/office/drawing/2014/main" id="{2AD3C7DE-AFB5-3849-B86E-A0C1393CC84A}"/>
                </a:ext>
              </a:extLst>
            </p:cNvPr>
            <p:cNvSpPr txBox="1">
              <a:spLocks noChangeAspect="1" noChangeArrowheads="1"/>
            </p:cNvSpPr>
            <p:nvPr/>
          </p:nvSpPr>
          <p:spPr bwMode="auto">
            <a:xfrm>
              <a:off x="6677025" y="5367338"/>
              <a:ext cx="639763" cy="214312"/>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13</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Alpes Provence</a:t>
              </a:r>
            </a:p>
          </p:txBody>
        </p:sp>
        <p:sp>
          <p:nvSpPr>
            <p:cNvPr id="249" name="Text Box 92">
              <a:extLst>
                <a:ext uri="{FF2B5EF4-FFF2-40B4-BE49-F238E27FC236}">
                  <a16:creationId xmlns:a16="http://schemas.microsoft.com/office/drawing/2014/main" id="{A392E2EC-3F82-307F-9433-1E36A5E7B119}"/>
                </a:ext>
              </a:extLst>
            </p:cNvPr>
            <p:cNvSpPr txBox="1">
              <a:spLocks noChangeAspect="1" noChangeArrowheads="1"/>
            </p:cNvSpPr>
            <p:nvPr/>
          </p:nvSpPr>
          <p:spPr bwMode="auto">
            <a:xfrm>
              <a:off x="7285038" y="5273675"/>
              <a:ext cx="638175" cy="284163"/>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91</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Provence </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Côte d’Azur</a:t>
              </a:r>
            </a:p>
          </p:txBody>
        </p:sp>
        <p:sp>
          <p:nvSpPr>
            <p:cNvPr id="250" name="Text Box 90">
              <a:extLst>
                <a:ext uri="{FF2B5EF4-FFF2-40B4-BE49-F238E27FC236}">
                  <a16:creationId xmlns:a16="http://schemas.microsoft.com/office/drawing/2014/main" id="{94A65A9B-B9A1-5C44-BABD-B78F2AF5023D}"/>
                </a:ext>
              </a:extLst>
            </p:cNvPr>
            <p:cNvSpPr txBox="1">
              <a:spLocks noChangeAspect="1" noChangeArrowheads="1"/>
            </p:cNvSpPr>
            <p:nvPr/>
          </p:nvSpPr>
          <p:spPr bwMode="auto">
            <a:xfrm>
              <a:off x="6119813" y="4521200"/>
              <a:ext cx="496887" cy="212725"/>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45</a:t>
              </a:r>
            </a:p>
            <a:p>
              <a:pPr marL="0" marR="0" lvl="0" indent="0" algn="ctr" defTabSz="914377" eaLnBrk="1" fontAlgn="base" latinLnBrk="0" hangingPunct="1">
                <a:lnSpc>
                  <a:spcPct val="85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Loire Haute Loire</a:t>
              </a:r>
            </a:p>
          </p:txBody>
        </p:sp>
        <p:sp>
          <p:nvSpPr>
            <p:cNvPr id="251" name="Text Box 83">
              <a:extLst>
                <a:ext uri="{FF2B5EF4-FFF2-40B4-BE49-F238E27FC236}">
                  <a16:creationId xmlns:a16="http://schemas.microsoft.com/office/drawing/2014/main" id="{5B61E356-32A5-AAA4-D2A6-2B6E264086F5}"/>
                </a:ext>
              </a:extLst>
            </p:cNvPr>
            <p:cNvSpPr txBox="1">
              <a:spLocks noChangeAspect="1" noChangeArrowheads="1"/>
            </p:cNvSpPr>
            <p:nvPr/>
          </p:nvSpPr>
          <p:spPr bwMode="auto">
            <a:xfrm>
              <a:off x="5035550" y="3689350"/>
              <a:ext cx="566738" cy="215900"/>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95</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Centre Ouest</a:t>
              </a:r>
            </a:p>
          </p:txBody>
        </p:sp>
        <p:sp>
          <p:nvSpPr>
            <p:cNvPr id="252" name="Text Box 68">
              <a:extLst>
                <a:ext uri="{FF2B5EF4-FFF2-40B4-BE49-F238E27FC236}">
                  <a16:creationId xmlns:a16="http://schemas.microsoft.com/office/drawing/2014/main" id="{DED4EFFC-A676-84D8-CE3C-77C8AF5A764F}"/>
                </a:ext>
              </a:extLst>
            </p:cNvPr>
            <p:cNvSpPr txBox="1">
              <a:spLocks noChangeAspect="1" noChangeArrowheads="1"/>
            </p:cNvSpPr>
            <p:nvPr/>
          </p:nvSpPr>
          <p:spPr bwMode="auto">
            <a:xfrm>
              <a:off x="6503362" y="3779840"/>
              <a:ext cx="495299" cy="282575"/>
            </a:xfrm>
            <a:prstGeom prst="rect">
              <a:avLst/>
            </a:prstGeom>
            <a:solidFill>
              <a:schemeClr val="bg1"/>
            </a:solid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78</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Centre Est</a:t>
              </a:r>
            </a:p>
          </p:txBody>
        </p:sp>
        <p:sp>
          <p:nvSpPr>
            <p:cNvPr id="253" name="Text Box 89">
              <a:extLst>
                <a:ext uri="{FF2B5EF4-FFF2-40B4-BE49-F238E27FC236}">
                  <a16:creationId xmlns:a16="http://schemas.microsoft.com/office/drawing/2014/main" id="{C63B63FD-79E8-5944-9BF8-E4B9581A727D}"/>
                </a:ext>
              </a:extLst>
            </p:cNvPr>
            <p:cNvSpPr txBox="1">
              <a:spLocks noChangeAspect="1" noChangeArrowheads="1"/>
            </p:cNvSpPr>
            <p:nvPr/>
          </p:nvSpPr>
          <p:spPr bwMode="auto">
            <a:xfrm>
              <a:off x="5584826" y="4103157"/>
              <a:ext cx="568325" cy="214314"/>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68</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Centre France</a:t>
              </a:r>
            </a:p>
          </p:txBody>
        </p:sp>
        <p:sp>
          <p:nvSpPr>
            <p:cNvPr id="254" name="Text Box 62">
              <a:extLst>
                <a:ext uri="{FF2B5EF4-FFF2-40B4-BE49-F238E27FC236}">
                  <a16:creationId xmlns:a16="http://schemas.microsoft.com/office/drawing/2014/main" id="{96F04186-C71D-B9AE-97D5-2D9460E5DB39}"/>
                </a:ext>
              </a:extLst>
            </p:cNvPr>
            <p:cNvSpPr txBox="1">
              <a:spLocks noChangeAspect="1" noChangeArrowheads="1"/>
            </p:cNvSpPr>
            <p:nvPr/>
          </p:nvSpPr>
          <p:spPr bwMode="auto">
            <a:xfrm>
              <a:off x="6119813" y="2108200"/>
              <a:ext cx="708025" cy="125413"/>
            </a:xfrm>
            <a:prstGeom prst="rect">
              <a:avLst/>
            </a:prstGeom>
            <a:grpFill/>
            <a:ln w="9525">
              <a:noFill/>
              <a:miter lim="800000"/>
              <a:headEnd/>
              <a:tailEnd/>
            </a:ln>
          </p:spPr>
          <p:txBody>
            <a:bodyPr wrap="none" lIns="121896" tIns="60948" rIns="121896" bIns="60948" anchor="ctr"/>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02 – Nord Est</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p:txBody>
        </p:sp>
        <p:sp>
          <p:nvSpPr>
            <p:cNvPr id="255" name="Text Box 93">
              <a:extLst>
                <a:ext uri="{FF2B5EF4-FFF2-40B4-BE49-F238E27FC236}">
                  <a16:creationId xmlns:a16="http://schemas.microsoft.com/office/drawing/2014/main" id="{20AED8A3-AFE0-32A3-4D47-A5BD96DABBF1}"/>
                </a:ext>
              </a:extLst>
            </p:cNvPr>
            <p:cNvSpPr txBox="1">
              <a:spLocks noChangeAspect="1" noChangeArrowheads="1"/>
            </p:cNvSpPr>
            <p:nvPr/>
          </p:nvSpPr>
          <p:spPr bwMode="auto">
            <a:xfrm>
              <a:off x="8085138" y="5775325"/>
              <a:ext cx="639762" cy="214313"/>
            </a:xfrm>
            <a:prstGeom prst="rect">
              <a:avLst/>
            </a:prstGeom>
            <a:grpFill/>
            <a:ln w="9525" algn="ctr">
              <a:noFill/>
              <a:miter lim="800000"/>
              <a:headEnd/>
              <a:tailEnd/>
            </a:ln>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820</a:t>
              </a: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endPar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endParaRPr>
            </a:p>
            <a:p>
              <a:pPr marL="0" marR="0" lvl="0" indent="0" algn="ctr" defTabSz="914377" eaLnBrk="1" fontAlgn="base" latinLnBrk="0" hangingPunct="1">
                <a:lnSpc>
                  <a:spcPct val="50000"/>
                </a:lnSpc>
                <a:spcBef>
                  <a:spcPct val="0"/>
                </a:spcBef>
                <a:spcAft>
                  <a:spcPct val="0"/>
                </a:spcAft>
                <a:buClrTx/>
                <a:buSzTx/>
                <a:buFont typeface="Wingdings" pitchFamily="2" charset="2"/>
                <a:buNone/>
                <a:tabLst/>
                <a:defRPr/>
              </a:pPr>
              <a:r>
                <a:rPr kumimoji="0" lang="fr-FR" altLang="fr-FR" sz="667" b="0"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charset="0"/>
                </a:rPr>
                <a:t>Corse</a:t>
              </a:r>
            </a:p>
          </p:txBody>
        </p:sp>
        <p:sp>
          <p:nvSpPr>
            <p:cNvPr id="256" name="Freeform 354">
              <a:extLst>
                <a:ext uri="{FF2B5EF4-FFF2-40B4-BE49-F238E27FC236}">
                  <a16:creationId xmlns:a16="http://schemas.microsoft.com/office/drawing/2014/main" id="{EF1A0D97-83A3-E9B8-C8AE-42BD55CDE8CA}"/>
                </a:ext>
              </a:extLst>
            </p:cNvPr>
            <p:cNvSpPr>
              <a:spLocks/>
            </p:cNvSpPr>
            <p:nvPr/>
          </p:nvSpPr>
          <p:spPr bwMode="auto">
            <a:xfrm>
              <a:off x="6369051" y="4240213"/>
              <a:ext cx="1174749" cy="952499"/>
            </a:xfrm>
            <a:custGeom>
              <a:avLst/>
              <a:gdLst>
                <a:gd name="T0" fmla="*/ 0 w 1989"/>
                <a:gd name="T1" fmla="*/ 0 h 1911"/>
                <a:gd name="T2" fmla="*/ 0 w 1989"/>
                <a:gd name="T3" fmla="*/ 0 h 1911"/>
                <a:gd name="T4" fmla="*/ 0 w 1989"/>
                <a:gd name="T5" fmla="*/ 0 h 1911"/>
                <a:gd name="T6" fmla="*/ 0 w 1989"/>
                <a:gd name="T7" fmla="*/ 0 h 1911"/>
                <a:gd name="T8" fmla="*/ 0 w 1989"/>
                <a:gd name="T9" fmla="*/ 0 h 1911"/>
                <a:gd name="T10" fmla="*/ 0 w 1989"/>
                <a:gd name="T11" fmla="*/ 0 h 1911"/>
                <a:gd name="T12" fmla="*/ 0 w 1989"/>
                <a:gd name="T13" fmla="*/ 0 h 1911"/>
                <a:gd name="T14" fmla="*/ 0 w 1989"/>
                <a:gd name="T15" fmla="*/ 0 h 1911"/>
                <a:gd name="T16" fmla="*/ 0 w 1989"/>
                <a:gd name="T17" fmla="*/ 0 h 1911"/>
                <a:gd name="T18" fmla="*/ 0 w 1989"/>
                <a:gd name="T19" fmla="*/ 0 h 1911"/>
                <a:gd name="T20" fmla="*/ 0 w 1989"/>
                <a:gd name="T21" fmla="*/ 0 h 1911"/>
                <a:gd name="T22" fmla="*/ 0 w 1989"/>
                <a:gd name="T23" fmla="*/ 0 h 1911"/>
                <a:gd name="T24" fmla="*/ 0 w 1989"/>
                <a:gd name="T25" fmla="*/ 0 h 1911"/>
                <a:gd name="T26" fmla="*/ 0 w 1989"/>
                <a:gd name="T27" fmla="*/ 0 h 1911"/>
                <a:gd name="T28" fmla="*/ 0 w 1989"/>
                <a:gd name="T29" fmla="*/ 0 h 1911"/>
                <a:gd name="T30" fmla="*/ 0 w 1989"/>
                <a:gd name="T31" fmla="*/ 0 h 1911"/>
                <a:gd name="T32" fmla="*/ 0 w 1989"/>
                <a:gd name="T33" fmla="*/ 0 h 1911"/>
                <a:gd name="T34" fmla="*/ 0 w 1989"/>
                <a:gd name="T35" fmla="*/ 0 h 1911"/>
                <a:gd name="T36" fmla="*/ 0 w 1989"/>
                <a:gd name="T37" fmla="*/ 0 h 1911"/>
                <a:gd name="T38" fmla="*/ 0 w 1989"/>
                <a:gd name="T39" fmla="*/ 0 h 1911"/>
                <a:gd name="T40" fmla="*/ 0 w 1989"/>
                <a:gd name="T41" fmla="*/ 0 h 1911"/>
                <a:gd name="T42" fmla="*/ 0 w 1989"/>
                <a:gd name="T43" fmla="*/ 0 h 1911"/>
                <a:gd name="T44" fmla="*/ 0 w 1989"/>
                <a:gd name="T45" fmla="*/ 0 h 1911"/>
                <a:gd name="T46" fmla="*/ 0 w 1989"/>
                <a:gd name="T47" fmla="*/ 0 h 1911"/>
                <a:gd name="T48" fmla="*/ 0 w 1989"/>
                <a:gd name="T49" fmla="*/ 0 h 1911"/>
                <a:gd name="T50" fmla="*/ 0 w 1989"/>
                <a:gd name="T51" fmla="*/ 0 h 1911"/>
                <a:gd name="T52" fmla="*/ 0 w 1989"/>
                <a:gd name="T53" fmla="*/ 0 h 1911"/>
                <a:gd name="T54" fmla="*/ 0 w 1989"/>
                <a:gd name="T55" fmla="*/ 0 h 1911"/>
                <a:gd name="T56" fmla="*/ 0 w 1989"/>
                <a:gd name="T57" fmla="*/ 0 h 1911"/>
                <a:gd name="T58" fmla="*/ 0 w 1989"/>
                <a:gd name="T59" fmla="*/ 0 h 1911"/>
                <a:gd name="T60" fmla="*/ 0 w 1989"/>
                <a:gd name="T61" fmla="*/ 0 h 1911"/>
                <a:gd name="T62" fmla="*/ 0 w 1989"/>
                <a:gd name="T63" fmla="*/ 0 h 1911"/>
                <a:gd name="T64" fmla="*/ 0 w 1989"/>
                <a:gd name="T65" fmla="*/ 0 h 1911"/>
                <a:gd name="T66" fmla="*/ 0 w 1989"/>
                <a:gd name="T67" fmla="*/ 0 h 1911"/>
                <a:gd name="T68" fmla="*/ 0 w 1989"/>
                <a:gd name="T69" fmla="*/ 0 h 1911"/>
                <a:gd name="T70" fmla="*/ 0 w 1989"/>
                <a:gd name="T71" fmla="*/ 0 h 1911"/>
                <a:gd name="T72" fmla="*/ 0 w 1989"/>
                <a:gd name="T73" fmla="*/ 0 h 1911"/>
                <a:gd name="T74" fmla="*/ 0 w 1989"/>
                <a:gd name="T75" fmla="*/ 0 h 1911"/>
                <a:gd name="T76" fmla="*/ 0 w 1989"/>
                <a:gd name="T77" fmla="*/ 0 h 1911"/>
                <a:gd name="T78" fmla="*/ 0 w 1989"/>
                <a:gd name="T79" fmla="*/ 0 h 1911"/>
                <a:gd name="T80" fmla="*/ 0 w 1989"/>
                <a:gd name="T81" fmla="*/ 0 h 1911"/>
                <a:gd name="T82" fmla="*/ 0 w 1989"/>
                <a:gd name="T83" fmla="*/ 0 h 1911"/>
                <a:gd name="T84" fmla="*/ 0 w 1989"/>
                <a:gd name="T85" fmla="*/ 0 h 1911"/>
                <a:gd name="T86" fmla="*/ 0 w 1989"/>
                <a:gd name="T87" fmla="*/ 0 h 1911"/>
                <a:gd name="T88" fmla="*/ 0 w 1989"/>
                <a:gd name="T89" fmla="*/ 0 h 1911"/>
                <a:gd name="T90" fmla="*/ 0 w 1989"/>
                <a:gd name="T91" fmla="*/ 0 h 1911"/>
                <a:gd name="T92" fmla="*/ 0 w 1989"/>
                <a:gd name="T93" fmla="*/ 0 h 1911"/>
                <a:gd name="T94" fmla="*/ 0 w 1989"/>
                <a:gd name="T95" fmla="*/ 0 h 1911"/>
                <a:gd name="T96" fmla="*/ 0 w 1989"/>
                <a:gd name="T97" fmla="*/ 0 h 1911"/>
                <a:gd name="T98" fmla="*/ 0 w 1989"/>
                <a:gd name="T99" fmla="*/ 0 h 1911"/>
                <a:gd name="T100" fmla="*/ 0 w 1989"/>
                <a:gd name="T101" fmla="*/ 0 h 1911"/>
                <a:gd name="T102" fmla="*/ 0 w 1989"/>
                <a:gd name="T103" fmla="*/ 0 h 1911"/>
                <a:gd name="T104" fmla="*/ 0 w 1989"/>
                <a:gd name="T105" fmla="*/ 0 h 1911"/>
                <a:gd name="T106" fmla="*/ 0 w 1989"/>
                <a:gd name="T107" fmla="*/ 0 h 1911"/>
                <a:gd name="T108" fmla="*/ 0 w 1989"/>
                <a:gd name="T109" fmla="*/ 0 h 1911"/>
                <a:gd name="T110" fmla="*/ 0 w 1989"/>
                <a:gd name="T111" fmla="*/ 0 h 1911"/>
                <a:gd name="T112" fmla="*/ 0 w 1989"/>
                <a:gd name="T113" fmla="*/ 0 h 1911"/>
                <a:gd name="T114" fmla="*/ 0 w 1989"/>
                <a:gd name="T115" fmla="*/ 0 h 1911"/>
                <a:gd name="T116" fmla="*/ 0 w 1989"/>
                <a:gd name="T117" fmla="*/ 0 h 191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989" h="1911">
                  <a:moveTo>
                    <a:pt x="1033" y="1866"/>
                  </a:moveTo>
                  <a:lnTo>
                    <a:pt x="1029" y="1861"/>
                  </a:lnTo>
                  <a:lnTo>
                    <a:pt x="1027" y="1857"/>
                  </a:lnTo>
                  <a:lnTo>
                    <a:pt x="1027" y="1849"/>
                  </a:lnTo>
                  <a:lnTo>
                    <a:pt x="1032" y="1842"/>
                  </a:lnTo>
                  <a:lnTo>
                    <a:pt x="1041" y="1837"/>
                  </a:lnTo>
                  <a:lnTo>
                    <a:pt x="1039" y="1830"/>
                  </a:lnTo>
                  <a:lnTo>
                    <a:pt x="1045" y="1815"/>
                  </a:lnTo>
                  <a:lnTo>
                    <a:pt x="1038" y="1804"/>
                  </a:lnTo>
                  <a:lnTo>
                    <a:pt x="1027" y="1812"/>
                  </a:lnTo>
                  <a:lnTo>
                    <a:pt x="1030" y="1822"/>
                  </a:lnTo>
                  <a:lnTo>
                    <a:pt x="1000" y="1848"/>
                  </a:lnTo>
                  <a:lnTo>
                    <a:pt x="996" y="1848"/>
                  </a:lnTo>
                  <a:lnTo>
                    <a:pt x="981" y="1846"/>
                  </a:lnTo>
                  <a:lnTo>
                    <a:pt x="975" y="1845"/>
                  </a:lnTo>
                  <a:lnTo>
                    <a:pt x="967" y="1843"/>
                  </a:lnTo>
                  <a:lnTo>
                    <a:pt x="955" y="1822"/>
                  </a:lnTo>
                  <a:lnTo>
                    <a:pt x="930" y="1834"/>
                  </a:lnTo>
                  <a:lnTo>
                    <a:pt x="919" y="1840"/>
                  </a:lnTo>
                  <a:lnTo>
                    <a:pt x="898" y="1846"/>
                  </a:lnTo>
                  <a:lnTo>
                    <a:pt x="895" y="1827"/>
                  </a:lnTo>
                  <a:lnTo>
                    <a:pt x="900" y="1818"/>
                  </a:lnTo>
                  <a:lnTo>
                    <a:pt x="916" y="1804"/>
                  </a:lnTo>
                  <a:lnTo>
                    <a:pt x="916" y="1792"/>
                  </a:lnTo>
                  <a:lnTo>
                    <a:pt x="925" y="1780"/>
                  </a:lnTo>
                  <a:lnTo>
                    <a:pt x="927" y="1762"/>
                  </a:lnTo>
                  <a:lnTo>
                    <a:pt x="945" y="1759"/>
                  </a:lnTo>
                  <a:lnTo>
                    <a:pt x="955" y="1752"/>
                  </a:lnTo>
                  <a:lnTo>
                    <a:pt x="961" y="1746"/>
                  </a:lnTo>
                  <a:lnTo>
                    <a:pt x="961" y="1738"/>
                  </a:lnTo>
                  <a:lnTo>
                    <a:pt x="948" y="1741"/>
                  </a:lnTo>
                  <a:lnTo>
                    <a:pt x="939" y="1738"/>
                  </a:lnTo>
                  <a:lnTo>
                    <a:pt x="933" y="1728"/>
                  </a:lnTo>
                  <a:lnTo>
                    <a:pt x="921" y="1723"/>
                  </a:lnTo>
                  <a:lnTo>
                    <a:pt x="921" y="1711"/>
                  </a:lnTo>
                  <a:lnTo>
                    <a:pt x="925" y="1701"/>
                  </a:lnTo>
                  <a:lnTo>
                    <a:pt x="918" y="1698"/>
                  </a:lnTo>
                  <a:lnTo>
                    <a:pt x="913" y="1704"/>
                  </a:lnTo>
                  <a:lnTo>
                    <a:pt x="903" y="1687"/>
                  </a:lnTo>
                  <a:lnTo>
                    <a:pt x="891" y="1687"/>
                  </a:lnTo>
                  <a:lnTo>
                    <a:pt x="888" y="1681"/>
                  </a:lnTo>
                  <a:lnTo>
                    <a:pt x="883" y="1683"/>
                  </a:lnTo>
                  <a:lnTo>
                    <a:pt x="879" y="1689"/>
                  </a:lnTo>
                  <a:lnTo>
                    <a:pt x="868" y="1696"/>
                  </a:lnTo>
                  <a:lnTo>
                    <a:pt x="867" y="1699"/>
                  </a:lnTo>
                  <a:lnTo>
                    <a:pt x="855" y="1705"/>
                  </a:lnTo>
                  <a:lnTo>
                    <a:pt x="840" y="1711"/>
                  </a:lnTo>
                  <a:lnTo>
                    <a:pt x="834" y="1732"/>
                  </a:lnTo>
                  <a:lnTo>
                    <a:pt x="834" y="1747"/>
                  </a:lnTo>
                  <a:lnTo>
                    <a:pt x="826" y="1752"/>
                  </a:lnTo>
                  <a:lnTo>
                    <a:pt x="822" y="1761"/>
                  </a:lnTo>
                  <a:lnTo>
                    <a:pt x="804" y="1779"/>
                  </a:lnTo>
                  <a:lnTo>
                    <a:pt x="805" y="1783"/>
                  </a:lnTo>
                  <a:lnTo>
                    <a:pt x="814" y="1780"/>
                  </a:lnTo>
                  <a:lnTo>
                    <a:pt x="822" y="1788"/>
                  </a:lnTo>
                  <a:lnTo>
                    <a:pt x="822" y="1794"/>
                  </a:lnTo>
                  <a:lnTo>
                    <a:pt x="814" y="1800"/>
                  </a:lnTo>
                  <a:lnTo>
                    <a:pt x="819" y="1819"/>
                  </a:lnTo>
                  <a:lnTo>
                    <a:pt x="822" y="1827"/>
                  </a:lnTo>
                  <a:lnTo>
                    <a:pt x="831" y="1825"/>
                  </a:lnTo>
                  <a:lnTo>
                    <a:pt x="847" y="1822"/>
                  </a:lnTo>
                  <a:lnTo>
                    <a:pt x="867" y="1827"/>
                  </a:lnTo>
                  <a:lnTo>
                    <a:pt x="882" y="1836"/>
                  </a:lnTo>
                  <a:lnTo>
                    <a:pt x="894" y="1837"/>
                  </a:lnTo>
                  <a:lnTo>
                    <a:pt x="898" y="1846"/>
                  </a:lnTo>
                  <a:lnTo>
                    <a:pt x="888" y="1854"/>
                  </a:lnTo>
                  <a:lnTo>
                    <a:pt x="852" y="1872"/>
                  </a:lnTo>
                  <a:lnTo>
                    <a:pt x="838" y="1873"/>
                  </a:lnTo>
                  <a:lnTo>
                    <a:pt x="829" y="1872"/>
                  </a:lnTo>
                  <a:lnTo>
                    <a:pt x="823" y="1870"/>
                  </a:lnTo>
                  <a:lnTo>
                    <a:pt x="814" y="1870"/>
                  </a:lnTo>
                  <a:lnTo>
                    <a:pt x="811" y="1873"/>
                  </a:lnTo>
                  <a:lnTo>
                    <a:pt x="798" y="1890"/>
                  </a:lnTo>
                  <a:lnTo>
                    <a:pt x="787" y="1903"/>
                  </a:lnTo>
                  <a:lnTo>
                    <a:pt x="775" y="1911"/>
                  </a:lnTo>
                  <a:lnTo>
                    <a:pt x="766" y="1906"/>
                  </a:lnTo>
                  <a:lnTo>
                    <a:pt x="766" y="1897"/>
                  </a:lnTo>
                  <a:lnTo>
                    <a:pt x="765" y="1887"/>
                  </a:lnTo>
                  <a:lnTo>
                    <a:pt x="759" y="1864"/>
                  </a:lnTo>
                  <a:lnTo>
                    <a:pt x="759" y="1861"/>
                  </a:lnTo>
                  <a:lnTo>
                    <a:pt x="759" y="1834"/>
                  </a:lnTo>
                  <a:lnTo>
                    <a:pt x="757" y="1822"/>
                  </a:lnTo>
                  <a:lnTo>
                    <a:pt x="757" y="1818"/>
                  </a:lnTo>
                  <a:lnTo>
                    <a:pt x="726" y="1809"/>
                  </a:lnTo>
                  <a:lnTo>
                    <a:pt x="720" y="1804"/>
                  </a:lnTo>
                  <a:lnTo>
                    <a:pt x="715" y="1800"/>
                  </a:lnTo>
                  <a:lnTo>
                    <a:pt x="684" y="1797"/>
                  </a:lnTo>
                  <a:lnTo>
                    <a:pt x="673" y="1800"/>
                  </a:lnTo>
                  <a:lnTo>
                    <a:pt x="628" y="1803"/>
                  </a:lnTo>
                  <a:lnTo>
                    <a:pt x="630" y="1837"/>
                  </a:lnTo>
                  <a:lnTo>
                    <a:pt x="631" y="1846"/>
                  </a:lnTo>
                  <a:lnTo>
                    <a:pt x="634" y="1884"/>
                  </a:lnTo>
                  <a:lnTo>
                    <a:pt x="636" y="1897"/>
                  </a:lnTo>
                  <a:lnTo>
                    <a:pt x="618" y="1870"/>
                  </a:lnTo>
                  <a:lnTo>
                    <a:pt x="612" y="1866"/>
                  </a:lnTo>
                  <a:lnTo>
                    <a:pt x="597" y="1866"/>
                  </a:lnTo>
                  <a:lnTo>
                    <a:pt x="594" y="1866"/>
                  </a:lnTo>
                  <a:lnTo>
                    <a:pt x="589" y="1861"/>
                  </a:lnTo>
                  <a:lnTo>
                    <a:pt x="586" y="1857"/>
                  </a:lnTo>
                  <a:lnTo>
                    <a:pt x="583" y="1852"/>
                  </a:lnTo>
                  <a:lnTo>
                    <a:pt x="571" y="1842"/>
                  </a:lnTo>
                  <a:lnTo>
                    <a:pt x="558" y="1836"/>
                  </a:lnTo>
                  <a:lnTo>
                    <a:pt x="549" y="1834"/>
                  </a:lnTo>
                  <a:lnTo>
                    <a:pt x="541" y="1827"/>
                  </a:lnTo>
                  <a:lnTo>
                    <a:pt x="528" y="1809"/>
                  </a:lnTo>
                  <a:lnTo>
                    <a:pt x="507" y="1804"/>
                  </a:lnTo>
                  <a:lnTo>
                    <a:pt x="501" y="1795"/>
                  </a:lnTo>
                  <a:lnTo>
                    <a:pt x="495" y="1794"/>
                  </a:lnTo>
                  <a:lnTo>
                    <a:pt x="489" y="1797"/>
                  </a:lnTo>
                  <a:lnTo>
                    <a:pt x="480" y="1795"/>
                  </a:lnTo>
                  <a:lnTo>
                    <a:pt x="469" y="1791"/>
                  </a:lnTo>
                  <a:lnTo>
                    <a:pt x="465" y="1792"/>
                  </a:lnTo>
                  <a:lnTo>
                    <a:pt x="463" y="1804"/>
                  </a:lnTo>
                  <a:lnTo>
                    <a:pt x="468" y="1821"/>
                  </a:lnTo>
                  <a:lnTo>
                    <a:pt x="469" y="1833"/>
                  </a:lnTo>
                  <a:lnTo>
                    <a:pt x="469" y="1842"/>
                  </a:lnTo>
                  <a:lnTo>
                    <a:pt x="463" y="1845"/>
                  </a:lnTo>
                  <a:lnTo>
                    <a:pt x="462" y="1848"/>
                  </a:lnTo>
                  <a:lnTo>
                    <a:pt x="457" y="1852"/>
                  </a:lnTo>
                  <a:lnTo>
                    <a:pt x="453" y="1854"/>
                  </a:lnTo>
                  <a:lnTo>
                    <a:pt x="450" y="1849"/>
                  </a:lnTo>
                  <a:lnTo>
                    <a:pt x="447" y="1848"/>
                  </a:lnTo>
                  <a:lnTo>
                    <a:pt x="436" y="1848"/>
                  </a:lnTo>
                  <a:lnTo>
                    <a:pt x="424" y="1846"/>
                  </a:lnTo>
                  <a:lnTo>
                    <a:pt x="418" y="1837"/>
                  </a:lnTo>
                  <a:lnTo>
                    <a:pt x="418" y="1833"/>
                  </a:lnTo>
                  <a:lnTo>
                    <a:pt x="423" y="1819"/>
                  </a:lnTo>
                  <a:lnTo>
                    <a:pt x="424" y="1810"/>
                  </a:lnTo>
                  <a:lnTo>
                    <a:pt x="415" y="1789"/>
                  </a:lnTo>
                  <a:lnTo>
                    <a:pt x="408" y="1788"/>
                  </a:lnTo>
                  <a:lnTo>
                    <a:pt x="379" y="1789"/>
                  </a:lnTo>
                  <a:lnTo>
                    <a:pt x="373" y="1792"/>
                  </a:lnTo>
                  <a:lnTo>
                    <a:pt x="367" y="1797"/>
                  </a:lnTo>
                  <a:lnTo>
                    <a:pt x="361" y="1809"/>
                  </a:lnTo>
                  <a:lnTo>
                    <a:pt x="352" y="1816"/>
                  </a:lnTo>
                  <a:lnTo>
                    <a:pt x="345" y="1819"/>
                  </a:lnTo>
                  <a:lnTo>
                    <a:pt x="337" y="1822"/>
                  </a:lnTo>
                  <a:lnTo>
                    <a:pt x="334" y="1837"/>
                  </a:lnTo>
                  <a:lnTo>
                    <a:pt x="336" y="1851"/>
                  </a:lnTo>
                  <a:lnTo>
                    <a:pt x="331" y="1864"/>
                  </a:lnTo>
                  <a:lnTo>
                    <a:pt x="327" y="1872"/>
                  </a:lnTo>
                  <a:lnTo>
                    <a:pt x="319" y="1873"/>
                  </a:lnTo>
                  <a:lnTo>
                    <a:pt x="313" y="1872"/>
                  </a:lnTo>
                  <a:lnTo>
                    <a:pt x="297" y="1864"/>
                  </a:lnTo>
                  <a:lnTo>
                    <a:pt x="283" y="1849"/>
                  </a:lnTo>
                  <a:lnTo>
                    <a:pt x="280" y="1845"/>
                  </a:lnTo>
                  <a:lnTo>
                    <a:pt x="264" y="1836"/>
                  </a:lnTo>
                  <a:lnTo>
                    <a:pt x="256" y="1831"/>
                  </a:lnTo>
                  <a:lnTo>
                    <a:pt x="252" y="1821"/>
                  </a:lnTo>
                  <a:lnTo>
                    <a:pt x="247" y="1815"/>
                  </a:lnTo>
                  <a:lnTo>
                    <a:pt x="240" y="1816"/>
                  </a:lnTo>
                  <a:lnTo>
                    <a:pt x="231" y="1818"/>
                  </a:lnTo>
                  <a:lnTo>
                    <a:pt x="214" y="1795"/>
                  </a:lnTo>
                  <a:lnTo>
                    <a:pt x="210" y="1794"/>
                  </a:lnTo>
                  <a:lnTo>
                    <a:pt x="204" y="1798"/>
                  </a:lnTo>
                  <a:lnTo>
                    <a:pt x="199" y="1795"/>
                  </a:lnTo>
                  <a:lnTo>
                    <a:pt x="192" y="1794"/>
                  </a:lnTo>
                  <a:lnTo>
                    <a:pt x="178" y="1801"/>
                  </a:lnTo>
                  <a:lnTo>
                    <a:pt x="159" y="1807"/>
                  </a:lnTo>
                  <a:lnTo>
                    <a:pt x="156" y="1807"/>
                  </a:lnTo>
                  <a:lnTo>
                    <a:pt x="153" y="1807"/>
                  </a:lnTo>
                  <a:lnTo>
                    <a:pt x="147" y="1806"/>
                  </a:lnTo>
                  <a:lnTo>
                    <a:pt x="145" y="1801"/>
                  </a:lnTo>
                  <a:lnTo>
                    <a:pt x="156" y="1794"/>
                  </a:lnTo>
                  <a:lnTo>
                    <a:pt x="156" y="1776"/>
                  </a:lnTo>
                  <a:lnTo>
                    <a:pt x="153" y="1759"/>
                  </a:lnTo>
                  <a:lnTo>
                    <a:pt x="148" y="1738"/>
                  </a:lnTo>
                  <a:lnTo>
                    <a:pt x="148" y="1726"/>
                  </a:lnTo>
                  <a:lnTo>
                    <a:pt x="162" y="1729"/>
                  </a:lnTo>
                  <a:lnTo>
                    <a:pt x="163" y="1713"/>
                  </a:lnTo>
                  <a:lnTo>
                    <a:pt x="139" y="1696"/>
                  </a:lnTo>
                  <a:lnTo>
                    <a:pt x="139" y="1675"/>
                  </a:lnTo>
                  <a:lnTo>
                    <a:pt x="127" y="1666"/>
                  </a:lnTo>
                  <a:lnTo>
                    <a:pt x="120" y="1662"/>
                  </a:lnTo>
                  <a:lnTo>
                    <a:pt x="106" y="1648"/>
                  </a:lnTo>
                  <a:lnTo>
                    <a:pt x="106" y="1635"/>
                  </a:lnTo>
                  <a:lnTo>
                    <a:pt x="100" y="1594"/>
                  </a:lnTo>
                  <a:lnTo>
                    <a:pt x="90" y="1584"/>
                  </a:lnTo>
                  <a:lnTo>
                    <a:pt x="82" y="1555"/>
                  </a:lnTo>
                  <a:lnTo>
                    <a:pt x="72" y="1536"/>
                  </a:lnTo>
                  <a:lnTo>
                    <a:pt x="63" y="1527"/>
                  </a:lnTo>
                  <a:lnTo>
                    <a:pt x="48" y="1525"/>
                  </a:lnTo>
                  <a:lnTo>
                    <a:pt x="40" y="1519"/>
                  </a:lnTo>
                  <a:lnTo>
                    <a:pt x="40" y="1507"/>
                  </a:lnTo>
                  <a:lnTo>
                    <a:pt x="40" y="1494"/>
                  </a:lnTo>
                  <a:lnTo>
                    <a:pt x="33" y="1489"/>
                  </a:lnTo>
                  <a:lnTo>
                    <a:pt x="33" y="1477"/>
                  </a:lnTo>
                  <a:lnTo>
                    <a:pt x="24" y="1470"/>
                  </a:lnTo>
                  <a:lnTo>
                    <a:pt x="24" y="1453"/>
                  </a:lnTo>
                  <a:lnTo>
                    <a:pt x="28" y="1440"/>
                  </a:lnTo>
                  <a:lnTo>
                    <a:pt x="28" y="1429"/>
                  </a:lnTo>
                  <a:lnTo>
                    <a:pt x="28" y="1416"/>
                  </a:lnTo>
                  <a:lnTo>
                    <a:pt x="12" y="1396"/>
                  </a:lnTo>
                  <a:lnTo>
                    <a:pt x="18" y="1387"/>
                  </a:lnTo>
                  <a:lnTo>
                    <a:pt x="15" y="1380"/>
                  </a:lnTo>
                  <a:lnTo>
                    <a:pt x="22" y="1372"/>
                  </a:lnTo>
                  <a:lnTo>
                    <a:pt x="21" y="1366"/>
                  </a:lnTo>
                  <a:lnTo>
                    <a:pt x="16" y="1362"/>
                  </a:lnTo>
                  <a:lnTo>
                    <a:pt x="0" y="1356"/>
                  </a:lnTo>
                  <a:lnTo>
                    <a:pt x="0" y="1350"/>
                  </a:lnTo>
                  <a:lnTo>
                    <a:pt x="10" y="1327"/>
                  </a:lnTo>
                  <a:lnTo>
                    <a:pt x="12" y="1318"/>
                  </a:lnTo>
                  <a:lnTo>
                    <a:pt x="9" y="1314"/>
                  </a:lnTo>
                  <a:lnTo>
                    <a:pt x="13" y="1305"/>
                  </a:lnTo>
                  <a:lnTo>
                    <a:pt x="31" y="1312"/>
                  </a:lnTo>
                  <a:lnTo>
                    <a:pt x="31" y="1302"/>
                  </a:lnTo>
                  <a:lnTo>
                    <a:pt x="36" y="1297"/>
                  </a:lnTo>
                  <a:lnTo>
                    <a:pt x="52" y="1290"/>
                  </a:lnTo>
                  <a:lnTo>
                    <a:pt x="48" y="1281"/>
                  </a:lnTo>
                  <a:lnTo>
                    <a:pt x="58" y="1263"/>
                  </a:lnTo>
                  <a:lnTo>
                    <a:pt x="66" y="1254"/>
                  </a:lnTo>
                  <a:lnTo>
                    <a:pt x="70" y="1227"/>
                  </a:lnTo>
                  <a:lnTo>
                    <a:pt x="79" y="1222"/>
                  </a:lnTo>
                  <a:lnTo>
                    <a:pt x="84" y="1221"/>
                  </a:lnTo>
                  <a:lnTo>
                    <a:pt x="85" y="1230"/>
                  </a:lnTo>
                  <a:lnTo>
                    <a:pt x="99" y="1243"/>
                  </a:lnTo>
                  <a:lnTo>
                    <a:pt x="103" y="1239"/>
                  </a:lnTo>
                  <a:lnTo>
                    <a:pt x="97" y="1227"/>
                  </a:lnTo>
                  <a:lnTo>
                    <a:pt x="97" y="1216"/>
                  </a:lnTo>
                  <a:lnTo>
                    <a:pt x="105" y="1215"/>
                  </a:lnTo>
                  <a:lnTo>
                    <a:pt x="111" y="1230"/>
                  </a:lnTo>
                  <a:lnTo>
                    <a:pt x="118" y="1224"/>
                  </a:lnTo>
                  <a:lnTo>
                    <a:pt x="117" y="1210"/>
                  </a:lnTo>
                  <a:lnTo>
                    <a:pt x="121" y="1210"/>
                  </a:lnTo>
                  <a:lnTo>
                    <a:pt x="126" y="1219"/>
                  </a:lnTo>
                  <a:lnTo>
                    <a:pt x="135" y="1215"/>
                  </a:lnTo>
                  <a:lnTo>
                    <a:pt x="130" y="1203"/>
                  </a:lnTo>
                  <a:lnTo>
                    <a:pt x="135" y="1179"/>
                  </a:lnTo>
                  <a:lnTo>
                    <a:pt x="144" y="1173"/>
                  </a:lnTo>
                  <a:lnTo>
                    <a:pt x="153" y="1173"/>
                  </a:lnTo>
                  <a:lnTo>
                    <a:pt x="171" y="1177"/>
                  </a:lnTo>
                  <a:lnTo>
                    <a:pt x="184" y="1173"/>
                  </a:lnTo>
                  <a:lnTo>
                    <a:pt x="204" y="1162"/>
                  </a:lnTo>
                  <a:lnTo>
                    <a:pt x="211" y="1167"/>
                  </a:lnTo>
                  <a:lnTo>
                    <a:pt x="231" y="1168"/>
                  </a:lnTo>
                  <a:lnTo>
                    <a:pt x="246" y="1162"/>
                  </a:lnTo>
                  <a:lnTo>
                    <a:pt x="256" y="1155"/>
                  </a:lnTo>
                  <a:lnTo>
                    <a:pt x="267" y="1128"/>
                  </a:lnTo>
                  <a:lnTo>
                    <a:pt x="277" y="1107"/>
                  </a:lnTo>
                  <a:lnTo>
                    <a:pt x="285" y="1101"/>
                  </a:lnTo>
                  <a:lnTo>
                    <a:pt x="288" y="1087"/>
                  </a:lnTo>
                  <a:lnTo>
                    <a:pt x="286" y="1069"/>
                  </a:lnTo>
                  <a:lnTo>
                    <a:pt x="295" y="1062"/>
                  </a:lnTo>
                  <a:lnTo>
                    <a:pt x="304" y="1068"/>
                  </a:lnTo>
                  <a:lnTo>
                    <a:pt x="319" y="1068"/>
                  </a:lnTo>
                  <a:lnTo>
                    <a:pt x="327" y="1062"/>
                  </a:lnTo>
                  <a:lnTo>
                    <a:pt x="349" y="1057"/>
                  </a:lnTo>
                  <a:lnTo>
                    <a:pt x="357" y="1059"/>
                  </a:lnTo>
                  <a:lnTo>
                    <a:pt x="361" y="1053"/>
                  </a:lnTo>
                  <a:lnTo>
                    <a:pt x="363" y="1044"/>
                  </a:lnTo>
                  <a:lnTo>
                    <a:pt x="358" y="1039"/>
                  </a:lnTo>
                  <a:lnTo>
                    <a:pt x="346" y="1030"/>
                  </a:lnTo>
                  <a:lnTo>
                    <a:pt x="345" y="1020"/>
                  </a:lnTo>
                  <a:lnTo>
                    <a:pt x="349" y="1008"/>
                  </a:lnTo>
                  <a:lnTo>
                    <a:pt x="355" y="991"/>
                  </a:lnTo>
                  <a:lnTo>
                    <a:pt x="369" y="988"/>
                  </a:lnTo>
                  <a:lnTo>
                    <a:pt x="382" y="993"/>
                  </a:lnTo>
                  <a:lnTo>
                    <a:pt x="390" y="988"/>
                  </a:lnTo>
                  <a:lnTo>
                    <a:pt x="400" y="982"/>
                  </a:lnTo>
                  <a:lnTo>
                    <a:pt x="412" y="982"/>
                  </a:lnTo>
                  <a:lnTo>
                    <a:pt x="415" y="972"/>
                  </a:lnTo>
                  <a:lnTo>
                    <a:pt x="412" y="960"/>
                  </a:lnTo>
                  <a:lnTo>
                    <a:pt x="403" y="960"/>
                  </a:lnTo>
                  <a:lnTo>
                    <a:pt x="399" y="960"/>
                  </a:lnTo>
                  <a:lnTo>
                    <a:pt x="387" y="946"/>
                  </a:lnTo>
                  <a:lnTo>
                    <a:pt x="390" y="937"/>
                  </a:lnTo>
                  <a:lnTo>
                    <a:pt x="394" y="933"/>
                  </a:lnTo>
                  <a:lnTo>
                    <a:pt x="396" y="924"/>
                  </a:lnTo>
                  <a:lnTo>
                    <a:pt x="402" y="919"/>
                  </a:lnTo>
                  <a:lnTo>
                    <a:pt x="400" y="909"/>
                  </a:lnTo>
                  <a:lnTo>
                    <a:pt x="406" y="904"/>
                  </a:lnTo>
                  <a:lnTo>
                    <a:pt x="417" y="907"/>
                  </a:lnTo>
                  <a:lnTo>
                    <a:pt x="427" y="904"/>
                  </a:lnTo>
                  <a:lnTo>
                    <a:pt x="430" y="898"/>
                  </a:lnTo>
                  <a:lnTo>
                    <a:pt x="430" y="889"/>
                  </a:lnTo>
                  <a:lnTo>
                    <a:pt x="412" y="883"/>
                  </a:lnTo>
                  <a:lnTo>
                    <a:pt x="406" y="876"/>
                  </a:lnTo>
                  <a:lnTo>
                    <a:pt x="411" y="859"/>
                  </a:lnTo>
                  <a:lnTo>
                    <a:pt x="436" y="862"/>
                  </a:lnTo>
                  <a:lnTo>
                    <a:pt x="444" y="861"/>
                  </a:lnTo>
                  <a:lnTo>
                    <a:pt x="454" y="873"/>
                  </a:lnTo>
                  <a:lnTo>
                    <a:pt x="451" y="885"/>
                  </a:lnTo>
                  <a:lnTo>
                    <a:pt x="454" y="891"/>
                  </a:lnTo>
                  <a:lnTo>
                    <a:pt x="459" y="898"/>
                  </a:lnTo>
                  <a:lnTo>
                    <a:pt x="459" y="892"/>
                  </a:lnTo>
                  <a:lnTo>
                    <a:pt x="462" y="886"/>
                  </a:lnTo>
                  <a:lnTo>
                    <a:pt x="466" y="886"/>
                  </a:lnTo>
                  <a:lnTo>
                    <a:pt x="475" y="885"/>
                  </a:lnTo>
                  <a:lnTo>
                    <a:pt x="466" y="873"/>
                  </a:lnTo>
                  <a:lnTo>
                    <a:pt x="463" y="862"/>
                  </a:lnTo>
                  <a:lnTo>
                    <a:pt x="465" y="856"/>
                  </a:lnTo>
                  <a:lnTo>
                    <a:pt x="469" y="840"/>
                  </a:lnTo>
                  <a:lnTo>
                    <a:pt x="475" y="829"/>
                  </a:lnTo>
                  <a:lnTo>
                    <a:pt x="483" y="822"/>
                  </a:lnTo>
                  <a:lnTo>
                    <a:pt x="490" y="810"/>
                  </a:lnTo>
                  <a:lnTo>
                    <a:pt x="496" y="798"/>
                  </a:lnTo>
                  <a:lnTo>
                    <a:pt x="492" y="781"/>
                  </a:lnTo>
                  <a:lnTo>
                    <a:pt x="495" y="774"/>
                  </a:lnTo>
                  <a:lnTo>
                    <a:pt x="492" y="748"/>
                  </a:lnTo>
                  <a:lnTo>
                    <a:pt x="514" y="756"/>
                  </a:lnTo>
                  <a:lnTo>
                    <a:pt x="517" y="751"/>
                  </a:lnTo>
                  <a:lnTo>
                    <a:pt x="519" y="742"/>
                  </a:lnTo>
                  <a:lnTo>
                    <a:pt x="531" y="747"/>
                  </a:lnTo>
                  <a:lnTo>
                    <a:pt x="534" y="753"/>
                  </a:lnTo>
                  <a:lnTo>
                    <a:pt x="538" y="753"/>
                  </a:lnTo>
                  <a:lnTo>
                    <a:pt x="541" y="750"/>
                  </a:lnTo>
                  <a:lnTo>
                    <a:pt x="540" y="741"/>
                  </a:lnTo>
                  <a:lnTo>
                    <a:pt x="549" y="741"/>
                  </a:lnTo>
                  <a:lnTo>
                    <a:pt x="556" y="736"/>
                  </a:lnTo>
                  <a:lnTo>
                    <a:pt x="576" y="738"/>
                  </a:lnTo>
                  <a:lnTo>
                    <a:pt x="583" y="733"/>
                  </a:lnTo>
                  <a:lnTo>
                    <a:pt x="591" y="724"/>
                  </a:lnTo>
                  <a:lnTo>
                    <a:pt x="589" y="717"/>
                  </a:lnTo>
                  <a:lnTo>
                    <a:pt x="586" y="712"/>
                  </a:lnTo>
                  <a:lnTo>
                    <a:pt x="580" y="711"/>
                  </a:lnTo>
                  <a:lnTo>
                    <a:pt x="588" y="687"/>
                  </a:lnTo>
                  <a:lnTo>
                    <a:pt x="601" y="676"/>
                  </a:lnTo>
                  <a:lnTo>
                    <a:pt x="601" y="669"/>
                  </a:lnTo>
                  <a:lnTo>
                    <a:pt x="603" y="664"/>
                  </a:lnTo>
                  <a:lnTo>
                    <a:pt x="612" y="658"/>
                  </a:lnTo>
                  <a:lnTo>
                    <a:pt x="616" y="658"/>
                  </a:lnTo>
                  <a:lnTo>
                    <a:pt x="621" y="652"/>
                  </a:lnTo>
                  <a:lnTo>
                    <a:pt x="621" y="645"/>
                  </a:lnTo>
                  <a:lnTo>
                    <a:pt x="631" y="634"/>
                  </a:lnTo>
                  <a:lnTo>
                    <a:pt x="651" y="621"/>
                  </a:lnTo>
                  <a:lnTo>
                    <a:pt x="666" y="621"/>
                  </a:lnTo>
                  <a:lnTo>
                    <a:pt x="672" y="618"/>
                  </a:lnTo>
                  <a:lnTo>
                    <a:pt x="682" y="612"/>
                  </a:lnTo>
                  <a:lnTo>
                    <a:pt x="688" y="607"/>
                  </a:lnTo>
                  <a:lnTo>
                    <a:pt x="696" y="600"/>
                  </a:lnTo>
                  <a:lnTo>
                    <a:pt x="709" y="597"/>
                  </a:lnTo>
                  <a:lnTo>
                    <a:pt x="714" y="582"/>
                  </a:lnTo>
                  <a:lnTo>
                    <a:pt x="714" y="571"/>
                  </a:lnTo>
                  <a:lnTo>
                    <a:pt x="706" y="558"/>
                  </a:lnTo>
                  <a:lnTo>
                    <a:pt x="702" y="550"/>
                  </a:lnTo>
                  <a:lnTo>
                    <a:pt x="699" y="543"/>
                  </a:lnTo>
                  <a:lnTo>
                    <a:pt x="702" y="532"/>
                  </a:lnTo>
                  <a:lnTo>
                    <a:pt x="712" y="522"/>
                  </a:lnTo>
                  <a:lnTo>
                    <a:pt x="714" y="514"/>
                  </a:lnTo>
                  <a:lnTo>
                    <a:pt x="711" y="504"/>
                  </a:lnTo>
                  <a:lnTo>
                    <a:pt x="709" y="499"/>
                  </a:lnTo>
                  <a:lnTo>
                    <a:pt x="714" y="498"/>
                  </a:lnTo>
                  <a:lnTo>
                    <a:pt x="730" y="493"/>
                  </a:lnTo>
                  <a:lnTo>
                    <a:pt x="729" y="477"/>
                  </a:lnTo>
                  <a:lnTo>
                    <a:pt x="733" y="469"/>
                  </a:lnTo>
                  <a:lnTo>
                    <a:pt x="745" y="466"/>
                  </a:lnTo>
                  <a:lnTo>
                    <a:pt x="756" y="462"/>
                  </a:lnTo>
                  <a:lnTo>
                    <a:pt x="777" y="441"/>
                  </a:lnTo>
                  <a:lnTo>
                    <a:pt x="781" y="435"/>
                  </a:lnTo>
                  <a:lnTo>
                    <a:pt x="795" y="421"/>
                  </a:lnTo>
                  <a:lnTo>
                    <a:pt x="804" y="408"/>
                  </a:lnTo>
                  <a:lnTo>
                    <a:pt x="801" y="400"/>
                  </a:lnTo>
                  <a:lnTo>
                    <a:pt x="783" y="393"/>
                  </a:lnTo>
                  <a:lnTo>
                    <a:pt x="772" y="388"/>
                  </a:lnTo>
                  <a:lnTo>
                    <a:pt x="763" y="373"/>
                  </a:lnTo>
                  <a:lnTo>
                    <a:pt x="759" y="364"/>
                  </a:lnTo>
                  <a:lnTo>
                    <a:pt x="753" y="360"/>
                  </a:lnTo>
                  <a:lnTo>
                    <a:pt x="748" y="355"/>
                  </a:lnTo>
                  <a:lnTo>
                    <a:pt x="732" y="348"/>
                  </a:lnTo>
                  <a:lnTo>
                    <a:pt x="727" y="342"/>
                  </a:lnTo>
                  <a:lnTo>
                    <a:pt x="754" y="340"/>
                  </a:lnTo>
                  <a:lnTo>
                    <a:pt x="771" y="343"/>
                  </a:lnTo>
                  <a:lnTo>
                    <a:pt x="780" y="348"/>
                  </a:lnTo>
                  <a:lnTo>
                    <a:pt x="790" y="352"/>
                  </a:lnTo>
                  <a:lnTo>
                    <a:pt x="795" y="345"/>
                  </a:lnTo>
                  <a:lnTo>
                    <a:pt x="795" y="339"/>
                  </a:lnTo>
                  <a:lnTo>
                    <a:pt x="799" y="333"/>
                  </a:lnTo>
                  <a:lnTo>
                    <a:pt x="816" y="325"/>
                  </a:lnTo>
                  <a:lnTo>
                    <a:pt x="853" y="316"/>
                  </a:lnTo>
                  <a:lnTo>
                    <a:pt x="880" y="313"/>
                  </a:lnTo>
                  <a:lnTo>
                    <a:pt x="901" y="321"/>
                  </a:lnTo>
                  <a:lnTo>
                    <a:pt x="906" y="318"/>
                  </a:lnTo>
                  <a:lnTo>
                    <a:pt x="904" y="309"/>
                  </a:lnTo>
                  <a:lnTo>
                    <a:pt x="897" y="306"/>
                  </a:lnTo>
                  <a:lnTo>
                    <a:pt x="906" y="300"/>
                  </a:lnTo>
                  <a:lnTo>
                    <a:pt x="933" y="310"/>
                  </a:lnTo>
                  <a:lnTo>
                    <a:pt x="939" y="300"/>
                  </a:lnTo>
                  <a:lnTo>
                    <a:pt x="936" y="294"/>
                  </a:lnTo>
                  <a:lnTo>
                    <a:pt x="934" y="277"/>
                  </a:lnTo>
                  <a:lnTo>
                    <a:pt x="948" y="268"/>
                  </a:lnTo>
                  <a:lnTo>
                    <a:pt x="948" y="262"/>
                  </a:lnTo>
                  <a:lnTo>
                    <a:pt x="949" y="255"/>
                  </a:lnTo>
                  <a:lnTo>
                    <a:pt x="976" y="237"/>
                  </a:lnTo>
                  <a:lnTo>
                    <a:pt x="990" y="226"/>
                  </a:lnTo>
                  <a:lnTo>
                    <a:pt x="990" y="211"/>
                  </a:lnTo>
                  <a:lnTo>
                    <a:pt x="1002" y="210"/>
                  </a:lnTo>
                  <a:lnTo>
                    <a:pt x="1012" y="202"/>
                  </a:lnTo>
                  <a:lnTo>
                    <a:pt x="1021" y="211"/>
                  </a:lnTo>
                  <a:lnTo>
                    <a:pt x="1026" y="207"/>
                  </a:lnTo>
                  <a:lnTo>
                    <a:pt x="1030" y="207"/>
                  </a:lnTo>
                  <a:lnTo>
                    <a:pt x="1032" y="196"/>
                  </a:lnTo>
                  <a:lnTo>
                    <a:pt x="1029" y="183"/>
                  </a:lnTo>
                  <a:lnTo>
                    <a:pt x="1024" y="183"/>
                  </a:lnTo>
                  <a:lnTo>
                    <a:pt x="1014" y="171"/>
                  </a:lnTo>
                  <a:lnTo>
                    <a:pt x="981" y="165"/>
                  </a:lnTo>
                  <a:lnTo>
                    <a:pt x="978" y="150"/>
                  </a:lnTo>
                  <a:lnTo>
                    <a:pt x="981" y="133"/>
                  </a:lnTo>
                  <a:lnTo>
                    <a:pt x="981" y="129"/>
                  </a:lnTo>
                  <a:lnTo>
                    <a:pt x="960" y="133"/>
                  </a:lnTo>
                  <a:lnTo>
                    <a:pt x="955" y="117"/>
                  </a:lnTo>
                  <a:lnTo>
                    <a:pt x="952" y="105"/>
                  </a:lnTo>
                  <a:lnTo>
                    <a:pt x="975" y="112"/>
                  </a:lnTo>
                  <a:lnTo>
                    <a:pt x="981" y="102"/>
                  </a:lnTo>
                  <a:lnTo>
                    <a:pt x="985" y="84"/>
                  </a:lnTo>
                  <a:lnTo>
                    <a:pt x="993" y="81"/>
                  </a:lnTo>
                  <a:lnTo>
                    <a:pt x="1006" y="82"/>
                  </a:lnTo>
                  <a:lnTo>
                    <a:pt x="1021" y="88"/>
                  </a:lnTo>
                  <a:lnTo>
                    <a:pt x="1035" y="93"/>
                  </a:lnTo>
                  <a:lnTo>
                    <a:pt x="1047" y="105"/>
                  </a:lnTo>
                  <a:lnTo>
                    <a:pt x="1053" y="112"/>
                  </a:lnTo>
                  <a:lnTo>
                    <a:pt x="1053" y="124"/>
                  </a:lnTo>
                  <a:lnTo>
                    <a:pt x="1063" y="129"/>
                  </a:lnTo>
                  <a:lnTo>
                    <a:pt x="1084" y="132"/>
                  </a:lnTo>
                  <a:lnTo>
                    <a:pt x="1096" y="123"/>
                  </a:lnTo>
                  <a:lnTo>
                    <a:pt x="1110" y="114"/>
                  </a:lnTo>
                  <a:lnTo>
                    <a:pt x="1119" y="109"/>
                  </a:lnTo>
                  <a:lnTo>
                    <a:pt x="1125" y="96"/>
                  </a:lnTo>
                  <a:lnTo>
                    <a:pt x="1137" y="81"/>
                  </a:lnTo>
                  <a:lnTo>
                    <a:pt x="1141" y="66"/>
                  </a:lnTo>
                  <a:lnTo>
                    <a:pt x="1147" y="39"/>
                  </a:lnTo>
                  <a:lnTo>
                    <a:pt x="1167" y="22"/>
                  </a:lnTo>
                  <a:lnTo>
                    <a:pt x="1173" y="13"/>
                  </a:lnTo>
                  <a:lnTo>
                    <a:pt x="1180" y="0"/>
                  </a:lnTo>
                  <a:lnTo>
                    <a:pt x="1189" y="1"/>
                  </a:lnTo>
                  <a:lnTo>
                    <a:pt x="1207" y="15"/>
                  </a:lnTo>
                  <a:lnTo>
                    <a:pt x="1225" y="30"/>
                  </a:lnTo>
                  <a:lnTo>
                    <a:pt x="1237" y="45"/>
                  </a:lnTo>
                  <a:lnTo>
                    <a:pt x="1245" y="54"/>
                  </a:lnTo>
                  <a:lnTo>
                    <a:pt x="1252" y="63"/>
                  </a:lnTo>
                  <a:lnTo>
                    <a:pt x="1251" y="69"/>
                  </a:lnTo>
                  <a:lnTo>
                    <a:pt x="1242" y="72"/>
                  </a:lnTo>
                  <a:lnTo>
                    <a:pt x="1239" y="79"/>
                  </a:lnTo>
                  <a:lnTo>
                    <a:pt x="1246" y="88"/>
                  </a:lnTo>
                  <a:lnTo>
                    <a:pt x="1252" y="102"/>
                  </a:lnTo>
                  <a:lnTo>
                    <a:pt x="1261" y="112"/>
                  </a:lnTo>
                  <a:lnTo>
                    <a:pt x="1270" y="123"/>
                  </a:lnTo>
                  <a:lnTo>
                    <a:pt x="1278" y="135"/>
                  </a:lnTo>
                  <a:lnTo>
                    <a:pt x="1284" y="147"/>
                  </a:lnTo>
                  <a:lnTo>
                    <a:pt x="1303" y="163"/>
                  </a:lnTo>
                  <a:lnTo>
                    <a:pt x="1317" y="177"/>
                  </a:lnTo>
                  <a:lnTo>
                    <a:pt x="1324" y="192"/>
                  </a:lnTo>
                  <a:lnTo>
                    <a:pt x="1329" y="196"/>
                  </a:lnTo>
                  <a:lnTo>
                    <a:pt x="1341" y="196"/>
                  </a:lnTo>
                  <a:lnTo>
                    <a:pt x="1344" y="201"/>
                  </a:lnTo>
                  <a:lnTo>
                    <a:pt x="1348" y="208"/>
                  </a:lnTo>
                  <a:lnTo>
                    <a:pt x="1360" y="216"/>
                  </a:lnTo>
                  <a:lnTo>
                    <a:pt x="1363" y="220"/>
                  </a:lnTo>
                  <a:lnTo>
                    <a:pt x="1360" y="229"/>
                  </a:lnTo>
                  <a:lnTo>
                    <a:pt x="1353" y="232"/>
                  </a:lnTo>
                  <a:lnTo>
                    <a:pt x="1351" y="217"/>
                  </a:lnTo>
                  <a:lnTo>
                    <a:pt x="1342" y="216"/>
                  </a:lnTo>
                  <a:lnTo>
                    <a:pt x="1339" y="222"/>
                  </a:lnTo>
                  <a:lnTo>
                    <a:pt x="1345" y="234"/>
                  </a:lnTo>
                  <a:lnTo>
                    <a:pt x="1345" y="241"/>
                  </a:lnTo>
                  <a:lnTo>
                    <a:pt x="1351" y="240"/>
                  </a:lnTo>
                  <a:lnTo>
                    <a:pt x="1362" y="244"/>
                  </a:lnTo>
                  <a:lnTo>
                    <a:pt x="1372" y="252"/>
                  </a:lnTo>
                  <a:lnTo>
                    <a:pt x="1384" y="264"/>
                  </a:lnTo>
                  <a:lnTo>
                    <a:pt x="1387" y="288"/>
                  </a:lnTo>
                  <a:lnTo>
                    <a:pt x="1396" y="300"/>
                  </a:lnTo>
                  <a:lnTo>
                    <a:pt x="1396" y="303"/>
                  </a:lnTo>
                  <a:lnTo>
                    <a:pt x="1401" y="309"/>
                  </a:lnTo>
                  <a:lnTo>
                    <a:pt x="1401" y="319"/>
                  </a:lnTo>
                  <a:lnTo>
                    <a:pt x="1413" y="340"/>
                  </a:lnTo>
                  <a:lnTo>
                    <a:pt x="1420" y="354"/>
                  </a:lnTo>
                  <a:lnTo>
                    <a:pt x="1437" y="381"/>
                  </a:lnTo>
                  <a:lnTo>
                    <a:pt x="1444" y="391"/>
                  </a:lnTo>
                  <a:lnTo>
                    <a:pt x="1441" y="400"/>
                  </a:lnTo>
                  <a:lnTo>
                    <a:pt x="1443" y="408"/>
                  </a:lnTo>
                  <a:lnTo>
                    <a:pt x="1455" y="412"/>
                  </a:lnTo>
                  <a:lnTo>
                    <a:pt x="1459" y="423"/>
                  </a:lnTo>
                  <a:lnTo>
                    <a:pt x="1471" y="450"/>
                  </a:lnTo>
                  <a:lnTo>
                    <a:pt x="1482" y="465"/>
                  </a:lnTo>
                  <a:lnTo>
                    <a:pt x="1486" y="472"/>
                  </a:lnTo>
                  <a:lnTo>
                    <a:pt x="1491" y="484"/>
                  </a:lnTo>
                  <a:lnTo>
                    <a:pt x="1489" y="505"/>
                  </a:lnTo>
                  <a:lnTo>
                    <a:pt x="1495" y="517"/>
                  </a:lnTo>
                  <a:lnTo>
                    <a:pt x="1510" y="519"/>
                  </a:lnTo>
                  <a:lnTo>
                    <a:pt x="1515" y="511"/>
                  </a:lnTo>
                  <a:lnTo>
                    <a:pt x="1537" y="513"/>
                  </a:lnTo>
                  <a:lnTo>
                    <a:pt x="1543" y="525"/>
                  </a:lnTo>
                  <a:lnTo>
                    <a:pt x="1548" y="528"/>
                  </a:lnTo>
                  <a:lnTo>
                    <a:pt x="1552" y="531"/>
                  </a:lnTo>
                  <a:lnTo>
                    <a:pt x="1570" y="535"/>
                  </a:lnTo>
                  <a:lnTo>
                    <a:pt x="1581" y="541"/>
                  </a:lnTo>
                  <a:lnTo>
                    <a:pt x="1588" y="549"/>
                  </a:lnTo>
                  <a:lnTo>
                    <a:pt x="1608" y="553"/>
                  </a:lnTo>
                  <a:lnTo>
                    <a:pt x="1609" y="568"/>
                  </a:lnTo>
                  <a:lnTo>
                    <a:pt x="1618" y="571"/>
                  </a:lnTo>
                  <a:lnTo>
                    <a:pt x="1636" y="553"/>
                  </a:lnTo>
                  <a:lnTo>
                    <a:pt x="1641" y="538"/>
                  </a:lnTo>
                  <a:lnTo>
                    <a:pt x="1624" y="549"/>
                  </a:lnTo>
                  <a:lnTo>
                    <a:pt x="1623" y="532"/>
                  </a:lnTo>
                  <a:lnTo>
                    <a:pt x="1626" y="522"/>
                  </a:lnTo>
                  <a:lnTo>
                    <a:pt x="1635" y="510"/>
                  </a:lnTo>
                  <a:lnTo>
                    <a:pt x="1638" y="490"/>
                  </a:lnTo>
                  <a:lnTo>
                    <a:pt x="1635" y="468"/>
                  </a:lnTo>
                  <a:lnTo>
                    <a:pt x="1662" y="462"/>
                  </a:lnTo>
                  <a:lnTo>
                    <a:pt x="1672" y="451"/>
                  </a:lnTo>
                  <a:lnTo>
                    <a:pt x="1684" y="456"/>
                  </a:lnTo>
                  <a:lnTo>
                    <a:pt x="1690" y="469"/>
                  </a:lnTo>
                  <a:lnTo>
                    <a:pt x="1708" y="472"/>
                  </a:lnTo>
                  <a:lnTo>
                    <a:pt x="1707" y="493"/>
                  </a:lnTo>
                  <a:lnTo>
                    <a:pt x="1741" y="511"/>
                  </a:lnTo>
                  <a:lnTo>
                    <a:pt x="1755" y="510"/>
                  </a:lnTo>
                  <a:lnTo>
                    <a:pt x="1759" y="513"/>
                  </a:lnTo>
                  <a:lnTo>
                    <a:pt x="1774" y="514"/>
                  </a:lnTo>
                  <a:lnTo>
                    <a:pt x="1780" y="519"/>
                  </a:lnTo>
                  <a:lnTo>
                    <a:pt x="1801" y="511"/>
                  </a:lnTo>
                  <a:lnTo>
                    <a:pt x="1810" y="531"/>
                  </a:lnTo>
                  <a:lnTo>
                    <a:pt x="1819" y="547"/>
                  </a:lnTo>
                  <a:lnTo>
                    <a:pt x="1837" y="558"/>
                  </a:lnTo>
                  <a:lnTo>
                    <a:pt x="1848" y="580"/>
                  </a:lnTo>
                  <a:lnTo>
                    <a:pt x="1851" y="598"/>
                  </a:lnTo>
                  <a:lnTo>
                    <a:pt x="1845" y="604"/>
                  </a:lnTo>
                  <a:lnTo>
                    <a:pt x="1836" y="606"/>
                  </a:lnTo>
                  <a:lnTo>
                    <a:pt x="1840" y="610"/>
                  </a:lnTo>
                  <a:lnTo>
                    <a:pt x="1854" y="613"/>
                  </a:lnTo>
                  <a:lnTo>
                    <a:pt x="1851" y="628"/>
                  </a:lnTo>
                  <a:lnTo>
                    <a:pt x="1848" y="634"/>
                  </a:lnTo>
                  <a:lnTo>
                    <a:pt x="1846" y="648"/>
                  </a:lnTo>
                  <a:lnTo>
                    <a:pt x="1822" y="660"/>
                  </a:lnTo>
                  <a:lnTo>
                    <a:pt x="1815" y="672"/>
                  </a:lnTo>
                  <a:lnTo>
                    <a:pt x="1803" y="690"/>
                  </a:lnTo>
                  <a:lnTo>
                    <a:pt x="1809" y="709"/>
                  </a:lnTo>
                  <a:lnTo>
                    <a:pt x="1810" y="714"/>
                  </a:lnTo>
                  <a:lnTo>
                    <a:pt x="1803" y="733"/>
                  </a:lnTo>
                  <a:lnTo>
                    <a:pt x="1797" y="738"/>
                  </a:lnTo>
                  <a:lnTo>
                    <a:pt x="1795" y="745"/>
                  </a:lnTo>
                  <a:lnTo>
                    <a:pt x="1807" y="762"/>
                  </a:lnTo>
                  <a:lnTo>
                    <a:pt x="1809" y="772"/>
                  </a:lnTo>
                  <a:lnTo>
                    <a:pt x="1821" y="783"/>
                  </a:lnTo>
                  <a:lnTo>
                    <a:pt x="1824" y="793"/>
                  </a:lnTo>
                  <a:lnTo>
                    <a:pt x="1822" y="804"/>
                  </a:lnTo>
                  <a:lnTo>
                    <a:pt x="1821" y="820"/>
                  </a:lnTo>
                  <a:lnTo>
                    <a:pt x="1815" y="832"/>
                  </a:lnTo>
                  <a:lnTo>
                    <a:pt x="1815" y="843"/>
                  </a:lnTo>
                  <a:lnTo>
                    <a:pt x="1821" y="847"/>
                  </a:lnTo>
                  <a:lnTo>
                    <a:pt x="1831" y="841"/>
                  </a:lnTo>
                  <a:lnTo>
                    <a:pt x="1845" y="832"/>
                  </a:lnTo>
                  <a:lnTo>
                    <a:pt x="1869" y="844"/>
                  </a:lnTo>
                  <a:lnTo>
                    <a:pt x="1878" y="858"/>
                  </a:lnTo>
                  <a:lnTo>
                    <a:pt x="1896" y="849"/>
                  </a:lnTo>
                  <a:lnTo>
                    <a:pt x="1911" y="864"/>
                  </a:lnTo>
                  <a:lnTo>
                    <a:pt x="1906" y="873"/>
                  </a:lnTo>
                  <a:lnTo>
                    <a:pt x="1906" y="876"/>
                  </a:lnTo>
                  <a:lnTo>
                    <a:pt x="1911" y="883"/>
                  </a:lnTo>
                  <a:lnTo>
                    <a:pt x="1882" y="901"/>
                  </a:lnTo>
                  <a:lnTo>
                    <a:pt x="1881" y="934"/>
                  </a:lnTo>
                  <a:lnTo>
                    <a:pt x="1872" y="946"/>
                  </a:lnTo>
                  <a:lnTo>
                    <a:pt x="1861" y="1002"/>
                  </a:lnTo>
                  <a:lnTo>
                    <a:pt x="1867" y="1012"/>
                  </a:lnTo>
                  <a:lnTo>
                    <a:pt x="1911" y="1021"/>
                  </a:lnTo>
                  <a:lnTo>
                    <a:pt x="1947" y="1018"/>
                  </a:lnTo>
                  <a:lnTo>
                    <a:pt x="1962" y="1024"/>
                  </a:lnTo>
                  <a:lnTo>
                    <a:pt x="1959" y="1038"/>
                  </a:lnTo>
                  <a:lnTo>
                    <a:pt x="1965" y="1060"/>
                  </a:lnTo>
                  <a:lnTo>
                    <a:pt x="1960" y="1075"/>
                  </a:lnTo>
                  <a:lnTo>
                    <a:pt x="1987" y="1089"/>
                  </a:lnTo>
                  <a:lnTo>
                    <a:pt x="1984" y="1104"/>
                  </a:lnTo>
                  <a:lnTo>
                    <a:pt x="1989" y="1122"/>
                  </a:lnTo>
                  <a:lnTo>
                    <a:pt x="1987" y="1146"/>
                  </a:lnTo>
                  <a:lnTo>
                    <a:pt x="1974" y="1161"/>
                  </a:lnTo>
                  <a:lnTo>
                    <a:pt x="1984" y="1180"/>
                  </a:lnTo>
                  <a:lnTo>
                    <a:pt x="1966" y="1192"/>
                  </a:lnTo>
                  <a:lnTo>
                    <a:pt x="1939" y="1174"/>
                  </a:lnTo>
                  <a:lnTo>
                    <a:pt x="1933" y="1165"/>
                  </a:lnTo>
                  <a:lnTo>
                    <a:pt x="1899" y="1168"/>
                  </a:lnTo>
                  <a:lnTo>
                    <a:pt x="1891" y="1188"/>
                  </a:lnTo>
                  <a:lnTo>
                    <a:pt x="1881" y="1189"/>
                  </a:lnTo>
                  <a:lnTo>
                    <a:pt x="1855" y="1183"/>
                  </a:lnTo>
                  <a:lnTo>
                    <a:pt x="1846" y="1191"/>
                  </a:lnTo>
                  <a:lnTo>
                    <a:pt x="1830" y="1191"/>
                  </a:lnTo>
                  <a:lnTo>
                    <a:pt x="1818" y="1180"/>
                  </a:lnTo>
                  <a:lnTo>
                    <a:pt x="1804" y="1180"/>
                  </a:lnTo>
                  <a:lnTo>
                    <a:pt x="1791" y="1197"/>
                  </a:lnTo>
                  <a:lnTo>
                    <a:pt x="1773" y="1213"/>
                  </a:lnTo>
                  <a:lnTo>
                    <a:pt x="1747" y="1231"/>
                  </a:lnTo>
                  <a:lnTo>
                    <a:pt x="1741" y="1230"/>
                  </a:lnTo>
                  <a:lnTo>
                    <a:pt x="1720" y="1212"/>
                  </a:lnTo>
                  <a:lnTo>
                    <a:pt x="1707" y="1218"/>
                  </a:lnTo>
                  <a:lnTo>
                    <a:pt x="1701" y="1242"/>
                  </a:lnTo>
                  <a:lnTo>
                    <a:pt x="1687" y="1236"/>
                  </a:lnTo>
                  <a:lnTo>
                    <a:pt x="1660" y="1252"/>
                  </a:lnTo>
                  <a:lnTo>
                    <a:pt x="1671" y="1264"/>
                  </a:lnTo>
                  <a:lnTo>
                    <a:pt x="1681" y="1278"/>
                  </a:lnTo>
                  <a:lnTo>
                    <a:pt x="1659" y="1285"/>
                  </a:lnTo>
                  <a:lnTo>
                    <a:pt x="1660" y="1291"/>
                  </a:lnTo>
                  <a:lnTo>
                    <a:pt x="1654" y="1297"/>
                  </a:lnTo>
                  <a:lnTo>
                    <a:pt x="1635" y="1306"/>
                  </a:lnTo>
                  <a:lnTo>
                    <a:pt x="1620" y="1305"/>
                  </a:lnTo>
                  <a:lnTo>
                    <a:pt x="1600" y="1315"/>
                  </a:lnTo>
                  <a:lnTo>
                    <a:pt x="1584" y="1312"/>
                  </a:lnTo>
                  <a:lnTo>
                    <a:pt x="1569" y="1303"/>
                  </a:lnTo>
                  <a:lnTo>
                    <a:pt x="1563" y="1303"/>
                  </a:lnTo>
                  <a:lnTo>
                    <a:pt x="1563" y="1327"/>
                  </a:lnTo>
                  <a:lnTo>
                    <a:pt x="1555" y="1330"/>
                  </a:lnTo>
                  <a:lnTo>
                    <a:pt x="1548" y="1354"/>
                  </a:lnTo>
                  <a:lnTo>
                    <a:pt x="1549" y="1363"/>
                  </a:lnTo>
                </a:path>
              </a:pathLst>
            </a:custGeom>
            <a:noFill/>
            <a:ln w="9525">
              <a:solidFill>
                <a:srgbClr val="E7E6E6">
                  <a:lumMod val="50000"/>
                </a:srgbClr>
              </a:solidFill>
              <a:prstDash val="solid"/>
              <a:round/>
              <a:headEnd/>
              <a:tailEnd/>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dirty="0">
                <a:ln>
                  <a:noFill/>
                </a:ln>
                <a:solidFill>
                  <a:sysClr val="windowText" lastClr="000000"/>
                </a:solidFill>
                <a:effectLst/>
                <a:uLnTx/>
                <a:uFillTx/>
                <a:ea typeface="MS PGothic" pitchFamily="34" charset="-128"/>
                <a:cs typeface="+mn-cs"/>
              </a:endParaRPr>
            </a:p>
          </p:txBody>
        </p:sp>
        <p:grpSp>
          <p:nvGrpSpPr>
            <p:cNvPr id="257" name="Groupe 3">
              <a:extLst>
                <a:ext uri="{FF2B5EF4-FFF2-40B4-BE49-F238E27FC236}">
                  <a16:creationId xmlns:a16="http://schemas.microsoft.com/office/drawing/2014/main" id="{11FF7BAA-5802-5B32-43E9-F1477D77D35F}"/>
                </a:ext>
              </a:extLst>
            </p:cNvPr>
            <p:cNvGrpSpPr>
              <a:grpSpLocks/>
            </p:cNvGrpSpPr>
            <p:nvPr/>
          </p:nvGrpSpPr>
          <p:grpSpPr bwMode="auto">
            <a:xfrm>
              <a:off x="6376988" y="4241800"/>
              <a:ext cx="1177925" cy="1019175"/>
              <a:chOff x="6377696" y="4241382"/>
              <a:chExt cx="1176479" cy="1018800"/>
            </a:xfrm>
            <a:grpFill/>
          </p:grpSpPr>
          <p:sp>
            <p:nvSpPr>
              <p:cNvPr id="258" name="Freeform 21">
                <a:extLst>
                  <a:ext uri="{FF2B5EF4-FFF2-40B4-BE49-F238E27FC236}">
                    <a16:creationId xmlns:a16="http://schemas.microsoft.com/office/drawing/2014/main" id="{8FE67CF3-23EC-5778-98CD-2C67C583CBC9}"/>
                  </a:ext>
                </a:extLst>
              </p:cNvPr>
              <p:cNvSpPr>
                <a:spLocks/>
              </p:cNvSpPr>
              <p:nvPr/>
            </p:nvSpPr>
            <p:spPr bwMode="auto">
              <a:xfrm rot="166167">
                <a:off x="6377696" y="4241382"/>
                <a:ext cx="1176479" cy="1018800"/>
              </a:xfrm>
              <a:custGeom>
                <a:avLst/>
                <a:gdLst>
                  <a:gd name="T0" fmla="*/ 2147483647 w 774"/>
                  <a:gd name="T1" fmla="*/ 2147483647 h 767"/>
                  <a:gd name="T2" fmla="*/ 2147483647 w 774"/>
                  <a:gd name="T3" fmla="*/ 2147483647 h 767"/>
                  <a:gd name="T4" fmla="*/ 2147483647 w 774"/>
                  <a:gd name="T5" fmla="*/ 2147483647 h 767"/>
                  <a:gd name="T6" fmla="*/ 2147483647 w 774"/>
                  <a:gd name="T7" fmla="*/ 2147483647 h 767"/>
                  <a:gd name="T8" fmla="*/ 2147483647 w 774"/>
                  <a:gd name="T9" fmla="*/ 2147483647 h 767"/>
                  <a:gd name="T10" fmla="*/ 2147483647 w 774"/>
                  <a:gd name="T11" fmla="*/ 2147483647 h 767"/>
                  <a:gd name="T12" fmla="*/ 2147483647 w 774"/>
                  <a:gd name="T13" fmla="*/ 2147483647 h 767"/>
                  <a:gd name="T14" fmla="*/ 2147483647 w 774"/>
                  <a:gd name="T15" fmla="*/ 2147483647 h 767"/>
                  <a:gd name="T16" fmla="*/ 2147483647 w 774"/>
                  <a:gd name="T17" fmla="*/ 2147483647 h 767"/>
                  <a:gd name="T18" fmla="*/ 2147483647 w 774"/>
                  <a:gd name="T19" fmla="*/ 2147483647 h 767"/>
                  <a:gd name="T20" fmla="*/ 2147483647 w 774"/>
                  <a:gd name="T21" fmla="*/ 2147483647 h 767"/>
                  <a:gd name="T22" fmla="*/ 2147483647 w 774"/>
                  <a:gd name="T23" fmla="*/ 2147483647 h 767"/>
                  <a:gd name="T24" fmla="*/ 2147483647 w 774"/>
                  <a:gd name="T25" fmla="*/ 2147483647 h 767"/>
                  <a:gd name="T26" fmla="*/ 2147483647 w 774"/>
                  <a:gd name="T27" fmla="*/ 2147483647 h 767"/>
                  <a:gd name="T28" fmla="*/ 2147483647 w 774"/>
                  <a:gd name="T29" fmla="*/ 2147483647 h 767"/>
                  <a:gd name="T30" fmla="*/ 2147483647 w 774"/>
                  <a:gd name="T31" fmla="*/ 2147483647 h 767"/>
                  <a:gd name="T32" fmla="*/ 2147483647 w 774"/>
                  <a:gd name="T33" fmla="*/ 2147483647 h 767"/>
                  <a:gd name="T34" fmla="*/ 2147483647 w 774"/>
                  <a:gd name="T35" fmla="*/ 2147483647 h 767"/>
                  <a:gd name="T36" fmla="*/ 2147483647 w 774"/>
                  <a:gd name="T37" fmla="*/ 2147483647 h 767"/>
                  <a:gd name="T38" fmla="*/ 2147483647 w 774"/>
                  <a:gd name="T39" fmla="*/ 2147483647 h 767"/>
                  <a:gd name="T40" fmla="*/ 2147483647 w 774"/>
                  <a:gd name="T41" fmla="*/ 2147483647 h 767"/>
                  <a:gd name="T42" fmla="*/ 2147483647 w 774"/>
                  <a:gd name="T43" fmla="*/ 2147483647 h 767"/>
                  <a:gd name="T44" fmla="*/ 2147483647 w 774"/>
                  <a:gd name="T45" fmla="*/ 2147483647 h 767"/>
                  <a:gd name="T46" fmla="*/ 2147483647 w 774"/>
                  <a:gd name="T47" fmla="*/ 2147483647 h 767"/>
                  <a:gd name="T48" fmla="*/ 2147483647 w 774"/>
                  <a:gd name="T49" fmla="*/ 2147483647 h 767"/>
                  <a:gd name="T50" fmla="*/ 2147483647 w 774"/>
                  <a:gd name="T51" fmla="*/ 2147483647 h 767"/>
                  <a:gd name="T52" fmla="*/ 2147483647 w 774"/>
                  <a:gd name="T53" fmla="*/ 2147483647 h 767"/>
                  <a:gd name="T54" fmla="*/ 2147483647 w 774"/>
                  <a:gd name="T55" fmla="*/ 2147483647 h 767"/>
                  <a:gd name="T56" fmla="*/ 2147483647 w 774"/>
                  <a:gd name="T57" fmla="*/ 2147483647 h 767"/>
                  <a:gd name="T58" fmla="*/ 2147483647 w 774"/>
                  <a:gd name="T59" fmla="*/ 2147483647 h 767"/>
                  <a:gd name="T60" fmla="*/ 2147483647 w 774"/>
                  <a:gd name="T61" fmla="*/ 2147483647 h 767"/>
                  <a:gd name="T62" fmla="*/ 2147483647 w 774"/>
                  <a:gd name="T63" fmla="*/ 2147483647 h 767"/>
                  <a:gd name="T64" fmla="*/ 2147483647 w 774"/>
                  <a:gd name="T65" fmla="*/ 2147483647 h 767"/>
                  <a:gd name="T66" fmla="*/ 2147483647 w 774"/>
                  <a:gd name="T67" fmla="*/ 2147483647 h 767"/>
                  <a:gd name="T68" fmla="*/ 2147483647 w 774"/>
                  <a:gd name="T69" fmla="*/ 2147483647 h 767"/>
                  <a:gd name="T70" fmla="*/ 2147483647 w 774"/>
                  <a:gd name="T71" fmla="*/ 2147483647 h 767"/>
                  <a:gd name="T72" fmla="*/ 2147483647 w 774"/>
                  <a:gd name="T73" fmla="*/ 2147483647 h 767"/>
                  <a:gd name="T74" fmla="*/ 2147483647 w 774"/>
                  <a:gd name="T75" fmla="*/ 2147483647 h 767"/>
                  <a:gd name="T76" fmla="*/ 2147483647 w 774"/>
                  <a:gd name="T77" fmla="*/ 2147483647 h 767"/>
                  <a:gd name="T78" fmla="*/ 2147483647 w 774"/>
                  <a:gd name="T79" fmla="*/ 2147483647 h 767"/>
                  <a:gd name="T80" fmla="*/ 2147483647 w 774"/>
                  <a:gd name="T81" fmla="*/ 2147483647 h 767"/>
                  <a:gd name="T82" fmla="*/ 2147483647 w 774"/>
                  <a:gd name="T83" fmla="*/ 2147483647 h 767"/>
                  <a:gd name="T84" fmla="*/ 2147483647 w 774"/>
                  <a:gd name="T85" fmla="*/ 2147483647 h 767"/>
                  <a:gd name="T86" fmla="*/ 2147483647 w 774"/>
                  <a:gd name="T87" fmla="*/ 2147483647 h 767"/>
                  <a:gd name="T88" fmla="*/ 2147483647 w 774"/>
                  <a:gd name="T89" fmla="*/ 2147483647 h 767"/>
                  <a:gd name="T90" fmla="*/ 2147483647 w 774"/>
                  <a:gd name="T91" fmla="*/ 2147483647 h 767"/>
                  <a:gd name="T92" fmla="*/ 2147483647 w 774"/>
                  <a:gd name="T93" fmla="*/ 2147483647 h 767"/>
                  <a:gd name="T94" fmla="*/ 2147483647 w 774"/>
                  <a:gd name="T95" fmla="*/ 2147483647 h 767"/>
                  <a:gd name="T96" fmla="*/ 2147483647 w 774"/>
                  <a:gd name="T97" fmla="*/ 2147483647 h 767"/>
                  <a:gd name="T98" fmla="*/ 2147483647 w 774"/>
                  <a:gd name="T99" fmla="*/ 2147483647 h 767"/>
                  <a:gd name="T100" fmla="*/ 2147483647 w 774"/>
                  <a:gd name="T101" fmla="*/ 2147483647 h 767"/>
                  <a:gd name="T102" fmla="*/ 2147483647 w 774"/>
                  <a:gd name="T103" fmla="*/ 2147483647 h 767"/>
                  <a:gd name="T104" fmla="*/ 2147483647 w 774"/>
                  <a:gd name="T105" fmla="*/ 2147483647 h 767"/>
                  <a:gd name="T106" fmla="*/ 2147483647 w 774"/>
                  <a:gd name="T107" fmla="*/ 2147483647 h 767"/>
                  <a:gd name="T108" fmla="*/ 2147483647 w 774"/>
                  <a:gd name="T109" fmla="*/ 2147483647 h 767"/>
                  <a:gd name="T110" fmla="*/ 2147483647 w 774"/>
                  <a:gd name="T111" fmla="*/ 2147483647 h 767"/>
                  <a:gd name="T112" fmla="*/ 2147483647 w 774"/>
                  <a:gd name="T113" fmla="*/ 2147483647 h 767"/>
                  <a:gd name="T114" fmla="*/ 2147483647 w 774"/>
                  <a:gd name="T115" fmla="*/ 2147483647 h 767"/>
                  <a:gd name="T116" fmla="*/ 2147483647 w 774"/>
                  <a:gd name="T117" fmla="*/ 2147483647 h 767"/>
                  <a:gd name="T118" fmla="*/ 2147483647 w 774"/>
                  <a:gd name="T119" fmla="*/ 2147483647 h 767"/>
                  <a:gd name="T120" fmla="*/ 2147483647 w 774"/>
                  <a:gd name="T121" fmla="*/ 2147483647 h 767"/>
                  <a:gd name="T122" fmla="*/ 2147483647 w 774"/>
                  <a:gd name="T123" fmla="*/ 2147483647 h 767"/>
                  <a:gd name="T124" fmla="*/ 0 w 774"/>
                  <a:gd name="T125" fmla="*/ 2147483647 h 76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74" h="767">
                    <a:moveTo>
                      <a:pt x="0" y="508"/>
                    </a:moveTo>
                    <a:lnTo>
                      <a:pt x="20" y="497"/>
                    </a:lnTo>
                    <a:lnTo>
                      <a:pt x="16" y="494"/>
                    </a:lnTo>
                    <a:lnTo>
                      <a:pt x="29" y="469"/>
                    </a:lnTo>
                    <a:lnTo>
                      <a:pt x="38" y="478"/>
                    </a:lnTo>
                    <a:lnTo>
                      <a:pt x="41" y="474"/>
                    </a:lnTo>
                    <a:lnTo>
                      <a:pt x="38" y="469"/>
                    </a:lnTo>
                    <a:lnTo>
                      <a:pt x="43" y="467"/>
                    </a:lnTo>
                    <a:lnTo>
                      <a:pt x="45" y="472"/>
                    </a:lnTo>
                    <a:lnTo>
                      <a:pt x="50" y="467"/>
                    </a:lnTo>
                    <a:lnTo>
                      <a:pt x="52" y="453"/>
                    </a:lnTo>
                    <a:lnTo>
                      <a:pt x="91" y="449"/>
                    </a:lnTo>
                    <a:lnTo>
                      <a:pt x="102" y="433"/>
                    </a:lnTo>
                    <a:lnTo>
                      <a:pt x="111" y="410"/>
                    </a:lnTo>
                    <a:lnTo>
                      <a:pt x="138" y="404"/>
                    </a:lnTo>
                    <a:lnTo>
                      <a:pt x="134" y="397"/>
                    </a:lnTo>
                    <a:lnTo>
                      <a:pt x="134" y="385"/>
                    </a:lnTo>
                    <a:lnTo>
                      <a:pt x="159" y="376"/>
                    </a:lnTo>
                    <a:lnTo>
                      <a:pt x="147" y="361"/>
                    </a:lnTo>
                    <a:lnTo>
                      <a:pt x="163" y="347"/>
                    </a:lnTo>
                    <a:lnTo>
                      <a:pt x="163" y="340"/>
                    </a:lnTo>
                    <a:lnTo>
                      <a:pt x="156" y="340"/>
                    </a:lnTo>
                    <a:lnTo>
                      <a:pt x="154" y="331"/>
                    </a:lnTo>
                    <a:lnTo>
                      <a:pt x="175" y="345"/>
                    </a:lnTo>
                    <a:lnTo>
                      <a:pt x="188" y="290"/>
                    </a:lnTo>
                    <a:lnTo>
                      <a:pt x="197" y="290"/>
                    </a:lnTo>
                    <a:lnTo>
                      <a:pt x="197" y="288"/>
                    </a:lnTo>
                    <a:lnTo>
                      <a:pt x="206" y="288"/>
                    </a:lnTo>
                    <a:lnTo>
                      <a:pt x="206" y="286"/>
                    </a:lnTo>
                    <a:lnTo>
                      <a:pt x="227" y="277"/>
                    </a:lnTo>
                    <a:lnTo>
                      <a:pt x="220" y="274"/>
                    </a:lnTo>
                    <a:lnTo>
                      <a:pt x="222" y="263"/>
                    </a:lnTo>
                    <a:lnTo>
                      <a:pt x="229" y="263"/>
                    </a:lnTo>
                    <a:lnTo>
                      <a:pt x="227" y="254"/>
                    </a:lnTo>
                    <a:lnTo>
                      <a:pt x="236" y="252"/>
                    </a:lnTo>
                    <a:lnTo>
                      <a:pt x="236" y="247"/>
                    </a:lnTo>
                    <a:lnTo>
                      <a:pt x="261" y="236"/>
                    </a:lnTo>
                    <a:lnTo>
                      <a:pt x="261" y="231"/>
                    </a:lnTo>
                    <a:lnTo>
                      <a:pt x="270" y="229"/>
                    </a:lnTo>
                    <a:lnTo>
                      <a:pt x="270" y="188"/>
                    </a:lnTo>
                    <a:lnTo>
                      <a:pt x="274" y="190"/>
                    </a:lnTo>
                    <a:lnTo>
                      <a:pt x="304" y="156"/>
                    </a:lnTo>
                    <a:lnTo>
                      <a:pt x="274" y="134"/>
                    </a:lnTo>
                    <a:lnTo>
                      <a:pt x="295" y="136"/>
                    </a:lnTo>
                    <a:lnTo>
                      <a:pt x="340" y="122"/>
                    </a:lnTo>
                    <a:lnTo>
                      <a:pt x="340" y="116"/>
                    </a:lnTo>
                    <a:lnTo>
                      <a:pt x="351" y="120"/>
                    </a:lnTo>
                    <a:lnTo>
                      <a:pt x="372" y="82"/>
                    </a:lnTo>
                    <a:lnTo>
                      <a:pt x="388" y="79"/>
                    </a:lnTo>
                    <a:lnTo>
                      <a:pt x="390" y="73"/>
                    </a:lnTo>
                    <a:lnTo>
                      <a:pt x="367" y="63"/>
                    </a:lnTo>
                    <a:lnTo>
                      <a:pt x="367" y="52"/>
                    </a:lnTo>
                    <a:lnTo>
                      <a:pt x="360" y="52"/>
                    </a:lnTo>
                    <a:lnTo>
                      <a:pt x="358" y="41"/>
                    </a:lnTo>
                    <a:lnTo>
                      <a:pt x="365" y="43"/>
                    </a:lnTo>
                    <a:lnTo>
                      <a:pt x="370" y="32"/>
                    </a:lnTo>
                    <a:lnTo>
                      <a:pt x="397" y="48"/>
                    </a:lnTo>
                    <a:lnTo>
                      <a:pt x="401" y="50"/>
                    </a:lnTo>
                    <a:lnTo>
                      <a:pt x="440" y="0"/>
                    </a:lnTo>
                    <a:lnTo>
                      <a:pt x="472" y="20"/>
                    </a:lnTo>
                    <a:lnTo>
                      <a:pt x="467" y="25"/>
                    </a:lnTo>
                    <a:lnTo>
                      <a:pt x="515" y="77"/>
                    </a:lnTo>
                    <a:lnTo>
                      <a:pt x="512" y="82"/>
                    </a:lnTo>
                    <a:lnTo>
                      <a:pt x="508" y="77"/>
                    </a:lnTo>
                    <a:lnTo>
                      <a:pt x="533" y="113"/>
                    </a:lnTo>
                    <a:lnTo>
                      <a:pt x="571" y="188"/>
                    </a:lnTo>
                    <a:lnTo>
                      <a:pt x="624" y="204"/>
                    </a:lnTo>
                    <a:lnTo>
                      <a:pt x="628" y="195"/>
                    </a:lnTo>
                    <a:lnTo>
                      <a:pt x="621" y="197"/>
                    </a:lnTo>
                    <a:lnTo>
                      <a:pt x="621" y="188"/>
                    </a:lnTo>
                    <a:lnTo>
                      <a:pt x="624" y="166"/>
                    </a:lnTo>
                    <a:lnTo>
                      <a:pt x="644" y="163"/>
                    </a:lnTo>
                    <a:lnTo>
                      <a:pt x="664" y="184"/>
                    </a:lnTo>
                    <a:lnTo>
                      <a:pt x="678" y="179"/>
                    </a:lnTo>
                    <a:lnTo>
                      <a:pt x="680" y="184"/>
                    </a:lnTo>
                    <a:lnTo>
                      <a:pt x="689" y="181"/>
                    </a:lnTo>
                    <a:lnTo>
                      <a:pt x="710" y="211"/>
                    </a:lnTo>
                    <a:lnTo>
                      <a:pt x="705" y="215"/>
                    </a:lnTo>
                    <a:lnTo>
                      <a:pt x="712" y="218"/>
                    </a:lnTo>
                    <a:lnTo>
                      <a:pt x="710" y="234"/>
                    </a:lnTo>
                    <a:lnTo>
                      <a:pt x="694" y="247"/>
                    </a:lnTo>
                    <a:lnTo>
                      <a:pt x="701" y="304"/>
                    </a:lnTo>
                    <a:lnTo>
                      <a:pt x="707" y="306"/>
                    </a:lnTo>
                    <a:lnTo>
                      <a:pt x="712" y="299"/>
                    </a:lnTo>
                    <a:lnTo>
                      <a:pt x="739" y="311"/>
                    </a:lnTo>
                    <a:lnTo>
                      <a:pt x="737" y="315"/>
                    </a:lnTo>
                    <a:lnTo>
                      <a:pt x="723" y="365"/>
                    </a:lnTo>
                    <a:lnTo>
                      <a:pt x="757" y="367"/>
                    </a:lnTo>
                    <a:lnTo>
                      <a:pt x="762" y="390"/>
                    </a:lnTo>
                    <a:lnTo>
                      <a:pt x="771" y="395"/>
                    </a:lnTo>
                    <a:lnTo>
                      <a:pt x="773" y="431"/>
                    </a:lnTo>
                    <a:lnTo>
                      <a:pt x="766" y="435"/>
                    </a:lnTo>
                    <a:lnTo>
                      <a:pt x="746" y="426"/>
                    </a:lnTo>
                    <a:lnTo>
                      <a:pt x="680" y="453"/>
                    </a:lnTo>
                    <a:lnTo>
                      <a:pt x="667" y="447"/>
                    </a:lnTo>
                    <a:lnTo>
                      <a:pt x="664" y="453"/>
                    </a:lnTo>
                    <a:lnTo>
                      <a:pt x="648" y="460"/>
                    </a:lnTo>
                    <a:lnTo>
                      <a:pt x="658" y="467"/>
                    </a:lnTo>
                    <a:lnTo>
                      <a:pt x="658" y="472"/>
                    </a:lnTo>
                    <a:lnTo>
                      <a:pt x="648" y="474"/>
                    </a:lnTo>
                    <a:lnTo>
                      <a:pt x="648" y="481"/>
                    </a:lnTo>
                    <a:lnTo>
                      <a:pt x="610" y="483"/>
                    </a:lnTo>
                    <a:lnTo>
                      <a:pt x="603" y="506"/>
                    </a:lnTo>
                    <a:lnTo>
                      <a:pt x="612" y="508"/>
                    </a:lnTo>
                    <a:lnTo>
                      <a:pt x="601" y="528"/>
                    </a:lnTo>
                    <a:lnTo>
                      <a:pt x="589" y="526"/>
                    </a:lnTo>
                    <a:lnTo>
                      <a:pt x="585" y="535"/>
                    </a:lnTo>
                    <a:lnTo>
                      <a:pt x="555" y="533"/>
                    </a:lnTo>
                    <a:lnTo>
                      <a:pt x="544" y="578"/>
                    </a:lnTo>
                    <a:lnTo>
                      <a:pt x="565" y="596"/>
                    </a:lnTo>
                    <a:lnTo>
                      <a:pt x="560" y="599"/>
                    </a:lnTo>
                    <a:lnTo>
                      <a:pt x="558" y="596"/>
                    </a:lnTo>
                    <a:lnTo>
                      <a:pt x="553" y="599"/>
                    </a:lnTo>
                    <a:lnTo>
                      <a:pt x="549" y="612"/>
                    </a:lnTo>
                    <a:lnTo>
                      <a:pt x="535" y="608"/>
                    </a:lnTo>
                    <a:lnTo>
                      <a:pt x="535" y="610"/>
                    </a:lnTo>
                    <a:lnTo>
                      <a:pt x="501" y="601"/>
                    </a:lnTo>
                    <a:lnTo>
                      <a:pt x="501" y="605"/>
                    </a:lnTo>
                    <a:lnTo>
                      <a:pt x="503" y="621"/>
                    </a:lnTo>
                    <a:lnTo>
                      <a:pt x="515" y="626"/>
                    </a:lnTo>
                    <a:lnTo>
                      <a:pt x="508" y="635"/>
                    </a:lnTo>
                    <a:lnTo>
                      <a:pt x="490" y="633"/>
                    </a:lnTo>
                    <a:lnTo>
                      <a:pt x="499" y="653"/>
                    </a:lnTo>
                    <a:lnTo>
                      <a:pt x="497" y="655"/>
                    </a:lnTo>
                    <a:lnTo>
                      <a:pt x="497" y="658"/>
                    </a:lnTo>
                    <a:lnTo>
                      <a:pt x="506" y="658"/>
                    </a:lnTo>
                    <a:lnTo>
                      <a:pt x="506" y="664"/>
                    </a:lnTo>
                    <a:lnTo>
                      <a:pt x="531" y="667"/>
                    </a:lnTo>
                    <a:lnTo>
                      <a:pt x="531" y="671"/>
                    </a:lnTo>
                    <a:lnTo>
                      <a:pt x="558" y="669"/>
                    </a:lnTo>
                    <a:lnTo>
                      <a:pt x="558" y="671"/>
                    </a:lnTo>
                    <a:lnTo>
                      <a:pt x="553" y="680"/>
                    </a:lnTo>
                    <a:lnTo>
                      <a:pt x="562" y="687"/>
                    </a:lnTo>
                    <a:lnTo>
                      <a:pt x="560" y="689"/>
                    </a:lnTo>
                    <a:lnTo>
                      <a:pt x="565" y="698"/>
                    </a:lnTo>
                    <a:lnTo>
                      <a:pt x="576" y="694"/>
                    </a:lnTo>
                    <a:lnTo>
                      <a:pt x="576" y="732"/>
                    </a:lnTo>
                    <a:lnTo>
                      <a:pt x="569" y="732"/>
                    </a:lnTo>
                    <a:lnTo>
                      <a:pt x="569" y="739"/>
                    </a:lnTo>
                    <a:lnTo>
                      <a:pt x="578" y="744"/>
                    </a:lnTo>
                    <a:lnTo>
                      <a:pt x="578" y="751"/>
                    </a:lnTo>
                    <a:lnTo>
                      <a:pt x="562" y="748"/>
                    </a:lnTo>
                    <a:lnTo>
                      <a:pt x="565" y="741"/>
                    </a:lnTo>
                    <a:lnTo>
                      <a:pt x="544" y="735"/>
                    </a:lnTo>
                    <a:lnTo>
                      <a:pt x="542" y="741"/>
                    </a:lnTo>
                    <a:lnTo>
                      <a:pt x="546" y="746"/>
                    </a:lnTo>
                    <a:lnTo>
                      <a:pt x="521" y="766"/>
                    </a:lnTo>
                    <a:lnTo>
                      <a:pt x="506" y="766"/>
                    </a:lnTo>
                    <a:lnTo>
                      <a:pt x="506" y="757"/>
                    </a:lnTo>
                    <a:lnTo>
                      <a:pt x="501" y="757"/>
                    </a:lnTo>
                    <a:lnTo>
                      <a:pt x="499" y="751"/>
                    </a:lnTo>
                    <a:lnTo>
                      <a:pt x="485" y="751"/>
                    </a:lnTo>
                    <a:lnTo>
                      <a:pt x="483" y="732"/>
                    </a:lnTo>
                    <a:lnTo>
                      <a:pt x="438" y="719"/>
                    </a:lnTo>
                    <a:lnTo>
                      <a:pt x="438" y="728"/>
                    </a:lnTo>
                    <a:lnTo>
                      <a:pt x="413" y="723"/>
                    </a:lnTo>
                    <a:lnTo>
                      <a:pt x="413" y="705"/>
                    </a:lnTo>
                    <a:lnTo>
                      <a:pt x="408" y="705"/>
                    </a:lnTo>
                    <a:lnTo>
                      <a:pt x="413" y="685"/>
                    </a:lnTo>
                    <a:lnTo>
                      <a:pt x="383" y="698"/>
                    </a:lnTo>
                    <a:lnTo>
                      <a:pt x="381" y="689"/>
                    </a:lnTo>
                    <a:lnTo>
                      <a:pt x="306" y="726"/>
                    </a:lnTo>
                    <a:lnTo>
                      <a:pt x="299" y="694"/>
                    </a:lnTo>
                    <a:lnTo>
                      <a:pt x="272" y="685"/>
                    </a:lnTo>
                    <a:lnTo>
                      <a:pt x="272" y="687"/>
                    </a:lnTo>
                    <a:lnTo>
                      <a:pt x="252" y="683"/>
                    </a:lnTo>
                    <a:lnTo>
                      <a:pt x="252" y="707"/>
                    </a:lnTo>
                    <a:lnTo>
                      <a:pt x="188" y="683"/>
                    </a:lnTo>
                    <a:lnTo>
                      <a:pt x="186" y="705"/>
                    </a:lnTo>
                    <a:lnTo>
                      <a:pt x="175" y="703"/>
                    </a:lnTo>
                    <a:lnTo>
                      <a:pt x="168" y="678"/>
                    </a:lnTo>
                    <a:lnTo>
                      <a:pt x="138" y="692"/>
                    </a:lnTo>
                    <a:lnTo>
                      <a:pt x="131" y="714"/>
                    </a:lnTo>
                    <a:lnTo>
                      <a:pt x="104" y="694"/>
                    </a:lnTo>
                    <a:lnTo>
                      <a:pt x="93" y="694"/>
                    </a:lnTo>
                    <a:lnTo>
                      <a:pt x="88" y="685"/>
                    </a:lnTo>
                    <a:lnTo>
                      <a:pt x="63" y="694"/>
                    </a:lnTo>
                    <a:lnTo>
                      <a:pt x="61" y="658"/>
                    </a:lnTo>
                    <a:lnTo>
                      <a:pt x="66" y="660"/>
                    </a:lnTo>
                    <a:lnTo>
                      <a:pt x="68" y="655"/>
                    </a:lnTo>
                    <a:lnTo>
                      <a:pt x="59" y="646"/>
                    </a:lnTo>
                    <a:lnTo>
                      <a:pt x="61" y="642"/>
                    </a:lnTo>
                    <a:lnTo>
                      <a:pt x="45" y="630"/>
                    </a:lnTo>
                    <a:lnTo>
                      <a:pt x="29" y="583"/>
                    </a:lnTo>
                    <a:lnTo>
                      <a:pt x="20" y="583"/>
                    </a:lnTo>
                    <a:lnTo>
                      <a:pt x="9" y="531"/>
                    </a:lnTo>
                    <a:lnTo>
                      <a:pt x="2" y="528"/>
                    </a:lnTo>
                    <a:lnTo>
                      <a:pt x="4" y="510"/>
                    </a:lnTo>
                    <a:lnTo>
                      <a:pt x="0" y="508"/>
                    </a:lnTo>
                  </a:path>
                </a:pathLst>
              </a:custGeom>
              <a:solidFill>
                <a:srgbClr val="70AD47">
                  <a:lumMod val="20000"/>
                  <a:lumOff val="80000"/>
                </a:srgbClr>
              </a:solidFill>
              <a:ln w="9525" cap="rnd" cmpd="sng">
                <a:solidFill>
                  <a:srgbClr val="E7E6E6">
                    <a:lumMod val="50000"/>
                  </a:srgbClr>
                </a:solidFill>
                <a:prstDash val="solid"/>
                <a:round/>
                <a:headEnd type="none" w="sm" len="sm"/>
                <a:tailEnd type="none" w="sm" len="sm"/>
              </a:ln>
            </p:spPr>
            <p:txBody>
              <a:bodyPr/>
              <a:lstStyle/>
              <a:p>
                <a:pPr marL="0" marR="0" lvl="0" indent="0" defTabSz="914377" eaLnBrk="1" fontAlgn="base" latinLnBrk="0" hangingPunct="1">
                  <a:lnSpc>
                    <a:spcPct val="100000"/>
                  </a:lnSpc>
                  <a:spcBef>
                    <a:spcPct val="0"/>
                  </a:spcBef>
                  <a:spcAft>
                    <a:spcPct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a typeface="MS PGothic" pitchFamily="34" charset="-128"/>
                  <a:cs typeface="+mn-cs"/>
                </a:endParaRPr>
              </a:p>
            </p:txBody>
          </p:sp>
          <p:sp>
            <p:nvSpPr>
              <p:cNvPr id="259" name="Rectangle 392">
                <a:extLst>
                  <a:ext uri="{FF2B5EF4-FFF2-40B4-BE49-F238E27FC236}">
                    <a16:creationId xmlns:a16="http://schemas.microsoft.com/office/drawing/2014/main" id="{BD5C5D75-1C05-DA2C-959D-8CFA26CDDA68}"/>
                  </a:ext>
                </a:extLst>
              </p:cNvPr>
              <p:cNvSpPr>
                <a:spLocks noChangeArrowheads="1"/>
              </p:cNvSpPr>
              <p:nvPr/>
            </p:nvSpPr>
            <p:spPr bwMode="auto">
              <a:xfrm>
                <a:off x="6715448" y="4691739"/>
                <a:ext cx="777976" cy="293552"/>
              </a:xfrm>
              <a:prstGeom prst="rect">
                <a:avLst/>
              </a:prstGeom>
              <a:grpFill/>
              <a:ln w="9525">
                <a:noFill/>
                <a:miter lim="800000"/>
                <a:headEnd/>
                <a:tailEnd/>
              </a:ln>
            </p:spPr>
            <p:txBody>
              <a:bodyPr lIns="0" tIns="0" rIns="0" bIns="0">
                <a:spAutoFit/>
              </a:bodyPr>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marL="0" marR="0" lvl="0" indent="0" defTabSz="914377" eaLnBrk="1" fontAlgn="base" latinLnBrk="0" hangingPunct="1">
                  <a:lnSpc>
                    <a:spcPct val="100000"/>
                  </a:lnSpc>
                  <a:spcBef>
                    <a:spcPct val="0"/>
                  </a:spcBef>
                  <a:spcAft>
                    <a:spcPct val="0"/>
                  </a:spcAft>
                  <a:buClrTx/>
                  <a:buSzTx/>
                  <a:buFont typeface="Wingdings" pitchFamily="2" charset="2"/>
                  <a:buNone/>
                  <a:tabLst/>
                  <a:defRPr/>
                </a:pPr>
                <a:r>
                  <a:rPr kumimoji="0" lang="fr-FR" altLang="fr-FR" sz="533" b="0" i="0" u="none" strike="noStrike" kern="0" cap="none" spc="0" normalizeH="0" baseline="0" noProof="0" dirty="0">
                    <a:ln>
                      <a:noFill/>
                    </a:ln>
                    <a:solidFill>
                      <a:srgbClr val="000000"/>
                    </a:solidFill>
                    <a:effectLst/>
                    <a:uLnTx/>
                    <a:uFillTx/>
                    <a:latin typeface="Arial" charset="0"/>
                    <a:ea typeface="MS PGothic" pitchFamily="34" charset="-128"/>
                    <a:cs typeface="Arial" charset="0"/>
                  </a:rPr>
                  <a:t>      839</a:t>
                </a:r>
              </a:p>
              <a:p>
                <a:pPr marL="0" marR="0" lvl="0" indent="0" defTabSz="914377" eaLnBrk="1" fontAlgn="base" latinLnBrk="0" hangingPunct="1">
                  <a:lnSpc>
                    <a:spcPct val="100000"/>
                  </a:lnSpc>
                  <a:spcBef>
                    <a:spcPct val="0"/>
                  </a:spcBef>
                  <a:spcAft>
                    <a:spcPct val="0"/>
                  </a:spcAft>
                  <a:buClrTx/>
                  <a:buSzTx/>
                  <a:buFont typeface="Wingdings" pitchFamily="2" charset="2"/>
                  <a:buNone/>
                  <a:tabLst/>
                  <a:defRPr/>
                </a:pPr>
                <a:r>
                  <a:rPr kumimoji="0" lang="fr-FR" altLang="fr-FR" sz="533" b="0" i="0" u="none" strike="noStrike" kern="0" cap="none" spc="0" normalizeH="0" baseline="0" noProof="0" dirty="0">
                    <a:ln>
                      <a:noFill/>
                    </a:ln>
                    <a:solidFill>
                      <a:srgbClr val="000000"/>
                    </a:solidFill>
                    <a:effectLst/>
                    <a:uLnTx/>
                    <a:uFillTx/>
                    <a:latin typeface="Arial" charset="0"/>
                    <a:ea typeface="MS PGothic" pitchFamily="34" charset="-128"/>
                    <a:cs typeface="Arial" charset="0"/>
                  </a:rPr>
                  <a:t>Sud Rhône Alpes</a:t>
                </a:r>
                <a:endParaRPr kumimoji="0" lang="fr-FR" altLang="fr-FR" sz="2400" b="0" i="0" u="none" strike="noStrike" kern="0" cap="none" spc="0" normalizeH="0" baseline="0" noProof="0" dirty="0">
                  <a:ln>
                    <a:noFill/>
                  </a:ln>
                  <a:solidFill>
                    <a:srgbClr val="000000"/>
                  </a:solidFill>
                  <a:effectLst/>
                  <a:uLnTx/>
                  <a:uFillTx/>
                  <a:latin typeface="Arial" charset="0"/>
                  <a:ea typeface="MS PGothic" pitchFamily="34" charset="-128"/>
                  <a:cs typeface="Arial" charset="0"/>
                </a:endParaRPr>
              </a:p>
            </p:txBody>
          </p:sp>
        </p:grpSp>
      </p:grpSp>
      <p:sp>
        <p:nvSpPr>
          <p:cNvPr id="308" name="Text Box 70">
            <a:extLst>
              <a:ext uri="{FF2B5EF4-FFF2-40B4-BE49-F238E27FC236}">
                <a16:creationId xmlns:a16="http://schemas.microsoft.com/office/drawing/2014/main" id="{BA38CB4C-F4CE-0FD9-AA50-CE6A356B3194}"/>
              </a:ext>
            </a:extLst>
          </p:cNvPr>
          <p:cNvSpPr txBox="1">
            <a:spLocks noChangeAspect="1" noChangeArrowheads="1"/>
          </p:cNvSpPr>
          <p:nvPr/>
        </p:nvSpPr>
        <p:spPr bwMode="auto">
          <a:xfrm>
            <a:off x="2605069" y="1997629"/>
            <a:ext cx="369733" cy="204555"/>
          </a:xfrm>
          <a:prstGeom prst="rect">
            <a:avLst/>
          </a:prstGeom>
          <a:no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21896" tIns="60948" rIns="121896" bIns="60948"/>
          <a:lstStyle>
            <a:lvl1pPr eaLnBrk="0" hangingPunct="0">
              <a:spcBef>
                <a:spcPct val="20000"/>
              </a:spcBef>
              <a:buClr>
                <a:srgbClr val="B59FC1"/>
              </a:buClr>
              <a:buFont typeface="Wingdings" pitchFamily="2" charset="2"/>
              <a:buChar char="n"/>
              <a:defRPr sz="2000" b="1">
                <a:solidFill>
                  <a:srgbClr val="333333"/>
                </a:solidFill>
                <a:latin typeface="Arial" charset="0"/>
                <a:ea typeface="MS PGothic" pitchFamily="34" charset="-128"/>
              </a:defRPr>
            </a:lvl1pPr>
            <a:lvl2pPr marL="742950" indent="-285750" eaLnBrk="0" hangingPunct="0">
              <a:spcBef>
                <a:spcPct val="20000"/>
              </a:spcBef>
              <a:buFont typeface="Wingdings" pitchFamily="2" charset="2"/>
              <a:buChar char="Ø"/>
              <a:defRPr sz="1600" b="1">
                <a:solidFill>
                  <a:srgbClr val="333333"/>
                </a:solidFill>
                <a:latin typeface="Arial" charset="0"/>
                <a:ea typeface="MS PGothic" pitchFamily="34" charset="-128"/>
              </a:defRPr>
            </a:lvl2pPr>
            <a:lvl3pPr marL="1143000" indent="-228600" eaLnBrk="0" hangingPunct="0">
              <a:spcBef>
                <a:spcPct val="20000"/>
              </a:spcBef>
              <a:buClr>
                <a:srgbClr val="B2B2B2"/>
              </a:buClr>
              <a:buSzPct val="80000"/>
              <a:buFont typeface="Wingdings 2" pitchFamily="18" charset="2"/>
              <a:buChar char=""/>
              <a:defRPr sz="1600">
                <a:solidFill>
                  <a:srgbClr val="333333"/>
                </a:solidFill>
                <a:latin typeface="Arial" charset="0"/>
                <a:ea typeface="MS PGothic" pitchFamily="34" charset="-128"/>
              </a:defRPr>
            </a:lvl3pPr>
            <a:lvl4pPr marL="1600200" indent="-228600" eaLnBrk="0" hangingPunct="0">
              <a:spcBef>
                <a:spcPct val="20000"/>
              </a:spcBef>
              <a:defRPr sz="1400">
                <a:solidFill>
                  <a:schemeClr val="tx1"/>
                </a:solidFill>
                <a:latin typeface="Arial" charset="0"/>
                <a:ea typeface="MS PGothic" pitchFamily="34" charset="-128"/>
              </a:defRPr>
            </a:lvl4pPr>
            <a:lvl5pPr marL="2057400" indent="-228600" eaLnBrk="0" hangingPunct="0">
              <a:spcBef>
                <a:spcPct val="20000"/>
              </a:spcBef>
              <a:defRPr sz="1400" b="1">
                <a:solidFill>
                  <a:srgbClr val="B59FC1"/>
                </a:solidFill>
                <a:latin typeface="Arial" charset="0"/>
                <a:ea typeface="MS PGothic" pitchFamily="34" charset="-128"/>
              </a:defRPr>
            </a:lvl5pPr>
            <a:lvl6pPr marL="2514600" indent="-228600" eaLnBrk="0" fontAlgn="base" hangingPunct="0">
              <a:spcBef>
                <a:spcPct val="20000"/>
              </a:spcBef>
              <a:spcAft>
                <a:spcPct val="0"/>
              </a:spcAft>
              <a:defRPr sz="1400" b="1">
                <a:solidFill>
                  <a:srgbClr val="B59FC1"/>
                </a:solidFill>
                <a:latin typeface="Arial" charset="0"/>
                <a:ea typeface="MS PGothic" pitchFamily="34" charset="-128"/>
              </a:defRPr>
            </a:lvl6pPr>
            <a:lvl7pPr marL="2971800" indent="-228600" eaLnBrk="0" fontAlgn="base" hangingPunct="0">
              <a:spcBef>
                <a:spcPct val="20000"/>
              </a:spcBef>
              <a:spcAft>
                <a:spcPct val="0"/>
              </a:spcAft>
              <a:defRPr sz="1400" b="1">
                <a:solidFill>
                  <a:srgbClr val="B59FC1"/>
                </a:solidFill>
                <a:latin typeface="Arial" charset="0"/>
                <a:ea typeface="MS PGothic" pitchFamily="34" charset="-128"/>
              </a:defRPr>
            </a:lvl7pPr>
            <a:lvl8pPr marL="3429000" indent="-228600" eaLnBrk="0" fontAlgn="base" hangingPunct="0">
              <a:spcBef>
                <a:spcPct val="20000"/>
              </a:spcBef>
              <a:spcAft>
                <a:spcPct val="0"/>
              </a:spcAft>
              <a:defRPr sz="1400" b="1">
                <a:solidFill>
                  <a:srgbClr val="B59FC1"/>
                </a:solidFill>
                <a:latin typeface="Arial" charset="0"/>
                <a:ea typeface="MS PGothic" pitchFamily="34" charset="-128"/>
              </a:defRPr>
            </a:lvl8pPr>
            <a:lvl9pPr marL="3886200" indent="-228600" eaLnBrk="0" fontAlgn="base" hangingPunct="0">
              <a:spcBef>
                <a:spcPct val="20000"/>
              </a:spcBef>
              <a:spcAft>
                <a:spcPct val="0"/>
              </a:spcAft>
              <a:defRPr sz="1400" b="1">
                <a:solidFill>
                  <a:srgbClr val="B59FC1"/>
                </a:solidFill>
                <a:latin typeface="Arial" charset="0"/>
                <a:ea typeface="MS PGothic" pitchFamily="34" charset="-128"/>
              </a:defRPr>
            </a:lvl9pPr>
          </a:lstStyle>
          <a:p>
            <a:pPr defTabSz="914377" eaLnBrk="1" fontAlgn="base" hangingPunct="1">
              <a:lnSpc>
                <a:spcPct val="50000"/>
              </a:lnSpc>
              <a:spcBef>
                <a:spcPct val="0"/>
              </a:spcBef>
              <a:spcAft>
                <a:spcPct val="0"/>
              </a:spcAft>
              <a:buClrTx/>
              <a:buFont typeface="Wingdings" pitchFamily="2" charset="2"/>
              <a:buNone/>
            </a:pPr>
            <a:r>
              <a:rPr lang="fr-FR" altLang="fr-FR" sz="667" b="0" kern="1200" dirty="0">
                <a:solidFill>
                  <a:srgbClr val="000000"/>
                </a:solidFill>
                <a:latin typeface="Arial Narrow" pitchFamily="34" charset="0"/>
                <a:cs typeface="Arial" charset="0"/>
              </a:rPr>
              <a:t>882</a:t>
            </a:r>
          </a:p>
          <a:p>
            <a:pPr defTabSz="914377" eaLnBrk="1" fontAlgn="base" hangingPunct="1">
              <a:lnSpc>
                <a:spcPct val="50000"/>
              </a:lnSpc>
              <a:spcBef>
                <a:spcPct val="0"/>
              </a:spcBef>
              <a:spcAft>
                <a:spcPct val="0"/>
              </a:spcAft>
              <a:buClrTx/>
              <a:buFont typeface="Wingdings" pitchFamily="2" charset="2"/>
              <a:buNone/>
            </a:pPr>
            <a:endParaRPr lang="fr-FR" altLang="fr-FR" sz="667" b="0" kern="1200" dirty="0">
              <a:solidFill>
                <a:srgbClr val="000000"/>
              </a:solidFill>
              <a:latin typeface="Arial Narrow" pitchFamily="34" charset="0"/>
              <a:cs typeface="Arial" charset="0"/>
            </a:endParaRPr>
          </a:p>
          <a:p>
            <a:pPr defTabSz="914377" eaLnBrk="1" fontAlgn="base" hangingPunct="1">
              <a:lnSpc>
                <a:spcPct val="50000"/>
              </a:lnSpc>
              <a:spcBef>
                <a:spcPct val="0"/>
              </a:spcBef>
              <a:spcAft>
                <a:spcPct val="0"/>
              </a:spcAft>
              <a:buClrTx/>
              <a:buFont typeface="Wingdings" pitchFamily="2" charset="2"/>
              <a:buNone/>
            </a:pPr>
            <a:r>
              <a:rPr lang="fr-FR" altLang="fr-FR" sz="667" b="0" kern="1200" dirty="0">
                <a:solidFill>
                  <a:srgbClr val="000000"/>
                </a:solidFill>
                <a:latin typeface="Arial Narrow" pitchFamily="34" charset="0"/>
                <a:cs typeface="Arial" charset="0"/>
              </a:rPr>
              <a:t>Ile de France</a:t>
            </a:r>
          </a:p>
        </p:txBody>
      </p:sp>
      <p:sp>
        <p:nvSpPr>
          <p:cNvPr id="309" name="Rectangle 308">
            <a:extLst>
              <a:ext uri="{FF2B5EF4-FFF2-40B4-BE49-F238E27FC236}">
                <a16:creationId xmlns:a16="http://schemas.microsoft.com/office/drawing/2014/main" id="{3D41B1D9-3420-1C53-98E9-1C938070E5AA}"/>
              </a:ext>
            </a:extLst>
          </p:cNvPr>
          <p:cNvSpPr/>
          <p:nvPr/>
        </p:nvSpPr>
        <p:spPr>
          <a:xfrm>
            <a:off x="4067717" y="5847577"/>
            <a:ext cx="554805" cy="215757"/>
          </a:xfrm>
          <a:prstGeom prst="rect">
            <a:avLst/>
          </a:prstGeom>
          <a:solidFill>
            <a:srgbClr val="70AD47">
              <a:lumMod val="20000"/>
              <a:lumOff val="80000"/>
            </a:srgb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0" name="ZoneTexte 309">
            <a:extLst>
              <a:ext uri="{FF2B5EF4-FFF2-40B4-BE49-F238E27FC236}">
                <a16:creationId xmlns:a16="http://schemas.microsoft.com/office/drawing/2014/main" id="{2464CBD6-DECC-E9AE-A06F-1F40C9AEC5F9}"/>
              </a:ext>
            </a:extLst>
          </p:cNvPr>
          <p:cNvSpPr txBox="1"/>
          <p:nvPr/>
        </p:nvSpPr>
        <p:spPr>
          <a:xfrm>
            <a:off x="393064" y="5310092"/>
            <a:ext cx="3486347" cy="784830"/>
          </a:xfrm>
          <a:prstGeom prst="rect">
            <a:avLst/>
          </a:prstGeom>
          <a:noFill/>
          <a:ln>
            <a:solidFill>
              <a:srgbClr val="99CC00"/>
            </a:solidFill>
          </a:ln>
        </p:spPr>
        <p:txBody>
          <a:bodyPr wrap="square" rtlCol="0">
            <a:spAutoFit/>
          </a:bodyPr>
          <a:lstStyle/>
          <a:p>
            <a:pPr>
              <a:buClrTx/>
              <a:buFontTx/>
              <a:buNone/>
            </a:pPr>
            <a:r>
              <a:rPr lang="en-US" sz="900" b="1" kern="1200">
                <a:solidFill>
                  <a:prstClr val="black"/>
                </a:solidFill>
                <a:latin typeface="Calibri" panose="020F0502020204030204"/>
                <a:ea typeface="+mn-ea"/>
                <a:cs typeface="+mn-cs"/>
              </a:rPr>
              <a:t>BRH housed in the Business Department: 
5 BRH Managers, including 1 dedicated to the Entrepreneurs market
Independent advisors on the SLE on small structures
3rd CR in Employee Savings on Pro 
1st RC in Group Insurance</a:t>
            </a:r>
            <a:endParaRPr lang="fr-FR" sz="900" u="sng" kern="1200" dirty="0">
              <a:solidFill>
                <a:prstClr val="black"/>
              </a:solidFill>
              <a:latin typeface="Calibri" panose="020F0502020204030204"/>
              <a:ea typeface="+mn-ea"/>
              <a:cs typeface="+mn-cs"/>
            </a:endParaRPr>
          </a:p>
        </p:txBody>
      </p:sp>
      <p:cxnSp>
        <p:nvCxnSpPr>
          <p:cNvPr id="312" name="Connecteur droit avec flèche 311">
            <a:extLst>
              <a:ext uri="{FF2B5EF4-FFF2-40B4-BE49-F238E27FC236}">
                <a16:creationId xmlns:a16="http://schemas.microsoft.com/office/drawing/2014/main" id="{FBC00965-C4EE-7580-D22E-6491AFE0BF6F}"/>
              </a:ext>
            </a:extLst>
          </p:cNvPr>
          <p:cNvCxnSpPr>
            <a:cxnSpLocks/>
          </p:cNvCxnSpPr>
          <p:nvPr/>
        </p:nvCxnSpPr>
        <p:spPr>
          <a:xfrm flipH="1">
            <a:off x="2033579" y="4757004"/>
            <a:ext cx="1112926" cy="461959"/>
          </a:xfrm>
          <a:prstGeom prst="straightConnector1">
            <a:avLst/>
          </a:prstGeom>
          <a:noFill/>
          <a:ln w="19050" cap="flat" cmpd="sng" algn="ctr">
            <a:solidFill>
              <a:srgbClr val="99CC00"/>
            </a:solidFill>
            <a:prstDash val="solid"/>
            <a:miter lim="800000"/>
            <a:tailEnd type="triangle"/>
          </a:ln>
          <a:effectLst/>
        </p:spPr>
      </p:cxnSp>
      <p:cxnSp>
        <p:nvCxnSpPr>
          <p:cNvPr id="313" name="Connecteur droit avec flèche 312">
            <a:extLst>
              <a:ext uri="{FF2B5EF4-FFF2-40B4-BE49-F238E27FC236}">
                <a16:creationId xmlns:a16="http://schemas.microsoft.com/office/drawing/2014/main" id="{7AB59B5A-4D00-3E6B-26B9-18D260F47159}"/>
              </a:ext>
            </a:extLst>
          </p:cNvPr>
          <p:cNvCxnSpPr>
            <a:cxnSpLocks/>
          </p:cNvCxnSpPr>
          <p:nvPr/>
        </p:nvCxnSpPr>
        <p:spPr>
          <a:xfrm flipV="1">
            <a:off x="2848511" y="1286198"/>
            <a:ext cx="1236975" cy="621207"/>
          </a:xfrm>
          <a:prstGeom prst="straightConnector1">
            <a:avLst/>
          </a:prstGeom>
          <a:noFill/>
          <a:ln w="19050" cap="flat" cmpd="sng" algn="ctr">
            <a:solidFill>
              <a:srgbClr val="FF99CC"/>
            </a:solidFill>
            <a:prstDash val="solid"/>
            <a:miter lim="800000"/>
            <a:tailEnd type="triangle"/>
          </a:ln>
          <a:effectLst/>
        </p:spPr>
      </p:cxnSp>
      <p:cxnSp>
        <p:nvCxnSpPr>
          <p:cNvPr id="314" name="Connecteur droit avec flèche 313">
            <a:extLst>
              <a:ext uri="{FF2B5EF4-FFF2-40B4-BE49-F238E27FC236}">
                <a16:creationId xmlns:a16="http://schemas.microsoft.com/office/drawing/2014/main" id="{51300C4E-5193-7712-B8EA-DB0716CE601E}"/>
              </a:ext>
            </a:extLst>
          </p:cNvPr>
          <p:cNvCxnSpPr>
            <a:cxnSpLocks/>
            <a:stCxn id="236" idx="3"/>
          </p:cNvCxnSpPr>
          <p:nvPr/>
        </p:nvCxnSpPr>
        <p:spPr>
          <a:xfrm flipV="1">
            <a:off x="2502751" y="2907627"/>
            <a:ext cx="2009669" cy="83786"/>
          </a:xfrm>
          <a:prstGeom prst="straightConnector1">
            <a:avLst/>
          </a:prstGeom>
          <a:noFill/>
          <a:ln w="19050" cap="flat" cmpd="sng" algn="ctr">
            <a:solidFill>
              <a:srgbClr val="5B9BD5"/>
            </a:solidFill>
            <a:prstDash val="solid"/>
            <a:miter lim="800000"/>
            <a:tailEnd type="triangle"/>
          </a:ln>
          <a:effectLst/>
        </p:spPr>
      </p:cxnSp>
      <p:sp>
        <p:nvSpPr>
          <p:cNvPr id="315" name="ZoneTexte 314">
            <a:extLst>
              <a:ext uri="{FF2B5EF4-FFF2-40B4-BE49-F238E27FC236}">
                <a16:creationId xmlns:a16="http://schemas.microsoft.com/office/drawing/2014/main" id="{A5BEA0A5-4C97-16A5-B622-63EB08116A1E}"/>
              </a:ext>
            </a:extLst>
          </p:cNvPr>
          <p:cNvSpPr txBox="1"/>
          <p:nvPr/>
        </p:nvSpPr>
        <p:spPr>
          <a:xfrm>
            <a:off x="4297516" y="896196"/>
            <a:ext cx="3580489" cy="923330"/>
          </a:xfrm>
          <a:prstGeom prst="rect">
            <a:avLst/>
          </a:prstGeom>
          <a:noFill/>
          <a:ln>
            <a:solidFill>
              <a:srgbClr val="FF99CC"/>
            </a:solidFill>
          </a:ln>
        </p:spPr>
        <p:txBody>
          <a:bodyPr wrap="square" rtlCol="0">
            <a:spAutoFit/>
          </a:bodyPr>
          <a:lstStyle/>
          <a:p>
            <a:r>
              <a:rPr lang="en-US" sz="900" b="1"/>
              <a:t>BRH experts housed at the PRO Market: 
5 BRH experts dedicated to the Entrepreneurs market
Independent advisors on the SLE on small structures
1st CR in Employee Savings on Pro (440 contracts), production *4 in 2025
They are launching Group Insurance in 2026 (Abs Ass pro)</a:t>
            </a:r>
            <a:endParaRPr lang="fr-FR" sz="900" dirty="0"/>
          </a:p>
        </p:txBody>
      </p:sp>
      <p:sp>
        <p:nvSpPr>
          <p:cNvPr id="316" name="ZoneTexte 315">
            <a:extLst>
              <a:ext uri="{FF2B5EF4-FFF2-40B4-BE49-F238E27FC236}">
                <a16:creationId xmlns:a16="http://schemas.microsoft.com/office/drawing/2014/main" id="{63E64790-5285-90BE-7971-3534C98087E7}"/>
              </a:ext>
            </a:extLst>
          </p:cNvPr>
          <p:cNvSpPr txBox="1"/>
          <p:nvPr/>
        </p:nvSpPr>
        <p:spPr>
          <a:xfrm>
            <a:off x="4612672" y="2380739"/>
            <a:ext cx="3190893" cy="784830"/>
          </a:xfrm>
          <a:prstGeom prst="rect">
            <a:avLst/>
          </a:prstGeom>
          <a:noFill/>
          <a:ln>
            <a:solidFill>
              <a:srgbClr val="5B9BD5"/>
            </a:solidFill>
          </a:ln>
        </p:spPr>
        <p:txBody>
          <a:bodyPr wrap="square" rtlCol="0">
            <a:spAutoFit/>
          </a:bodyPr>
          <a:lstStyle/>
          <a:p>
            <a:r>
              <a:rPr lang="en-US" sz="900" b="1"/>
              <a:t>1 BRH Animator attached to the Marché des Pro (End of 2025)
Independent advisors on the SLE on small structures
Assists advisors on complex cases, and direct sales on Worklife</a:t>
            </a:r>
            <a:endParaRPr lang="fr-FR" sz="900" dirty="0"/>
          </a:p>
        </p:txBody>
      </p:sp>
      <p:sp>
        <p:nvSpPr>
          <p:cNvPr id="317" name="Rectangle 316">
            <a:extLst>
              <a:ext uri="{FF2B5EF4-FFF2-40B4-BE49-F238E27FC236}">
                <a16:creationId xmlns:a16="http://schemas.microsoft.com/office/drawing/2014/main" id="{2CE37928-0800-B2AF-0DD9-655E5E77AC16}"/>
              </a:ext>
            </a:extLst>
          </p:cNvPr>
          <p:cNvSpPr/>
          <p:nvPr/>
        </p:nvSpPr>
        <p:spPr>
          <a:xfrm>
            <a:off x="8077126" y="2200787"/>
            <a:ext cx="554805" cy="215757"/>
          </a:xfrm>
          <a:prstGeom prst="rect">
            <a:avLst/>
          </a:prstGeom>
          <a:solidFill>
            <a:srgbClr val="99CC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8" name="ZoneTexte 317">
            <a:extLst>
              <a:ext uri="{FF2B5EF4-FFF2-40B4-BE49-F238E27FC236}">
                <a16:creationId xmlns:a16="http://schemas.microsoft.com/office/drawing/2014/main" id="{606763AE-FD8B-5F52-F85A-AEE5752F1A2C}"/>
              </a:ext>
            </a:extLst>
          </p:cNvPr>
          <p:cNvSpPr txBox="1"/>
          <p:nvPr/>
        </p:nvSpPr>
        <p:spPr>
          <a:xfrm>
            <a:off x="8631931" y="2042638"/>
            <a:ext cx="3061298" cy="707886"/>
          </a:xfrm>
          <a:prstGeom prst="rect">
            <a:avLst/>
          </a:prstGeom>
          <a:noFill/>
        </p:spPr>
        <p:txBody>
          <a:bodyPr wrap="square" rtlCol="0">
            <a:spAutoFit/>
          </a:bodyPr>
          <a:lstStyle/>
          <a:p>
            <a:r>
              <a:rPr lang="en-US" sz="1000"/>
              <a:t>CR with BRH Account Manager dedicated to the professional market, but attached to the Business Department (salesperson) or Insurance sector (Atlantique Vendée)</a:t>
            </a:r>
            <a:endParaRPr lang="fr-FR" sz="1000" dirty="0"/>
          </a:p>
        </p:txBody>
      </p:sp>
      <p:sp>
        <p:nvSpPr>
          <p:cNvPr id="319" name="Rectangle 318">
            <a:extLst>
              <a:ext uri="{FF2B5EF4-FFF2-40B4-BE49-F238E27FC236}">
                <a16:creationId xmlns:a16="http://schemas.microsoft.com/office/drawing/2014/main" id="{3FB1E169-CA68-7250-19FB-65140B6990A5}"/>
              </a:ext>
            </a:extLst>
          </p:cNvPr>
          <p:cNvSpPr/>
          <p:nvPr/>
        </p:nvSpPr>
        <p:spPr>
          <a:xfrm>
            <a:off x="8077125" y="2882735"/>
            <a:ext cx="554805" cy="215757"/>
          </a:xfrm>
          <a:prstGeom prst="rect">
            <a:avLst/>
          </a:prstGeom>
          <a:solidFill>
            <a:srgbClr val="FF99C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0" name="ZoneTexte 319">
            <a:extLst>
              <a:ext uri="{FF2B5EF4-FFF2-40B4-BE49-F238E27FC236}">
                <a16:creationId xmlns:a16="http://schemas.microsoft.com/office/drawing/2014/main" id="{ABF5F7CC-3A9F-C059-F814-218C20AA4C44}"/>
              </a:ext>
            </a:extLst>
          </p:cNvPr>
          <p:cNvSpPr txBox="1"/>
          <p:nvPr/>
        </p:nvSpPr>
        <p:spPr>
          <a:xfrm>
            <a:off x="8631930" y="2825411"/>
            <a:ext cx="3061298" cy="400110"/>
          </a:xfrm>
          <a:prstGeom prst="rect">
            <a:avLst/>
          </a:prstGeom>
          <a:noFill/>
        </p:spPr>
        <p:txBody>
          <a:bodyPr wrap="square" rtlCol="0">
            <a:spAutoFit/>
          </a:bodyPr>
          <a:lstStyle/>
          <a:p>
            <a:r>
              <a:rPr lang="en-US" sz="1000"/>
              <a:t>CR with BRH Expert set up on the pros, and attached to the PRO Market (seller)</a:t>
            </a:r>
            <a:endParaRPr lang="fr-FR" sz="1000" dirty="0"/>
          </a:p>
        </p:txBody>
      </p:sp>
      <p:sp>
        <p:nvSpPr>
          <p:cNvPr id="321" name="Rectangle 320">
            <a:extLst>
              <a:ext uri="{FF2B5EF4-FFF2-40B4-BE49-F238E27FC236}">
                <a16:creationId xmlns:a16="http://schemas.microsoft.com/office/drawing/2014/main" id="{97B12338-DD35-5D04-0690-5F731275003D}"/>
              </a:ext>
            </a:extLst>
          </p:cNvPr>
          <p:cNvSpPr/>
          <p:nvPr/>
        </p:nvSpPr>
        <p:spPr>
          <a:xfrm>
            <a:off x="8077124" y="3442703"/>
            <a:ext cx="554805" cy="215757"/>
          </a:xfrm>
          <a:prstGeom prst="rect">
            <a:avLst/>
          </a:prstGeom>
          <a:solidFill>
            <a:srgbClr val="5B9BD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2" name="ZoneTexte 321">
            <a:extLst>
              <a:ext uri="{FF2B5EF4-FFF2-40B4-BE49-F238E27FC236}">
                <a16:creationId xmlns:a16="http://schemas.microsoft.com/office/drawing/2014/main" id="{924C1841-771B-0853-EBF6-B030714C1EBA}"/>
              </a:ext>
            </a:extLst>
          </p:cNvPr>
          <p:cNvSpPr txBox="1"/>
          <p:nvPr/>
        </p:nvSpPr>
        <p:spPr>
          <a:xfrm>
            <a:off x="8631929" y="3405132"/>
            <a:ext cx="3061298" cy="400110"/>
          </a:xfrm>
          <a:prstGeom prst="rect">
            <a:avLst/>
          </a:prstGeom>
          <a:noFill/>
        </p:spPr>
        <p:txBody>
          <a:bodyPr wrap="square" rtlCol="0">
            <a:spAutoFit/>
          </a:bodyPr>
          <a:lstStyle/>
          <a:p>
            <a:r>
              <a:rPr lang="en-US" sz="1000"/>
              <a:t>CR with BRH facilitator set up and attached to the PRO Market (facilitator)</a:t>
            </a:r>
            <a:endParaRPr lang="fr-FR" sz="1000" dirty="0"/>
          </a:p>
        </p:txBody>
      </p:sp>
      <p:sp>
        <p:nvSpPr>
          <p:cNvPr id="323" name="ZoneTexte 322">
            <a:extLst>
              <a:ext uri="{FF2B5EF4-FFF2-40B4-BE49-F238E27FC236}">
                <a16:creationId xmlns:a16="http://schemas.microsoft.com/office/drawing/2014/main" id="{E12800A3-0D3C-C30A-D893-99C9348CDDE5}"/>
              </a:ext>
            </a:extLst>
          </p:cNvPr>
          <p:cNvSpPr txBox="1"/>
          <p:nvPr/>
        </p:nvSpPr>
        <p:spPr>
          <a:xfrm>
            <a:off x="4640291" y="5845627"/>
            <a:ext cx="3276122" cy="246221"/>
          </a:xfrm>
          <a:prstGeom prst="rect">
            <a:avLst/>
          </a:prstGeom>
          <a:noFill/>
        </p:spPr>
        <p:txBody>
          <a:bodyPr wrap="square" rtlCol="0">
            <a:spAutoFit/>
          </a:bodyPr>
          <a:lstStyle/>
          <a:p>
            <a:r>
              <a:rPr lang="en-US" sz="1000"/>
              <a:t>CR with deployment in progress for 2026</a:t>
            </a:r>
            <a:endParaRPr lang="fr-FR" sz="1000" dirty="0"/>
          </a:p>
        </p:txBody>
      </p:sp>
      <p:sp>
        <p:nvSpPr>
          <p:cNvPr id="324" name="ZoneTexte 323">
            <a:extLst>
              <a:ext uri="{FF2B5EF4-FFF2-40B4-BE49-F238E27FC236}">
                <a16:creationId xmlns:a16="http://schemas.microsoft.com/office/drawing/2014/main" id="{9036FCAF-C312-3A9D-0BEA-E11FBD2515F9}"/>
              </a:ext>
            </a:extLst>
          </p:cNvPr>
          <p:cNvSpPr txBox="1"/>
          <p:nvPr/>
        </p:nvSpPr>
        <p:spPr>
          <a:xfrm>
            <a:off x="5364489" y="4221037"/>
            <a:ext cx="6183664" cy="954300"/>
          </a:xfrm>
          <a:prstGeom prst="rect">
            <a:avLst/>
          </a:prstGeom>
          <a:solidFill>
            <a:srgbClr val="F2F2F2"/>
          </a:solidFill>
        </p:spPr>
        <p:txBody>
          <a:bodyPr wrap="square" rtlCol="0">
            <a:spAutoFit/>
          </a:bodyPr>
          <a:lstStyle>
            <a:defPPr>
              <a:defRPr lang="fr-FR"/>
            </a:defPPr>
            <a:lvl1pPr algn="ctr">
              <a:defRPr b="1">
                <a:solidFill>
                  <a:srgbClr val="008080"/>
                </a:solidFill>
              </a:defRPr>
            </a:lvl1pPr>
          </a:lstStyle>
          <a:p>
            <a:r>
              <a:rPr lang="en-US"/>
              <a:t>These initiatives are accompanied by 
Good commercial performance 
on the offers of the BRH Pro</a:t>
            </a:r>
            <a:endParaRPr lang="fr-FR" dirty="0"/>
          </a:p>
        </p:txBody>
      </p:sp>
    </p:spTree>
    <p:extLst>
      <p:ext uri="{BB962C8B-B14F-4D97-AF65-F5344CB8AC3E}">
        <p14:creationId xmlns:p14="http://schemas.microsoft.com/office/powerpoint/2010/main" val="1939088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BDD752E-A963-93BD-4EC9-16A5434BF6B8}"/>
              </a:ext>
            </a:extLst>
          </p:cNvPr>
          <p:cNvSpPr>
            <a:spLocks noGrp="1"/>
          </p:cNvSpPr>
          <p:nvPr>
            <p:ph type="title"/>
          </p:nvPr>
        </p:nvSpPr>
        <p:spPr/>
        <p:txBody>
          <a:bodyPr>
            <a:normAutofit/>
          </a:bodyPr>
          <a:lstStyle/>
          <a:p>
            <a:r>
              <a:rPr lang="en-US"/>
              <a:t>A comprehensive support offered by IFCAM and the business lines and on which we can capitalize</a:t>
            </a:r>
            <a:endParaRPr lang="en-US" dirty="0"/>
          </a:p>
        </p:txBody>
      </p:sp>
      <p:sp>
        <p:nvSpPr>
          <p:cNvPr id="4" name="ZoneTexte 3">
            <a:extLst>
              <a:ext uri="{FF2B5EF4-FFF2-40B4-BE49-F238E27FC236}">
                <a16:creationId xmlns:a16="http://schemas.microsoft.com/office/drawing/2014/main" id="{E052D951-1A9A-B2A0-D506-BF67EEC2037C}"/>
              </a:ext>
            </a:extLst>
          </p:cNvPr>
          <p:cNvSpPr txBox="1"/>
          <p:nvPr/>
        </p:nvSpPr>
        <p:spPr>
          <a:xfrm>
            <a:off x="405114" y="904109"/>
            <a:ext cx="5856790" cy="379656"/>
          </a:xfrm>
          <a:prstGeom prst="rect">
            <a:avLst/>
          </a:prstGeom>
          <a:noFill/>
        </p:spPr>
        <p:txBody>
          <a:bodyPr wrap="square">
            <a:spAutoFit/>
          </a:bodyPr>
          <a:lstStyle/>
          <a:p>
            <a:r>
              <a:rPr lang="fr-FR" dirty="0">
                <a:hlinkClick r:id="rId2"/>
              </a:rPr>
              <a:t>Portail univers - Banque des Ressources Humaines</a:t>
            </a:r>
            <a:endParaRPr lang="fr-FR" dirty="0"/>
          </a:p>
        </p:txBody>
      </p:sp>
      <p:pic>
        <p:nvPicPr>
          <p:cNvPr id="6" name="Image 5">
            <a:extLst>
              <a:ext uri="{FF2B5EF4-FFF2-40B4-BE49-F238E27FC236}">
                <a16:creationId xmlns:a16="http://schemas.microsoft.com/office/drawing/2014/main" id="{2D1F148C-F28B-5348-687A-D7AB8F401E4C}"/>
              </a:ext>
            </a:extLst>
          </p:cNvPr>
          <p:cNvPicPr>
            <a:picLocks noChangeAspect="1"/>
          </p:cNvPicPr>
          <p:nvPr/>
        </p:nvPicPr>
        <p:blipFill>
          <a:blip r:embed="rId3"/>
          <a:stretch>
            <a:fillRect/>
          </a:stretch>
        </p:blipFill>
        <p:spPr>
          <a:xfrm>
            <a:off x="520860" y="1313950"/>
            <a:ext cx="4760103" cy="2827844"/>
          </a:xfrm>
          <a:prstGeom prst="rect">
            <a:avLst/>
          </a:prstGeom>
        </p:spPr>
      </p:pic>
      <p:pic>
        <p:nvPicPr>
          <p:cNvPr id="8" name="Image 7">
            <a:extLst>
              <a:ext uri="{FF2B5EF4-FFF2-40B4-BE49-F238E27FC236}">
                <a16:creationId xmlns:a16="http://schemas.microsoft.com/office/drawing/2014/main" id="{6DA2191D-A050-0730-4284-FE0E60932FB6}"/>
              </a:ext>
            </a:extLst>
          </p:cNvPr>
          <p:cNvPicPr>
            <a:picLocks noChangeAspect="1"/>
          </p:cNvPicPr>
          <p:nvPr/>
        </p:nvPicPr>
        <p:blipFill>
          <a:blip r:embed="rId4"/>
          <a:stretch>
            <a:fillRect/>
          </a:stretch>
        </p:blipFill>
        <p:spPr>
          <a:xfrm>
            <a:off x="555585" y="4141794"/>
            <a:ext cx="4432151" cy="2418855"/>
          </a:xfrm>
          <a:prstGeom prst="rect">
            <a:avLst/>
          </a:prstGeom>
        </p:spPr>
      </p:pic>
      <p:pic>
        <p:nvPicPr>
          <p:cNvPr id="9" name="Image 8" descr="Une image contenant Police, texte, capture d’écran, Graphique&#10;&#10;Le contenu généré par l’IA peut être incorrect.">
            <a:extLst>
              <a:ext uri="{FF2B5EF4-FFF2-40B4-BE49-F238E27FC236}">
                <a16:creationId xmlns:a16="http://schemas.microsoft.com/office/drawing/2014/main" id="{52816096-45F2-57A4-2E16-9BBDDC41E50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69585" y="1892114"/>
            <a:ext cx="1649767" cy="897829"/>
          </a:xfrm>
          <a:prstGeom prst="rect">
            <a:avLst/>
          </a:prstGeom>
        </p:spPr>
      </p:pic>
      <p:sp>
        <p:nvSpPr>
          <p:cNvPr id="11" name="ZoneTexte 10">
            <a:extLst>
              <a:ext uri="{FF2B5EF4-FFF2-40B4-BE49-F238E27FC236}">
                <a16:creationId xmlns:a16="http://schemas.microsoft.com/office/drawing/2014/main" id="{87A3D9B3-38AE-1C27-979A-308F5B7B75E5}"/>
              </a:ext>
            </a:extLst>
          </p:cNvPr>
          <p:cNvSpPr txBox="1"/>
          <p:nvPr/>
        </p:nvSpPr>
        <p:spPr>
          <a:xfrm>
            <a:off x="6277120" y="990784"/>
            <a:ext cx="5301855" cy="369332"/>
          </a:xfrm>
          <a:prstGeom prst="rect">
            <a:avLst/>
          </a:prstGeom>
          <a:noFill/>
        </p:spPr>
        <p:txBody>
          <a:bodyPr wrap="square">
            <a:spAutoFit/>
          </a:bodyPr>
          <a:lstStyle/>
          <a:p>
            <a:pPr lvl="0" algn="ctr">
              <a:buClrTx/>
              <a:defRPr/>
            </a:pPr>
            <a:r>
              <a:rPr lang="fr-FR" sz="1800" b="1">
                <a:solidFill>
                  <a:srgbClr val="008080"/>
                </a:solidFill>
              </a:rPr>
              <a:t>Business Support</a:t>
            </a:r>
            <a:endParaRPr kumimoji="0" lang="fr-FR" sz="1800" b="1" i="0" u="none" strike="noStrike" kern="0" cap="none" spc="0" normalizeH="0" baseline="0" noProof="0" dirty="0">
              <a:ln>
                <a:noFill/>
              </a:ln>
              <a:solidFill>
                <a:srgbClr val="008080"/>
              </a:solidFill>
              <a:effectLst/>
              <a:uLnTx/>
              <a:uFillTx/>
              <a:latin typeface="Arial" panose="020B0604020202020204"/>
            </a:endParaRPr>
          </a:p>
        </p:txBody>
      </p:sp>
      <p:pic>
        <p:nvPicPr>
          <p:cNvPr id="15" name="Image 14">
            <a:extLst>
              <a:ext uri="{FF2B5EF4-FFF2-40B4-BE49-F238E27FC236}">
                <a16:creationId xmlns:a16="http://schemas.microsoft.com/office/drawing/2014/main" id="{D1D0A524-A1B3-72EF-D7FF-91D40C49627D}"/>
              </a:ext>
            </a:extLst>
          </p:cNvPr>
          <p:cNvPicPr>
            <a:picLocks noChangeAspect="1"/>
          </p:cNvPicPr>
          <p:nvPr/>
        </p:nvPicPr>
        <p:blipFill rotWithShape="1">
          <a:blip r:embed="rId6">
            <a:clrChange>
              <a:clrFrom>
                <a:srgbClr val="FCFEFF"/>
              </a:clrFrom>
              <a:clrTo>
                <a:srgbClr val="FCFEFF">
                  <a:alpha val="0"/>
                </a:srgbClr>
              </a:clrTo>
            </a:clrChange>
          </a:blip>
          <a:srcRect l="10129" t="12416" r="12239" b="13253"/>
          <a:stretch/>
        </p:blipFill>
        <p:spPr>
          <a:xfrm>
            <a:off x="8069585" y="4587171"/>
            <a:ext cx="1888365" cy="1280045"/>
          </a:xfrm>
          <a:prstGeom prst="rect">
            <a:avLst/>
          </a:prstGeom>
        </p:spPr>
      </p:pic>
      <p:pic>
        <p:nvPicPr>
          <p:cNvPr id="5" name="Picture 6" descr="Voir les détails de l’image associée. Dokumentacja medyczna lekarza stomatologa i rozliczanie świadczeń ...">
            <a:extLst>
              <a:ext uri="{FF2B5EF4-FFF2-40B4-BE49-F238E27FC236}">
                <a16:creationId xmlns:a16="http://schemas.microsoft.com/office/drawing/2014/main" id="{4090D846-DAA9-7AD2-38BA-9750C32F422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86747">
            <a:off x="7620529" y="3462568"/>
            <a:ext cx="1258786" cy="82011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88532C4F-688F-9713-8241-1209B55C8213}"/>
              </a:ext>
            </a:extLst>
          </p:cNvPr>
          <p:cNvSpPr/>
          <p:nvPr/>
        </p:nvSpPr>
        <p:spPr>
          <a:xfrm>
            <a:off x="7434884" y="3074932"/>
            <a:ext cx="1734543" cy="415498"/>
          </a:xfrm>
          <a:prstGeom prst="rect">
            <a:avLst/>
          </a:prstGeom>
          <a:solidFill>
            <a:srgbClr val="99D5D5">
              <a:lumMod val="50000"/>
            </a:srgbClr>
          </a:solid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buClrTx/>
              <a:defRPr/>
            </a:pPr>
            <a:r>
              <a:rPr lang="fr-FR" sz="1050" b="1">
                <a:solidFill>
                  <a:srgbClr val="FFFFFF"/>
                </a:solidFill>
                <a:latin typeface="Arial"/>
              </a:rPr>
              <a:t>TRAINING + CO APPROACH</a:t>
            </a:r>
            <a:endParaRPr kumimoji="0" lang="fr-FR" sz="1050" b="1" i="0" u="none" strike="noStrike" kern="1200" cap="none" spc="0" normalizeH="0" baseline="0" noProof="0" dirty="0">
              <a:ln>
                <a:noFill/>
              </a:ln>
              <a:solidFill>
                <a:srgbClr val="FFFFFF"/>
              </a:solidFill>
              <a:effectLst/>
              <a:uLnTx/>
              <a:uFillTx/>
              <a:latin typeface="Arial"/>
              <a:ea typeface="+mn-ea"/>
              <a:cs typeface="+mn-cs"/>
            </a:endParaRPr>
          </a:p>
        </p:txBody>
      </p:sp>
      <p:pic>
        <p:nvPicPr>
          <p:cNvPr id="10" name="Image 9">
            <a:extLst>
              <a:ext uri="{FF2B5EF4-FFF2-40B4-BE49-F238E27FC236}">
                <a16:creationId xmlns:a16="http://schemas.microsoft.com/office/drawing/2014/main" id="{3B6CC29E-E5DF-6394-0339-B495EABB4B8F}"/>
              </a:ext>
            </a:extLst>
          </p:cNvPr>
          <p:cNvPicPr>
            <a:picLocks noChangeAspect="1"/>
          </p:cNvPicPr>
          <p:nvPr/>
        </p:nvPicPr>
        <p:blipFill>
          <a:blip r:embed="rId8"/>
          <a:srcRect l="8893" t="22236" r="40576" b="18236"/>
          <a:stretch/>
        </p:blipFill>
        <p:spPr>
          <a:xfrm>
            <a:off x="10118871" y="3429000"/>
            <a:ext cx="1301461" cy="855829"/>
          </a:xfrm>
          <a:prstGeom prst="rect">
            <a:avLst/>
          </a:prstGeom>
        </p:spPr>
      </p:pic>
      <p:sp>
        <p:nvSpPr>
          <p:cNvPr id="12" name="Rectangle 11">
            <a:extLst>
              <a:ext uri="{FF2B5EF4-FFF2-40B4-BE49-F238E27FC236}">
                <a16:creationId xmlns:a16="http://schemas.microsoft.com/office/drawing/2014/main" id="{A0424EC2-4F8C-54FF-D9D3-9D1607CC30F8}"/>
              </a:ext>
            </a:extLst>
          </p:cNvPr>
          <p:cNvSpPr/>
          <p:nvPr/>
        </p:nvSpPr>
        <p:spPr>
          <a:xfrm>
            <a:off x="10348754" y="3136078"/>
            <a:ext cx="984565" cy="261610"/>
          </a:xfrm>
          <a:prstGeom prst="rect">
            <a:avLst/>
          </a:prstGeom>
          <a:solidFill>
            <a:srgbClr val="99D5D5">
              <a:lumMod val="50000"/>
            </a:srgbClr>
          </a:solid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buClrTx/>
              <a:defRPr/>
            </a:pPr>
            <a:r>
              <a:rPr lang="fr-FR" sz="1050" b="1">
                <a:solidFill>
                  <a:srgbClr val="FFFFFF"/>
                </a:solidFill>
                <a:latin typeface="Arial"/>
              </a:rPr>
              <a:t>ANIMATION</a:t>
            </a:r>
            <a:endParaRPr kumimoji="0" lang="fr-FR" sz="105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650257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085C04B8-106C-91F0-1F58-04FBDFDB7926}"/>
              </a:ext>
            </a:extLst>
          </p:cNvPr>
          <p:cNvPicPr>
            <a:picLocks noChangeAspect="1"/>
          </p:cNvPicPr>
          <p:nvPr/>
        </p:nvPicPr>
        <p:blipFill>
          <a:blip r:embed="rId2"/>
          <a:stretch>
            <a:fillRect/>
          </a:stretch>
        </p:blipFill>
        <p:spPr>
          <a:xfrm>
            <a:off x="287916" y="1685001"/>
            <a:ext cx="7080843" cy="3665532"/>
          </a:xfrm>
          <a:prstGeom prst="rect">
            <a:avLst/>
          </a:prstGeom>
        </p:spPr>
      </p:pic>
      <p:sp>
        <p:nvSpPr>
          <p:cNvPr id="5" name="Titre 4">
            <a:extLst>
              <a:ext uri="{FF2B5EF4-FFF2-40B4-BE49-F238E27FC236}">
                <a16:creationId xmlns:a16="http://schemas.microsoft.com/office/drawing/2014/main" id="{436D8DDD-ADF5-CA1F-FF3A-892A7BCBB1D3}"/>
              </a:ext>
            </a:extLst>
          </p:cNvPr>
          <p:cNvSpPr txBox="1">
            <a:spLocks/>
          </p:cNvSpPr>
          <p:nvPr/>
        </p:nvSpPr>
        <p:spPr>
          <a:xfrm>
            <a:off x="367302" y="251215"/>
            <a:ext cx="10800000" cy="900000"/>
          </a:xfrm>
          <a:prstGeom prst="rect">
            <a:avLst/>
          </a:prstGeom>
          <a:noFill/>
          <a:ln>
            <a:noFill/>
          </a:ln>
        </p:spPr>
        <p:txBody>
          <a:bodyPr spcFirstLastPara="1" vert="horz" wrap="square" lIns="91425" tIns="45700" rIns="91425" bIns="45700" rtlCol="0" anchor="t" anchorCtr="0">
            <a:normAutofit/>
          </a:bodyPr>
          <a:lstStyle>
            <a:lvl1pPr lvl="0" algn="ctr" defTabSz="914400" rtl="0" eaLnBrk="1" latinLnBrk="0" hangingPunct="1">
              <a:lnSpc>
                <a:spcPct val="85000"/>
              </a:lnSpc>
              <a:spcBef>
                <a:spcPts val="0"/>
              </a:spcBef>
              <a:spcAft>
                <a:spcPts val="0"/>
              </a:spcAft>
              <a:buClr>
                <a:schemeClr val="lt2"/>
              </a:buClr>
              <a:buSzPts val="1800"/>
              <a:buFont typeface="Arial Black"/>
              <a:buNone/>
              <a:defRPr sz="2000" b="1" kern="1200" cap="all" baseline="0">
                <a:solidFill>
                  <a:schemeClr val="bg2"/>
                </a:solidFill>
                <a:latin typeface="+mj-lt"/>
                <a:ea typeface="+mj-ea"/>
                <a:cs typeface="+mj-c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lvl="0" algn="l">
              <a:buClr>
                <a:srgbClr val="009597"/>
              </a:buClr>
              <a:defRPr/>
            </a:pPr>
            <a:r>
              <a:rPr lang="en-US" cap="none">
                <a:solidFill>
                  <a:srgbClr val="017461"/>
                </a:solidFill>
                <a:latin typeface="Calibri" panose="020F0502020204030204" pitchFamily="34" charset="0"/>
                <a:ea typeface="Calibri" panose="020F0502020204030204" pitchFamily="34" charset="0"/>
                <a:cs typeface="Calibri" panose="020F0502020204030204" pitchFamily="34" charset="0"/>
                <a:sym typeface="Figtree Black"/>
              </a:rPr>
              <a:t>HR BANK CONSULTING DIAGNOSTIC TOOL 
Promising results</a:t>
            </a:r>
            <a:endParaRPr kumimoji="0" lang="fr-FR" sz="2000" i="0" u="none" strike="noStrike" kern="1200" cap="all" spc="0" normalizeH="0" baseline="0" noProof="0" dirty="0">
              <a:ln>
                <a:noFill/>
              </a:ln>
              <a:solidFill>
                <a:srgbClr val="707173"/>
              </a:solidFill>
              <a:effectLst/>
              <a:uLnTx/>
              <a:uFillTx/>
              <a:ea typeface="+mj-ea"/>
              <a:cs typeface="+mj-cs"/>
            </a:endParaRPr>
          </a:p>
        </p:txBody>
      </p:sp>
      <p:sp>
        <p:nvSpPr>
          <p:cNvPr id="7" name="ZoneTexte 6">
            <a:extLst>
              <a:ext uri="{FF2B5EF4-FFF2-40B4-BE49-F238E27FC236}">
                <a16:creationId xmlns:a16="http://schemas.microsoft.com/office/drawing/2014/main" id="{690E63C7-AD18-1C39-7D52-07DCBF0B37C2}"/>
              </a:ext>
            </a:extLst>
          </p:cNvPr>
          <p:cNvSpPr txBox="1"/>
          <p:nvPr/>
        </p:nvSpPr>
        <p:spPr>
          <a:xfrm>
            <a:off x="139843" y="1278003"/>
            <a:ext cx="733405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707173">
                    <a:lumMod val="75000"/>
                    <a:lumOff val="25000"/>
                  </a:srgbClr>
                </a:solidFill>
                <a:effectLst/>
                <a:uLnTx/>
                <a:uFillTx/>
                <a:latin typeface="Arial"/>
                <a:ea typeface="+mn-ea"/>
                <a:cs typeface="+mn-cs"/>
              </a:rPr>
              <a:t>Exemple - cas concret : entreprise de 70 salariés (CR NORD DE FRANCE)</a:t>
            </a:r>
          </a:p>
        </p:txBody>
      </p:sp>
      <p:sp>
        <p:nvSpPr>
          <p:cNvPr id="10" name="ZoneTexte 9">
            <a:extLst>
              <a:ext uri="{FF2B5EF4-FFF2-40B4-BE49-F238E27FC236}">
                <a16:creationId xmlns:a16="http://schemas.microsoft.com/office/drawing/2014/main" id="{E9DBCACA-09D6-DA99-36CA-7B26D19CDBC9}"/>
              </a:ext>
            </a:extLst>
          </p:cNvPr>
          <p:cNvSpPr txBox="1"/>
          <p:nvPr/>
        </p:nvSpPr>
        <p:spPr>
          <a:xfrm>
            <a:off x="7704813" y="2808018"/>
            <a:ext cx="4307618" cy="1877437"/>
          </a:xfrm>
          <a:prstGeom prst="rect">
            <a:avLst/>
          </a:prstGeom>
          <a:solidFill>
            <a:srgbClr val="E3F3E8"/>
          </a:solidFill>
        </p:spPr>
        <p:txBody>
          <a:bodyPr wrap="square">
            <a:spAutoFit/>
          </a:bodyPr>
          <a:lstStyle/>
          <a:p>
            <a:pPr lvl="0">
              <a:spcBef>
                <a:spcPts val="600"/>
              </a:spcBef>
              <a:buClrTx/>
              <a:defRPr/>
            </a:pPr>
            <a:r>
              <a:rPr lang="en-US" sz="1200" b="1" i="1">
                <a:solidFill>
                  <a:srgbClr val="468E87"/>
                </a:solidFill>
                <a:ea typeface="Aptos" panose="020B0004020202020204" pitchFamily="34" charset="0"/>
                <a:cs typeface="+mn-cs"/>
              </a:rPr>
              <a:t>In our example 
  Detection of 2 opportunities:
HEALTH and PROTECTION: currently at SWISSLIFE but willing to switch to the CAA
EMPLOYEE BENEFITS: meal vouchers, gift vouchers and fuel vouchers for passage to WORKLIFE
VALUE SHARING/EMPLOYEE SAVINGS: the client wishes to stay at the CIC</a:t>
            </a:r>
            <a:endParaRPr kumimoji="0" lang="fr-FR" sz="1200" b="0" i="1" u="none" strike="noStrike" kern="0" cap="none" spc="0" normalizeH="0" baseline="0" noProof="0" dirty="0">
              <a:ln>
                <a:noFill/>
              </a:ln>
              <a:solidFill>
                <a:srgbClr val="468E87"/>
              </a:solidFill>
              <a:effectLst/>
              <a:uLnTx/>
              <a:uFillTx/>
              <a:latin typeface="Arial"/>
              <a:ea typeface="Aptos" panose="020B0004020202020204" pitchFamily="34" charset="0"/>
              <a:cs typeface="+mn-cs"/>
            </a:endParaRPr>
          </a:p>
        </p:txBody>
      </p:sp>
      <p:pic>
        <p:nvPicPr>
          <p:cNvPr id="11" name="Graphique 10" descr="Retour avec un remplissage uni">
            <a:extLst>
              <a:ext uri="{FF2B5EF4-FFF2-40B4-BE49-F238E27FC236}">
                <a16:creationId xmlns:a16="http://schemas.microsoft.com/office/drawing/2014/main" id="{4833FDCC-7FAF-E26F-A638-410BFC7503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flipH="1">
            <a:off x="6451760" y="2780501"/>
            <a:ext cx="1249849" cy="1249849"/>
          </a:xfrm>
          <a:prstGeom prst="rect">
            <a:avLst/>
          </a:prstGeom>
          <a:effectLst/>
        </p:spPr>
      </p:pic>
      <p:pic>
        <p:nvPicPr>
          <p:cNvPr id="16" name="Image 15">
            <a:extLst>
              <a:ext uri="{FF2B5EF4-FFF2-40B4-BE49-F238E27FC236}">
                <a16:creationId xmlns:a16="http://schemas.microsoft.com/office/drawing/2014/main" id="{B9B9969A-6BDA-50AF-F1E1-1E55BA008061}"/>
              </a:ext>
            </a:extLst>
          </p:cNvPr>
          <p:cNvPicPr>
            <a:picLocks noChangeAspect="1"/>
          </p:cNvPicPr>
          <p:nvPr/>
        </p:nvPicPr>
        <p:blipFill>
          <a:blip r:embed="rId5"/>
          <a:srcRect l="67450" t="27225" r="4560" b="46026"/>
          <a:stretch/>
        </p:blipFill>
        <p:spPr>
          <a:xfrm>
            <a:off x="2672384" y="5804728"/>
            <a:ext cx="1757173" cy="944598"/>
          </a:xfrm>
          <a:prstGeom prst="rect">
            <a:avLst/>
          </a:prstGeom>
        </p:spPr>
      </p:pic>
      <p:sp>
        <p:nvSpPr>
          <p:cNvPr id="14" name="Bulle narrative : rectangle à coins arrondis 13">
            <a:extLst>
              <a:ext uri="{FF2B5EF4-FFF2-40B4-BE49-F238E27FC236}">
                <a16:creationId xmlns:a16="http://schemas.microsoft.com/office/drawing/2014/main" id="{C6757AFD-6E28-6054-78D6-1843435440F4}"/>
              </a:ext>
            </a:extLst>
          </p:cNvPr>
          <p:cNvSpPr/>
          <p:nvPr/>
        </p:nvSpPr>
        <p:spPr>
          <a:xfrm>
            <a:off x="139843" y="5934827"/>
            <a:ext cx="2403567" cy="814499"/>
          </a:xfrm>
          <a:prstGeom prst="wedgeRoundRectCallout">
            <a:avLst>
              <a:gd name="adj1" fmla="val 69293"/>
              <a:gd name="adj2" fmla="val -1663"/>
              <a:gd name="adj3" fmla="val 16667"/>
            </a:avLst>
          </a:prstGeom>
          <a:solidFill>
            <a:srgbClr val="0074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buClrTx/>
              <a:defRPr/>
            </a:pPr>
            <a:r>
              <a:rPr lang="en-US" sz="1400" i="1" kern="1200">
                <a:solidFill>
                  <a:srgbClr val="FFFFFF"/>
                </a:solidFill>
                <a:latin typeface="Arial" panose="020B0604020202020204" pitchFamily="34" charset="0"/>
                <a:cs typeface="Arial" panose="020B0604020202020204" pitchFamily="34" charset="0"/>
              </a:rPr>
              <a:t>A simple and practical tool to support a consulting approach</a:t>
            </a:r>
            <a:endParaRPr kumimoji="0" lang="fr-FR" sz="14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ZoneTexte 14">
            <a:extLst>
              <a:ext uri="{FF2B5EF4-FFF2-40B4-BE49-F238E27FC236}">
                <a16:creationId xmlns:a16="http://schemas.microsoft.com/office/drawing/2014/main" id="{D59A4943-5C89-06B3-2C47-CEB7F04B62B7}"/>
              </a:ext>
            </a:extLst>
          </p:cNvPr>
          <p:cNvSpPr txBox="1"/>
          <p:nvPr/>
        </p:nvSpPr>
        <p:spPr>
          <a:xfrm>
            <a:off x="442611" y="5382341"/>
            <a:ext cx="3568605" cy="353943"/>
          </a:xfrm>
          <a:prstGeom prst="rect">
            <a:avLst/>
          </a:prstGeom>
          <a:noFill/>
        </p:spPr>
        <p:txBody>
          <a:bodyPr wrap="none" rtlCol="0">
            <a:spAutoFit/>
          </a:bodyPr>
          <a:lstStyle/>
          <a:p>
            <a:pPr lvl="0" algn="ctr">
              <a:buClrTx/>
              <a:defRPr/>
            </a:pPr>
            <a:r>
              <a:rPr lang="en-US" sz="1700" b="1" kern="1200">
                <a:solidFill>
                  <a:srgbClr val="007461"/>
                </a:solidFill>
                <a:ea typeface="+mn-ea"/>
                <a:cs typeface="+mn-cs"/>
              </a:rPr>
              <a:t>What the project managers think</a:t>
            </a:r>
            <a:endParaRPr kumimoji="0" lang="fr-FR" sz="1700" b="1" i="0" u="none" strike="noStrike" kern="1200" cap="none" spc="0" normalizeH="0" baseline="0" noProof="0" dirty="0">
              <a:ln>
                <a:noFill/>
              </a:ln>
              <a:solidFill>
                <a:srgbClr val="007461"/>
              </a:solidFill>
              <a:effectLst/>
              <a:uLnTx/>
              <a:uFillTx/>
              <a:latin typeface="Arial"/>
              <a:ea typeface="+mn-ea"/>
              <a:cs typeface="+mn-cs"/>
            </a:endParaRPr>
          </a:p>
        </p:txBody>
      </p:sp>
      <p:pic>
        <p:nvPicPr>
          <p:cNvPr id="17" name="Image 16">
            <a:extLst>
              <a:ext uri="{FF2B5EF4-FFF2-40B4-BE49-F238E27FC236}">
                <a16:creationId xmlns:a16="http://schemas.microsoft.com/office/drawing/2014/main" id="{47587E35-C906-BD4C-DAC2-0CD828A45F1D}"/>
              </a:ext>
            </a:extLst>
          </p:cNvPr>
          <p:cNvPicPr>
            <a:picLocks noChangeAspect="1"/>
          </p:cNvPicPr>
          <p:nvPr/>
        </p:nvPicPr>
        <p:blipFill>
          <a:blip r:embed="rId5"/>
          <a:srcRect l="34030" t="58612" r="34233" b="10858"/>
          <a:stretch/>
        </p:blipFill>
        <p:spPr>
          <a:xfrm>
            <a:off x="4606446" y="5804728"/>
            <a:ext cx="1757173" cy="950799"/>
          </a:xfrm>
          <a:prstGeom prst="rect">
            <a:avLst/>
          </a:prstGeom>
        </p:spPr>
      </p:pic>
      <p:sp>
        <p:nvSpPr>
          <p:cNvPr id="18" name="Bulle narrative : rectangle à coins arrondis 17">
            <a:extLst>
              <a:ext uri="{FF2B5EF4-FFF2-40B4-BE49-F238E27FC236}">
                <a16:creationId xmlns:a16="http://schemas.microsoft.com/office/drawing/2014/main" id="{51108868-999F-C23B-AF50-F8572F5320A7}"/>
              </a:ext>
            </a:extLst>
          </p:cNvPr>
          <p:cNvSpPr/>
          <p:nvPr/>
        </p:nvSpPr>
        <p:spPr>
          <a:xfrm>
            <a:off x="6382149" y="5803608"/>
            <a:ext cx="1864048" cy="951919"/>
          </a:xfrm>
          <a:prstGeom prst="wedgeRoundRectCallout">
            <a:avLst>
              <a:gd name="adj1" fmla="val -64522"/>
              <a:gd name="adj2" fmla="val 21749"/>
              <a:gd name="adj3" fmla="val 16667"/>
            </a:avLst>
          </a:prstGeom>
          <a:solidFill>
            <a:srgbClr val="0074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buClrTx/>
              <a:defRPr/>
            </a:pPr>
            <a:r>
              <a:rPr lang="en-US" sz="1400" i="1" kern="1200">
                <a:solidFill>
                  <a:srgbClr val="FFFFFF"/>
                </a:solidFill>
                <a:latin typeface="Arial" panose="020B0604020202020204" pitchFamily="34" charset="0"/>
                <a:cs typeface="Arial" panose="020B0604020202020204" pitchFamily="34" charset="0"/>
              </a:rPr>
              <a:t>It provides a synthetic vision of the BANQUE DES RH offer</a:t>
            </a:r>
            <a:endParaRPr kumimoji="0" lang="fr-FR" sz="14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9" name="Image 18">
            <a:extLst>
              <a:ext uri="{FF2B5EF4-FFF2-40B4-BE49-F238E27FC236}">
                <a16:creationId xmlns:a16="http://schemas.microsoft.com/office/drawing/2014/main" id="{4051C8D8-36E9-89B9-3FD8-A38DC441BFE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rcRect l="67450" t="56720" r="5648" b="12776"/>
          <a:stretch/>
        </p:blipFill>
        <p:spPr>
          <a:xfrm>
            <a:off x="8359706" y="5803607"/>
            <a:ext cx="1538266" cy="981111"/>
          </a:xfrm>
          <a:prstGeom prst="rect">
            <a:avLst/>
          </a:prstGeom>
        </p:spPr>
      </p:pic>
      <p:sp>
        <p:nvSpPr>
          <p:cNvPr id="20" name="Bulle narrative : rectangle à coins arrondis 19">
            <a:extLst>
              <a:ext uri="{FF2B5EF4-FFF2-40B4-BE49-F238E27FC236}">
                <a16:creationId xmlns:a16="http://schemas.microsoft.com/office/drawing/2014/main" id="{3635774E-1A21-5BAC-D49B-642FE1C767D9}"/>
              </a:ext>
            </a:extLst>
          </p:cNvPr>
          <p:cNvSpPr/>
          <p:nvPr/>
        </p:nvSpPr>
        <p:spPr>
          <a:xfrm>
            <a:off x="9979365" y="5741026"/>
            <a:ext cx="2072792" cy="1043692"/>
          </a:xfrm>
          <a:prstGeom prst="wedgeRoundRectCallout">
            <a:avLst>
              <a:gd name="adj1" fmla="val -70653"/>
              <a:gd name="adj2" fmla="val 28867"/>
              <a:gd name="adj3" fmla="val 16667"/>
            </a:avLst>
          </a:prstGeom>
          <a:solidFill>
            <a:srgbClr val="0074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buClrTx/>
              <a:defRPr/>
            </a:pPr>
            <a:r>
              <a:rPr lang="en-US" sz="1400" i="1" kern="1200">
                <a:solidFill>
                  <a:srgbClr val="FFFFFF"/>
                </a:solidFill>
                <a:latin typeface="Arial" panose="020B0604020202020204" pitchFamily="34" charset="0"/>
                <a:cs typeface="Arial" panose="020B0604020202020204" pitchFamily="34" charset="0"/>
              </a:rPr>
              <a:t>A tool to collect customer data and provide it to experts</a:t>
            </a:r>
            <a:endParaRPr kumimoji="0" lang="fr-FR" sz="14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63AA2A7C-B045-CD64-6D89-562AF108293B}"/>
              </a:ext>
            </a:extLst>
          </p:cNvPr>
          <p:cNvSpPr/>
          <p:nvPr/>
        </p:nvSpPr>
        <p:spPr>
          <a:xfrm>
            <a:off x="514350" y="2157413"/>
            <a:ext cx="485775" cy="8572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ZoneTexte 5">
            <a:extLst>
              <a:ext uri="{FF2B5EF4-FFF2-40B4-BE49-F238E27FC236}">
                <a16:creationId xmlns:a16="http://schemas.microsoft.com/office/drawing/2014/main" id="{D21ACEAC-AC68-4C5B-8E82-435BC6B27411}"/>
              </a:ext>
            </a:extLst>
          </p:cNvPr>
          <p:cNvSpPr txBox="1"/>
          <p:nvPr/>
        </p:nvSpPr>
        <p:spPr>
          <a:xfrm>
            <a:off x="4316589" y="5374646"/>
            <a:ext cx="121729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707173"/>
                </a:solidFill>
                <a:effectLst/>
                <a:uLnTx/>
                <a:uFillTx/>
                <a:latin typeface="Arial Nova Light" panose="020B0304020202020204" pitchFamily="34" charset="0"/>
                <a:ea typeface="Aptos" panose="020B0004020202020204" pitchFamily="34" charset="0"/>
                <a:cs typeface="Aptos" panose="020B0004020202020204" pitchFamily="34" charset="0"/>
              </a:rPr>
              <a:t>Vidéo: </a:t>
            </a:r>
            <a:r>
              <a:rPr kumimoji="0" lang="fr-FR" sz="1800" b="1" i="0" u="sng" strike="noStrike" kern="1200" cap="none" spc="0" normalizeH="0" baseline="0" noProof="0" dirty="0">
                <a:ln>
                  <a:noFill/>
                </a:ln>
                <a:solidFill>
                  <a:srgbClr val="467886"/>
                </a:solidFill>
                <a:effectLst/>
                <a:uLnTx/>
                <a:uFillTx/>
                <a:latin typeface="Arial Nova Light" panose="020B0304020202020204" pitchFamily="34" charset="0"/>
                <a:ea typeface="Aptos" panose="020B0004020202020204" pitchFamily="34" charset="0"/>
                <a:cs typeface="Aptos" panose="020B0004020202020204" pitchFamily="34" charset="0"/>
                <a:hlinkClick r:id="rId8"/>
              </a:rPr>
              <a:t>OUTIL DIAG CONSEIL BRH novembre 2025</a:t>
            </a:r>
            <a:endParaRPr kumimoji="0" lang="fr-FR" sz="1800" b="0" i="0" u="none" strike="noStrike" kern="1200" cap="none" spc="0" normalizeH="0" baseline="0" noProof="0" dirty="0">
              <a:ln>
                <a:noFill/>
              </a:ln>
              <a:solidFill>
                <a:srgbClr val="707173"/>
              </a:solidFill>
              <a:effectLst/>
              <a:uLnTx/>
              <a:uFillTx/>
              <a:latin typeface="Aptos" panose="020B0004020202020204" pitchFamily="34" charset="0"/>
              <a:ea typeface="Aptos" panose="020B0004020202020204" pitchFamily="34" charset="0"/>
              <a:cs typeface="Aptos" panose="020B0004020202020204" pitchFamily="34" charset="0"/>
            </a:endParaRPr>
          </a:p>
        </p:txBody>
      </p:sp>
      <p:sp>
        <p:nvSpPr>
          <p:cNvPr id="2" name="ZoneTexte 1">
            <a:extLst>
              <a:ext uri="{FF2B5EF4-FFF2-40B4-BE49-F238E27FC236}">
                <a16:creationId xmlns:a16="http://schemas.microsoft.com/office/drawing/2014/main" id="{028F31E2-C3F7-1456-387A-2B37A9457695}"/>
              </a:ext>
            </a:extLst>
          </p:cNvPr>
          <p:cNvSpPr txBox="1"/>
          <p:nvPr/>
        </p:nvSpPr>
        <p:spPr>
          <a:xfrm>
            <a:off x="8359706" y="1493537"/>
            <a:ext cx="2855718"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707173"/>
                </a:solidFill>
                <a:effectLst/>
                <a:uLnTx/>
                <a:uFillTx/>
                <a:latin typeface="Calibri" panose="020F0502020204030204" pitchFamily="34" charset="0"/>
                <a:ea typeface="Aptos" panose="020B0004020202020204" pitchFamily="34" charset="0"/>
                <a:cs typeface="+mn-cs"/>
              </a:rPr>
              <a:t> VIDEO DEMO OUT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sng" strike="noStrike" kern="1200" cap="none" spc="0" normalizeH="0" baseline="0" noProof="0" dirty="0">
                <a:ln>
                  <a:noFill/>
                </a:ln>
                <a:solidFill>
                  <a:srgbClr val="0563C1"/>
                </a:solidFill>
                <a:effectLst/>
                <a:uLnTx/>
                <a:uFillTx/>
                <a:latin typeface="Calibri" panose="020F0502020204030204" pitchFamily="34" charset="0"/>
                <a:ea typeface="Aptos" panose="020B0004020202020204" pitchFamily="34" charset="0"/>
                <a:cs typeface="+mn-cs"/>
                <a:hlinkClick r:id="rId9"/>
              </a:rPr>
              <a:t>https://bcove.video/4l4a9sA</a:t>
            </a:r>
            <a:endParaRPr kumimoji="0" lang="fr-FR" sz="1800" b="0" i="0" u="none" strike="noStrike" kern="1200" cap="none" spc="0" normalizeH="0" baseline="0" noProof="0" dirty="0">
              <a:ln>
                <a:noFill/>
              </a:ln>
              <a:solidFill>
                <a:srgbClr val="C00000"/>
              </a:solidFill>
              <a:effectLst/>
              <a:uLnTx/>
              <a:uFillTx/>
              <a:latin typeface="Arial"/>
              <a:ea typeface="+mn-ea"/>
              <a:cs typeface="+mn-cs"/>
            </a:endParaRPr>
          </a:p>
        </p:txBody>
      </p:sp>
      <p:sp>
        <p:nvSpPr>
          <p:cNvPr id="4" name="ZoneTexte 3">
            <a:extLst>
              <a:ext uri="{FF2B5EF4-FFF2-40B4-BE49-F238E27FC236}">
                <a16:creationId xmlns:a16="http://schemas.microsoft.com/office/drawing/2014/main" id="{D0A41B00-B94A-1ACA-34F6-E188D4BBA2C3}"/>
              </a:ext>
            </a:extLst>
          </p:cNvPr>
          <p:cNvSpPr txBox="1"/>
          <p:nvPr/>
        </p:nvSpPr>
        <p:spPr>
          <a:xfrm>
            <a:off x="7410230" y="940502"/>
            <a:ext cx="4890376" cy="523220"/>
          </a:xfrm>
          <a:prstGeom prst="rect">
            <a:avLst/>
          </a:prstGeom>
          <a:noFill/>
        </p:spPr>
        <p:txBody>
          <a:bodyPr wrap="square">
            <a:spAutoFit/>
          </a:bodyPr>
          <a:lstStyle/>
          <a:p>
            <a:pPr lvl="0" algn="ctr">
              <a:buClrTx/>
              <a:defRPr/>
            </a:pPr>
            <a:r>
              <a:rPr lang="en-US" sz="1400" b="1" kern="1200" cap="all">
                <a:solidFill>
                  <a:srgbClr val="707173">
                    <a:lumMod val="50000"/>
                  </a:srgbClr>
                </a:solidFill>
                <a:latin typeface="Arial Black"/>
                <a:ea typeface="Arial Black"/>
                <a:cs typeface="Arial Black"/>
                <a:sym typeface="Arial Black"/>
              </a:rPr>
              <a:t>A 360° STRUCTURED approach to guide you and make your life easier</a:t>
            </a:r>
            <a:endParaRPr kumimoji="0" lang="fr-FR" sz="1400" b="0" i="0" u="none" strike="noStrike" kern="1200" cap="none" spc="0" normalizeH="0" baseline="0" noProof="0" dirty="0">
              <a:ln>
                <a:noFill/>
              </a:ln>
              <a:solidFill>
                <a:srgbClr val="707173">
                  <a:lumMod val="50000"/>
                </a:srgbClr>
              </a:solidFill>
              <a:effectLst/>
              <a:uLnTx/>
              <a:uFillTx/>
              <a:latin typeface="Arial"/>
              <a:ea typeface="+mn-ea"/>
              <a:cs typeface="+mn-cs"/>
            </a:endParaRPr>
          </a:p>
        </p:txBody>
      </p:sp>
    </p:spTree>
    <p:extLst>
      <p:ext uri="{BB962C8B-B14F-4D97-AF65-F5344CB8AC3E}">
        <p14:creationId xmlns:p14="http://schemas.microsoft.com/office/powerpoint/2010/main" val="28349834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E2B4EB-7E31-3B89-19AC-D12656FF5874}"/>
              </a:ext>
            </a:extLst>
          </p:cNvPr>
          <p:cNvSpPr>
            <a:spLocks noGrp="1"/>
          </p:cNvSpPr>
          <p:nvPr>
            <p:ph type="title"/>
          </p:nvPr>
        </p:nvSpPr>
        <p:spPr>
          <a:xfrm>
            <a:off x="0" y="68580"/>
            <a:ext cx="12201100" cy="565368"/>
          </a:xfrm>
        </p:spPr>
        <p:txBody>
          <a:bodyPr>
            <a:noAutofit/>
          </a:bodyPr>
          <a:lstStyle/>
          <a:p>
            <a:r>
              <a:rPr lang="en-US"/>
              <a:t>Ambitious objectives to strengthen our position as a leading player in the Entrepreneurs market and to differentiate ourselves from the competition</a:t>
            </a:r>
            <a:endParaRPr lang="fr-FR" dirty="0"/>
          </a:p>
        </p:txBody>
      </p:sp>
      <p:pic>
        <p:nvPicPr>
          <p:cNvPr id="3" name="Image 2">
            <a:extLst>
              <a:ext uri="{FF2B5EF4-FFF2-40B4-BE49-F238E27FC236}">
                <a16:creationId xmlns:a16="http://schemas.microsoft.com/office/drawing/2014/main" id="{F4ABF276-9109-CABA-3DC9-66C23EB74774}"/>
              </a:ext>
            </a:extLst>
          </p:cNvPr>
          <p:cNvPicPr>
            <a:picLocks noChangeAspect="1"/>
          </p:cNvPicPr>
          <p:nvPr/>
        </p:nvPicPr>
        <p:blipFill>
          <a:blip r:embed="rId2"/>
          <a:stretch>
            <a:fillRect/>
          </a:stretch>
        </p:blipFill>
        <p:spPr>
          <a:xfrm>
            <a:off x="107878" y="850091"/>
            <a:ext cx="613822" cy="613822"/>
          </a:xfrm>
          <a:prstGeom prst="rect">
            <a:avLst/>
          </a:prstGeom>
        </p:spPr>
      </p:pic>
      <p:sp>
        <p:nvSpPr>
          <p:cNvPr id="4" name="Rectangle : coins arrondis 3">
            <a:extLst>
              <a:ext uri="{FF2B5EF4-FFF2-40B4-BE49-F238E27FC236}">
                <a16:creationId xmlns:a16="http://schemas.microsoft.com/office/drawing/2014/main" id="{24C5DBFF-33F8-5BDE-6A0B-070E193F02F3}"/>
              </a:ext>
            </a:extLst>
          </p:cNvPr>
          <p:cNvSpPr/>
          <p:nvPr/>
        </p:nvSpPr>
        <p:spPr>
          <a:xfrm>
            <a:off x="842570" y="1020620"/>
            <a:ext cx="6276401" cy="408623"/>
          </a:xfrm>
          <a:prstGeom prst="roundRect">
            <a:avLst/>
          </a:prstGeom>
          <a:solidFill>
            <a:srgbClr val="99CC00"/>
          </a:solidFill>
        </p:spPr>
        <p:txBody>
          <a:bodyPr wrap="square" rtlCol="0">
            <a:spAutoFit/>
          </a:bodyPr>
          <a:lstStyle/>
          <a:p>
            <a:pPr algn="ctr"/>
            <a:r>
              <a:rPr lang="en-US" sz="1800" b="1">
                <a:solidFill>
                  <a:schemeClr val="bg1"/>
                </a:solidFill>
              </a:rPr>
              <a:t>Generate €22 million in additional NBI by 2030</a:t>
            </a:r>
            <a:endParaRPr lang="fr-FR" sz="1800" b="1" dirty="0">
              <a:solidFill>
                <a:schemeClr val="bg1"/>
              </a:solidFill>
            </a:endParaRPr>
          </a:p>
        </p:txBody>
      </p:sp>
      <p:sp>
        <p:nvSpPr>
          <p:cNvPr id="5" name="Rectangle : coins arrondis 4">
            <a:extLst>
              <a:ext uri="{FF2B5EF4-FFF2-40B4-BE49-F238E27FC236}">
                <a16:creationId xmlns:a16="http://schemas.microsoft.com/office/drawing/2014/main" id="{0EACF5DA-A6FB-14C0-CE5E-3A2FCE953E42}"/>
              </a:ext>
            </a:extLst>
          </p:cNvPr>
          <p:cNvSpPr/>
          <p:nvPr/>
        </p:nvSpPr>
        <p:spPr>
          <a:xfrm>
            <a:off x="842570" y="1669288"/>
            <a:ext cx="6276400" cy="626724"/>
          </a:xfrm>
          <a:prstGeom prst="roundRect">
            <a:avLst/>
          </a:prstGeom>
          <a:solidFill>
            <a:srgbClr val="009597"/>
          </a:solidFill>
          <a:ln w="12700" cap="flat" cmpd="sng" algn="ctr">
            <a:noFill/>
            <a:prstDash val="solid"/>
            <a:miter lim="800000"/>
          </a:ln>
          <a:effectLst/>
        </p:spPr>
        <p:txBody>
          <a:bodyPr rtlCol="0" anchor="ctr"/>
          <a:lstStyle/>
          <a:p>
            <a:pPr lvl="0" algn="ctr">
              <a:buClrTx/>
              <a:defRPr/>
            </a:pPr>
            <a:r>
              <a:rPr lang="en-US" sz="1600" b="1">
                <a:solidFill>
                  <a:srgbClr val="FFFFFF"/>
                </a:solidFill>
                <a:ea typeface="+mn-ea"/>
                <a:cs typeface="+mn-cs"/>
              </a:rPr>
              <a:t>Double our rate of employee savings and retirement savings (Reach 20%, i.e. 7,000 contracts/year)</a:t>
            </a:r>
            <a:endParaRPr kumimoji="0" lang="fr-FR" sz="1100" b="0" i="0" u="none" strike="noStrike" kern="0" cap="none" spc="0" normalizeH="0" baseline="0" noProof="0" dirty="0">
              <a:ln>
                <a:noFill/>
              </a:ln>
              <a:solidFill>
                <a:srgbClr val="FFFFFF"/>
              </a:solidFill>
              <a:effectLst/>
              <a:uLnTx/>
              <a:uFillTx/>
              <a:latin typeface="Arial"/>
              <a:ea typeface="+mn-ea"/>
              <a:cs typeface="+mn-cs"/>
            </a:endParaRPr>
          </a:p>
        </p:txBody>
      </p:sp>
      <p:sp>
        <p:nvSpPr>
          <p:cNvPr id="6" name="Rectangle : coins arrondis 5">
            <a:extLst>
              <a:ext uri="{FF2B5EF4-FFF2-40B4-BE49-F238E27FC236}">
                <a16:creationId xmlns:a16="http://schemas.microsoft.com/office/drawing/2014/main" id="{6678FB00-FB98-6106-BAD0-A33463EB1E40}"/>
              </a:ext>
            </a:extLst>
          </p:cNvPr>
          <p:cNvSpPr/>
          <p:nvPr/>
        </p:nvSpPr>
        <p:spPr>
          <a:xfrm>
            <a:off x="842571" y="2482715"/>
            <a:ext cx="6276400" cy="626725"/>
          </a:xfrm>
          <a:prstGeom prst="roundRect">
            <a:avLst/>
          </a:prstGeom>
          <a:solidFill>
            <a:srgbClr val="009597"/>
          </a:solidFill>
          <a:ln w="12700" cap="flat" cmpd="sng" algn="ctr">
            <a:noFill/>
            <a:prstDash val="solid"/>
            <a:miter lim="800000"/>
          </a:ln>
          <a:effectLst/>
        </p:spPr>
        <p:txBody>
          <a:bodyPr rtlCol="0" anchor="ctr"/>
          <a:lstStyle/>
          <a:p>
            <a:pPr lvl="0" algn="ctr">
              <a:buClrTx/>
              <a:defRPr/>
            </a:pPr>
            <a:r>
              <a:rPr lang="en-US" sz="1600" b="1">
                <a:solidFill>
                  <a:srgbClr val="FFFFFF"/>
                </a:solidFill>
                <a:ea typeface="+mn-ea"/>
                <a:cs typeface="+mn-cs"/>
              </a:rPr>
              <a:t>Earn 3 equipment points/year in Health &amp; Group Prev 
(Reach 10%)</a:t>
            </a:r>
            <a:endParaRPr kumimoji="0" lang="fr-FR" sz="1100" b="0" i="0" u="none" strike="noStrike" kern="0" cap="none" spc="0" normalizeH="0" baseline="0" noProof="0" dirty="0">
              <a:ln>
                <a:noFill/>
              </a:ln>
              <a:solidFill>
                <a:srgbClr val="FFFFFF"/>
              </a:solidFill>
              <a:effectLst/>
              <a:uLnTx/>
              <a:uFillTx/>
              <a:latin typeface="Arial"/>
              <a:ea typeface="+mn-ea"/>
              <a:cs typeface="+mn-cs"/>
            </a:endParaRPr>
          </a:p>
        </p:txBody>
      </p:sp>
      <p:sp>
        <p:nvSpPr>
          <p:cNvPr id="7" name="Rectangle : coins arrondis 6">
            <a:extLst>
              <a:ext uri="{FF2B5EF4-FFF2-40B4-BE49-F238E27FC236}">
                <a16:creationId xmlns:a16="http://schemas.microsoft.com/office/drawing/2014/main" id="{E60C8844-8924-000A-52AF-24CFF9D278E7}"/>
              </a:ext>
            </a:extLst>
          </p:cNvPr>
          <p:cNvSpPr/>
          <p:nvPr/>
        </p:nvSpPr>
        <p:spPr>
          <a:xfrm>
            <a:off x="842571" y="3343503"/>
            <a:ext cx="6276399" cy="626724"/>
          </a:xfrm>
          <a:prstGeom prst="roundRect">
            <a:avLst/>
          </a:prstGeom>
          <a:solidFill>
            <a:srgbClr val="009597"/>
          </a:solidFill>
          <a:ln w="12700" cap="flat" cmpd="sng" algn="ctr">
            <a:noFill/>
            <a:prstDash val="solid"/>
            <a:miter lim="800000"/>
          </a:ln>
          <a:effectLst/>
        </p:spPr>
        <p:txBody>
          <a:bodyPr rtlCol="0" anchor="ctr"/>
          <a:lstStyle/>
          <a:p>
            <a:pPr lvl="0" algn="ctr">
              <a:buClrTx/>
              <a:defRPr/>
            </a:pPr>
            <a:r>
              <a:rPr lang="en-US" sz="1600" b="1">
                <a:solidFill>
                  <a:srgbClr val="FFFFFF"/>
                </a:solidFill>
              </a:rPr>
              <a:t>Launch Worklife solutions on the priority target 
(-&gt; Encryption in progress)</a:t>
            </a:r>
            <a:endParaRPr lang="fr-FR" sz="1100" b="1" kern="0" dirty="0">
              <a:solidFill>
                <a:srgbClr val="FFFFFF"/>
              </a:solidFill>
              <a:latin typeface="Arial"/>
            </a:endParaRPr>
          </a:p>
        </p:txBody>
      </p:sp>
      <p:sp>
        <p:nvSpPr>
          <p:cNvPr id="8" name="ZoneTexte 7">
            <a:extLst>
              <a:ext uri="{FF2B5EF4-FFF2-40B4-BE49-F238E27FC236}">
                <a16:creationId xmlns:a16="http://schemas.microsoft.com/office/drawing/2014/main" id="{981F75DD-C897-13BF-1970-B6469F31DB68}"/>
              </a:ext>
            </a:extLst>
          </p:cNvPr>
          <p:cNvSpPr txBox="1"/>
          <p:nvPr/>
        </p:nvSpPr>
        <p:spPr>
          <a:xfrm>
            <a:off x="644225" y="4407278"/>
            <a:ext cx="11100735" cy="1692771"/>
          </a:xfrm>
          <a:prstGeom prst="rect">
            <a:avLst/>
          </a:prstGeom>
          <a:noFill/>
        </p:spPr>
        <p:txBody>
          <a:bodyPr wrap="square" rtlCol="0">
            <a:spAutoFit/>
          </a:bodyPr>
          <a:lstStyle/>
          <a:p>
            <a:r>
              <a:rPr lang="en-US" sz="1800" b="1" dirty="0"/>
              <a:t>Time 2 in the Medium Term: </a:t>
            </a:r>
            <a:r>
              <a:rPr lang="en-US" sz="1800" dirty="0"/>
              <a:t>
Industrialize the approach in digital territories and the field of embedded finance to extend the approach to all pro-employers
 </a:t>
            </a:r>
            <a:r>
              <a:rPr lang="en-US" sz="1600" dirty="0"/>
              <a:t>Carry out a reflection with the business lines to industrialize the BRH Pro by creating progressive packaged offers to meet the needs of our 242,000 entrepreneurs from 1 to 10 employees in an industrial way (digitalization, capitalizing on digital tools that are still little used such as the ELS)</a:t>
            </a:r>
            <a:endParaRPr lang="fr-FR" sz="1400" dirty="0"/>
          </a:p>
        </p:txBody>
      </p:sp>
      <p:sp>
        <p:nvSpPr>
          <p:cNvPr id="9" name="Rectangle : coins arrondis 8">
            <a:extLst>
              <a:ext uri="{FF2B5EF4-FFF2-40B4-BE49-F238E27FC236}">
                <a16:creationId xmlns:a16="http://schemas.microsoft.com/office/drawing/2014/main" id="{CE40AB1E-8EBD-44C8-7DB9-0A8063CFFDE8}"/>
              </a:ext>
            </a:extLst>
          </p:cNvPr>
          <p:cNvSpPr/>
          <p:nvPr/>
        </p:nvSpPr>
        <p:spPr>
          <a:xfrm>
            <a:off x="7801777" y="1020620"/>
            <a:ext cx="3785667" cy="408623"/>
          </a:xfrm>
          <a:prstGeom prst="roundRect">
            <a:avLst/>
          </a:prstGeom>
          <a:solidFill>
            <a:schemeClr val="bg1"/>
          </a:solidFill>
          <a:ln w="28575">
            <a:solidFill>
              <a:srgbClr val="99CC00"/>
            </a:solidFill>
          </a:ln>
        </p:spPr>
        <p:txBody>
          <a:bodyPr wrap="square" rtlCol="0">
            <a:spAutoFit/>
          </a:bodyPr>
          <a:lstStyle/>
          <a:p>
            <a:pPr algn="ctr"/>
            <a:r>
              <a:rPr lang="fr-FR" sz="1800" b="1">
                <a:solidFill>
                  <a:srgbClr val="99CC00"/>
                </a:solidFill>
              </a:rPr>
              <a:t>Strengthening our positioning</a:t>
            </a:r>
            <a:endParaRPr lang="fr-FR" sz="1800" b="1" dirty="0">
              <a:solidFill>
                <a:srgbClr val="99CC00"/>
              </a:solidFill>
            </a:endParaRPr>
          </a:p>
        </p:txBody>
      </p:sp>
      <p:pic>
        <p:nvPicPr>
          <p:cNvPr id="10" name="Image 9">
            <a:extLst>
              <a:ext uri="{FF2B5EF4-FFF2-40B4-BE49-F238E27FC236}">
                <a16:creationId xmlns:a16="http://schemas.microsoft.com/office/drawing/2014/main" id="{22AB9F2B-B9F2-E024-7F57-A3E1121FD97A}"/>
              </a:ext>
            </a:extLst>
          </p:cNvPr>
          <p:cNvPicPr>
            <a:picLocks noChangeAspect="1"/>
          </p:cNvPicPr>
          <p:nvPr/>
        </p:nvPicPr>
        <p:blipFill>
          <a:blip r:embed="rId3"/>
          <a:stretch>
            <a:fillRect/>
          </a:stretch>
        </p:blipFill>
        <p:spPr>
          <a:xfrm>
            <a:off x="7391076" y="1038722"/>
            <a:ext cx="424572" cy="424572"/>
          </a:xfrm>
          <a:prstGeom prst="rect">
            <a:avLst/>
          </a:prstGeom>
        </p:spPr>
      </p:pic>
      <p:sp>
        <p:nvSpPr>
          <p:cNvPr id="11" name="Rectangle : coins arrondis 10">
            <a:extLst>
              <a:ext uri="{FF2B5EF4-FFF2-40B4-BE49-F238E27FC236}">
                <a16:creationId xmlns:a16="http://schemas.microsoft.com/office/drawing/2014/main" id="{4F395EE9-7749-00C0-7B4E-78BD98E85B4D}"/>
              </a:ext>
            </a:extLst>
          </p:cNvPr>
          <p:cNvSpPr/>
          <p:nvPr/>
        </p:nvSpPr>
        <p:spPr>
          <a:xfrm>
            <a:off x="7801777" y="1669288"/>
            <a:ext cx="3785667" cy="584775"/>
          </a:xfrm>
          <a:prstGeom prst="roundRect">
            <a:avLst/>
          </a:prstGeom>
          <a:solidFill>
            <a:schemeClr val="bg1"/>
          </a:solidFill>
          <a:ln w="12700" cap="flat" cmpd="sng" algn="ctr">
            <a:solidFill>
              <a:srgbClr val="008080"/>
            </a:solidFill>
            <a:prstDash val="solid"/>
            <a:miter lim="800000"/>
          </a:ln>
          <a:effectLst/>
        </p:spPr>
        <p:txBody>
          <a:bodyPr rtlCol="0" anchor="ctr"/>
          <a:lstStyle/>
          <a:p>
            <a:pPr lvl="0" algn="ctr">
              <a:buClrTx/>
              <a:defRPr/>
            </a:pPr>
            <a:r>
              <a:rPr lang="en-US" sz="1600" b="1">
                <a:solidFill>
                  <a:srgbClr val="008080"/>
                </a:solidFill>
                <a:ea typeface="+mn-ea"/>
                <a:cs typeface="+mn-cs"/>
              </a:rPr>
              <a:t>Leading banking player in the Entrepreneur market</a:t>
            </a:r>
            <a:endParaRPr kumimoji="0" lang="fr-FR" sz="1100" b="0" i="0" u="none" strike="noStrike" kern="0" cap="none" spc="0" normalizeH="0" baseline="0" noProof="0" dirty="0">
              <a:ln>
                <a:noFill/>
              </a:ln>
              <a:solidFill>
                <a:srgbClr val="008080"/>
              </a:solidFill>
              <a:effectLst/>
              <a:uLnTx/>
              <a:uFillTx/>
              <a:latin typeface="Arial"/>
              <a:ea typeface="+mn-ea"/>
              <a:cs typeface="+mn-cs"/>
            </a:endParaRPr>
          </a:p>
        </p:txBody>
      </p:sp>
      <p:sp>
        <p:nvSpPr>
          <p:cNvPr id="12" name="Rectangle : coins arrondis 11">
            <a:extLst>
              <a:ext uri="{FF2B5EF4-FFF2-40B4-BE49-F238E27FC236}">
                <a16:creationId xmlns:a16="http://schemas.microsoft.com/office/drawing/2014/main" id="{1A01AD6B-6AE0-66C7-274A-585B0DA5A463}"/>
              </a:ext>
            </a:extLst>
          </p:cNvPr>
          <p:cNvSpPr/>
          <p:nvPr/>
        </p:nvSpPr>
        <p:spPr>
          <a:xfrm>
            <a:off x="7815648" y="2554474"/>
            <a:ext cx="3785667" cy="584775"/>
          </a:xfrm>
          <a:prstGeom prst="roundRect">
            <a:avLst/>
          </a:prstGeom>
          <a:solidFill>
            <a:schemeClr val="bg1"/>
          </a:solidFill>
          <a:ln w="12700" cap="flat" cmpd="sng" algn="ctr">
            <a:solidFill>
              <a:srgbClr val="008080"/>
            </a:solidFill>
            <a:prstDash val="solid"/>
            <a:miter lim="800000"/>
          </a:ln>
          <a:effectLst/>
        </p:spPr>
        <p:txBody>
          <a:bodyPr rtlCol="0" anchor="ctr"/>
          <a:lstStyle/>
          <a:p>
            <a:pPr algn="ctr"/>
            <a:r>
              <a:rPr lang="en-US" sz="1600" b="1">
                <a:solidFill>
                  <a:srgbClr val="008080"/>
                </a:solidFill>
              </a:rPr>
              <a:t>CSR support and 
Salary policy</a:t>
            </a:r>
            <a:endParaRPr lang="fr-FR" sz="1600" b="1" kern="0" dirty="0">
              <a:solidFill>
                <a:srgbClr val="008080"/>
              </a:solidFill>
              <a:latin typeface="Arial"/>
            </a:endParaRPr>
          </a:p>
        </p:txBody>
      </p:sp>
      <p:sp>
        <p:nvSpPr>
          <p:cNvPr id="13" name="Rectangle : coins arrondis 12">
            <a:extLst>
              <a:ext uri="{FF2B5EF4-FFF2-40B4-BE49-F238E27FC236}">
                <a16:creationId xmlns:a16="http://schemas.microsoft.com/office/drawing/2014/main" id="{200A97E2-7335-C8F0-304F-60B49CABC85F}"/>
              </a:ext>
            </a:extLst>
          </p:cNvPr>
          <p:cNvSpPr/>
          <p:nvPr/>
        </p:nvSpPr>
        <p:spPr>
          <a:xfrm>
            <a:off x="7801776" y="3343503"/>
            <a:ext cx="3785667" cy="584775"/>
          </a:xfrm>
          <a:prstGeom prst="roundRect">
            <a:avLst/>
          </a:prstGeom>
          <a:solidFill>
            <a:schemeClr val="bg1"/>
          </a:solidFill>
          <a:ln w="12700" cap="flat" cmpd="sng" algn="ctr">
            <a:solidFill>
              <a:srgbClr val="008080"/>
            </a:solidFill>
            <a:prstDash val="solid"/>
            <a:miter lim="800000"/>
          </a:ln>
          <a:effectLst/>
        </p:spPr>
        <p:txBody>
          <a:bodyPr rtlCol="0" anchor="ctr"/>
          <a:lstStyle/>
          <a:p>
            <a:pPr algn="ctr"/>
            <a:r>
              <a:rPr lang="fr-FR" sz="1600" b="1">
                <a:solidFill>
                  <a:srgbClr val="008080"/>
                </a:solidFill>
              </a:rPr>
              <a:t>Differentiation from our competitors</a:t>
            </a:r>
            <a:endParaRPr lang="fr-FR" sz="1600" b="1" kern="0" dirty="0">
              <a:solidFill>
                <a:srgbClr val="008080"/>
              </a:solidFill>
              <a:latin typeface="Arial"/>
            </a:endParaRPr>
          </a:p>
        </p:txBody>
      </p:sp>
      <p:pic>
        <p:nvPicPr>
          <p:cNvPr id="14" name="Image 13">
            <a:extLst>
              <a:ext uri="{FF2B5EF4-FFF2-40B4-BE49-F238E27FC236}">
                <a16:creationId xmlns:a16="http://schemas.microsoft.com/office/drawing/2014/main" id="{A52822E9-B838-7D79-C039-E2350936F25F}"/>
              </a:ext>
            </a:extLst>
          </p:cNvPr>
          <p:cNvPicPr>
            <a:picLocks noChangeAspect="1"/>
          </p:cNvPicPr>
          <p:nvPr/>
        </p:nvPicPr>
        <p:blipFill>
          <a:blip r:embed="rId4"/>
          <a:stretch>
            <a:fillRect/>
          </a:stretch>
        </p:blipFill>
        <p:spPr>
          <a:xfrm>
            <a:off x="10358682" y="3811665"/>
            <a:ext cx="1228761" cy="905630"/>
          </a:xfrm>
          <a:prstGeom prst="rect">
            <a:avLst/>
          </a:prstGeom>
        </p:spPr>
      </p:pic>
    </p:spTree>
    <p:extLst>
      <p:ext uri="{BB962C8B-B14F-4D97-AF65-F5344CB8AC3E}">
        <p14:creationId xmlns:p14="http://schemas.microsoft.com/office/powerpoint/2010/main" val="3045019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89F078-6C67-2204-46F1-9B49DBA2F5BA}"/>
              </a:ext>
            </a:extLst>
          </p:cNvPr>
          <p:cNvSpPr>
            <a:spLocks noGrp="1"/>
          </p:cNvSpPr>
          <p:nvPr>
            <p:ph type="title"/>
          </p:nvPr>
        </p:nvSpPr>
        <p:spPr>
          <a:xfrm>
            <a:off x="888487" y="2807408"/>
            <a:ext cx="10196073" cy="540000"/>
          </a:xfrm>
        </p:spPr>
        <p:txBody>
          <a:bodyPr/>
          <a:lstStyle/>
          <a:p>
            <a:r>
              <a:rPr lang="fr-FR" dirty="0"/>
              <a:t>ANNEXES </a:t>
            </a:r>
          </a:p>
        </p:txBody>
      </p:sp>
    </p:spTree>
    <p:extLst>
      <p:ext uri="{BB962C8B-B14F-4D97-AF65-F5344CB8AC3E}">
        <p14:creationId xmlns:p14="http://schemas.microsoft.com/office/powerpoint/2010/main" val="3799928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2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5&quot;&gt;&lt;elem m_fUsage=&quot;1.65610000000000012754E+00&quot;&gt;&lt;m_msothmcolidx val=&quot;0&quot;/&gt;&lt;m_rgb r=&quot;A4&quot; g=&quot;C7&quot; b=&quot;ED&quot;/&gt;&lt;/elem&gt;&lt;elem m_fUsage=&quot;1.34144100000000010553E+00&quot;&gt;&lt;m_msothmcolidx val=&quot;0&quot;/&gt;&lt;m_rgb r=&quot;92&quot; g=&quot;D0&quot; b=&quot;50&quot;/&gt;&lt;/elem&gt;&lt;elem m_fUsage=&quot;9.00000000000000022204E-01&quot;&gt;&lt;m_msothmcolidx val=&quot;0&quot;/&gt;&lt;m_rgb r=&quot;1E&quot; g=&quot;58&quot; b=&quot;97&quot;/&gt;&lt;/elem&gt;&lt;elem m_fUsage=&quot;7.29000000000000092371E-01&quot;&gt;&lt;m_msothmcolidx val=&quot;0&quot;/&gt;&lt;m_rgb r=&quot;E3&quot; g=&quot;68&quot; b=&quot;77&quot;/&gt;&lt;/elem&gt;&lt;elem m_fUsage=&quot;5.90490000000000181402E-01&quot;&gt;&lt;m_msothmcolidx val=&quot;0&quot;/&gt;&lt;m_rgb r=&quot;88&quot; g=&quot;BF&quot; b=&quot;4D&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Simple Light">
  <a:themeElements>
    <a:clrScheme name="Simple Light">
      <a:dk1>
        <a:srgbClr val="000000"/>
      </a:dk1>
      <a:lt1>
        <a:srgbClr val="FFFFFF"/>
      </a:lt1>
      <a:dk2>
        <a:srgbClr val="595959"/>
      </a:dk2>
      <a:lt2>
        <a:srgbClr val="EEEEEE"/>
      </a:lt2>
      <a:accent1>
        <a:srgbClr val="017461"/>
      </a:accent1>
      <a:accent2>
        <a:srgbClr val="D8E9E3"/>
      </a:accent2>
      <a:accent3>
        <a:srgbClr val="50878E"/>
      </a:accent3>
      <a:accent4>
        <a:srgbClr val="FFAB40"/>
      </a:accent4>
      <a:accent5>
        <a:srgbClr val="0097A7"/>
      </a:accent5>
      <a:accent6>
        <a:srgbClr val="EEFF41"/>
      </a:accent6>
      <a:hlink>
        <a:srgbClr val="0097A7"/>
      </a:hlink>
      <a:folHlink>
        <a:srgbClr val="0097A7"/>
      </a:folHlink>
    </a:clrScheme>
    <a:fontScheme name="Personnalisé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017461"/>
      </a:accent1>
      <a:accent2>
        <a:srgbClr val="D8E9E3"/>
      </a:accent2>
      <a:accent3>
        <a:srgbClr val="50878E"/>
      </a:accent3>
      <a:accent4>
        <a:srgbClr val="FFAB40"/>
      </a:accent4>
      <a:accent5>
        <a:srgbClr val="0097A7"/>
      </a:accent5>
      <a:accent6>
        <a:srgbClr val="EEFF41"/>
      </a:accent6>
      <a:hlink>
        <a:srgbClr val="0097A7"/>
      </a:hlink>
      <a:folHlink>
        <a:srgbClr val="0097A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f1f09b9-3bc8-433a-b6c7-c93c7467c281">
      <Terms xmlns="http://schemas.microsoft.com/office/infopath/2007/PartnerControls"/>
    </lcf76f155ced4ddcb4097134ff3c332f>
    <TaxCatchAll xmlns="df0d03d5-4125-41ef-918d-a1dc5fd35ca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FE297EFD2DF734EA9087225EFD6AB16" ma:contentTypeVersion="15" ma:contentTypeDescription="Crée un document." ma:contentTypeScope="" ma:versionID="61f5cdfffb9a828fd91cc29d0dbf1e2b">
  <xsd:schema xmlns:xsd="http://www.w3.org/2001/XMLSchema" xmlns:xs="http://www.w3.org/2001/XMLSchema" xmlns:p="http://schemas.microsoft.com/office/2006/metadata/properties" xmlns:ns2="cf1f09b9-3bc8-433a-b6c7-c93c7467c281" xmlns:ns3="df0d03d5-4125-41ef-918d-a1dc5fd35ca9" targetNamespace="http://schemas.microsoft.com/office/2006/metadata/properties" ma:root="true" ma:fieldsID="46f1cf36e4d72dd4293646b7ca725b04" ns2:_="" ns3:_="">
    <xsd:import namespace="cf1f09b9-3bc8-433a-b6c7-c93c7467c281"/>
    <xsd:import namespace="df0d03d5-4125-41ef-918d-a1dc5fd35ca9"/>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element ref="ns2:MediaServiceDateTake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1f09b9-3bc8-433a-b6c7-c93c7467c2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cb4e1ff1-4910-4b26-8f48-d1ddcd02db2c"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f0d03d5-4125-41ef-918d-a1dc5fd35ca9"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e06b6aaa-3558-437f-b961-03a7741400ce}" ma:internalName="TaxCatchAll" ma:showField="CatchAllData" ma:web="df0d03d5-4125-41ef-918d-a1dc5fd35ca9">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3E1724-0412-4BF3-8C6A-9A8A7E64D644}">
  <ds:schemaRefs>
    <ds:schemaRef ds:uri="cf1f09b9-3bc8-433a-b6c7-c93c7467c281"/>
    <ds:schemaRef ds:uri="df0d03d5-4125-41ef-918d-a1dc5fd35ca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FC31C6D-C31A-4D02-A763-6C8212D0D806}">
  <ds:schemaRefs>
    <ds:schemaRef ds:uri="http://schemas.microsoft.com/sharepoint/v3/contenttype/forms"/>
  </ds:schemaRefs>
</ds:datastoreItem>
</file>

<file path=customXml/itemProps3.xml><?xml version="1.0" encoding="utf-8"?>
<ds:datastoreItem xmlns:ds="http://schemas.openxmlformats.org/officeDocument/2006/customXml" ds:itemID="{7DA70165-3382-4BEF-9675-2ED4C28E0945}">
  <ds:schemaRefs>
    <ds:schemaRef ds:uri="cf1f09b9-3bc8-433a-b6c7-c93c7467c281"/>
    <ds:schemaRef ds:uri="df0d03d5-4125-41ef-918d-a1dc5fd35ca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338</TotalTime>
  <Words>1631</Words>
  <Application>Microsoft Office PowerPoint</Application>
  <PresentationFormat>Grand écran</PresentationFormat>
  <Paragraphs>248</Paragraphs>
  <Slides>12</Slides>
  <Notes>1</Notes>
  <HiddenSlides>0</HiddenSlides>
  <MMClips>0</MMClips>
  <ScaleCrop>false</ScaleCrop>
  <HeadingPairs>
    <vt:vector size="8" baseType="variant">
      <vt:variant>
        <vt:lpstr>Polices utilisées</vt:lpstr>
      </vt:variant>
      <vt:variant>
        <vt:i4>14</vt:i4>
      </vt:variant>
      <vt:variant>
        <vt:lpstr>Thème</vt:lpstr>
      </vt:variant>
      <vt:variant>
        <vt:i4>2</vt:i4>
      </vt:variant>
      <vt:variant>
        <vt:lpstr>Serveurs OLE incorporés</vt:lpstr>
      </vt:variant>
      <vt:variant>
        <vt:i4>1</vt:i4>
      </vt:variant>
      <vt:variant>
        <vt:lpstr>Titres des diapositives</vt:lpstr>
      </vt:variant>
      <vt:variant>
        <vt:i4>12</vt:i4>
      </vt:variant>
    </vt:vector>
  </HeadingPairs>
  <TitlesOfParts>
    <vt:vector size="29" baseType="lpstr">
      <vt:lpstr>Figtree Black</vt:lpstr>
      <vt:lpstr>Aptos ExtraBold</vt:lpstr>
      <vt:lpstr>Calibri</vt:lpstr>
      <vt:lpstr>Arial Black</vt:lpstr>
      <vt:lpstr>Aptos</vt:lpstr>
      <vt:lpstr>Figtree</vt:lpstr>
      <vt:lpstr>Police système Courant</vt:lpstr>
      <vt:lpstr>Wingdings 3</vt:lpstr>
      <vt:lpstr>MS PGothic</vt:lpstr>
      <vt:lpstr>Wingdings</vt:lpstr>
      <vt:lpstr>Arial</vt:lpstr>
      <vt:lpstr>Arial Nova Light</vt:lpstr>
      <vt:lpstr>Arial Narrow</vt:lpstr>
      <vt:lpstr>Figtree Medium</vt:lpstr>
      <vt:lpstr>4_Simple Light</vt:lpstr>
      <vt:lpstr>Simple Light</vt:lpstr>
      <vt:lpstr>Diapositive think-cell</vt:lpstr>
      <vt:lpstr>Human Resources Bank  Entrepreneur Market Silhame REKIA </vt:lpstr>
      <vt:lpstr>Expanding the Human Resources Bankto the Entrepreneur market is fully in line with the ambition of the PMT ACT 2028 and the Regional Banks' 10-year ambitions</vt:lpstr>
      <vt:lpstr>Adapting the Human Resources Bank to the Entrepreneur market by capitalizing on the experience of the Corporate market: a success to be replicated!!</vt:lpstr>
      <vt:lpstr>The success of this deployment depends on an efficient distributive organization to generate maximum business</vt:lpstr>
      <vt:lpstr>In view of the very promising initiatives already launched in the Regional Banks since 2025, there are 3 different distribution schemes depending on the potential</vt:lpstr>
      <vt:lpstr>A comprehensive support offered by IFCAM and the business lines and on which we can capitalize</vt:lpstr>
      <vt:lpstr>Présentation PowerPoint</vt:lpstr>
      <vt:lpstr>Ambitious objectives to strengthen our position as a leading player in the Entrepreneurs market and to differentiate ourselves from the competition</vt:lpstr>
      <vt:lpstr>ANNEXES </vt:lpstr>
      <vt:lpstr>Identify the company's segment and industry</vt:lpstr>
      <vt:lpstr>Identifier le segment et le secteur d’activité de l’entreprise</vt:lpstr>
      <vt:lpstr>Identify the company's segment and industry</vt:lpstr>
    </vt:vector>
  </TitlesOfParts>
  <Company>CA-GI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éunion de lancement 2 février 2026</dc:title>
  <dc:creator>BROUAT Guillaume (Credit Agricole S.A.)</dc:creator>
  <cp:lastModifiedBy>REKIA Silhame (Credit Agricole S.A.)</cp:lastModifiedBy>
  <cp:revision>18</cp:revision>
  <dcterms:created xsi:type="dcterms:W3CDTF">2025-12-01T10:52:15Z</dcterms:created>
  <dcterms:modified xsi:type="dcterms:W3CDTF">2026-03-11T17:3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E297EFD2DF734EA9087225EFD6AB16</vt:lpwstr>
  </property>
  <property fmtid="{D5CDD505-2E9C-101B-9397-08002B2CF9AE}" pid="3" name="MediaServiceImageTags">
    <vt:lpwstr/>
  </property>
  <property fmtid="{D5CDD505-2E9C-101B-9397-08002B2CF9AE}" pid="4" name="Order">
    <vt:r8>1249500</vt:r8>
  </property>
  <property fmtid="{D5CDD505-2E9C-101B-9397-08002B2CF9AE}" pid="5" name="ComplianceAssetId">
    <vt:lpwstr/>
  </property>
  <property fmtid="{D5CDD505-2E9C-101B-9397-08002B2CF9AE}" pid="6" name="_ExtendedDescription">
    <vt:lpwstr/>
  </property>
  <property fmtid="{D5CDD505-2E9C-101B-9397-08002B2CF9AE}" pid="7" name="TriggerFlowInfo">
    <vt:lpwstr/>
  </property>
  <property fmtid="{D5CDD505-2E9C-101B-9397-08002B2CF9AE}" pid="8" name="MSIP_Label_74959cb2-1791-4379-ac27-73c7defdb1e7_Enabled">
    <vt:lpwstr>true</vt:lpwstr>
  </property>
  <property fmtid="{D5CDD505-2E9C-101B-9397-08002B2CF9AE}" pid="9" name="MSIP_Label_74959cb2-1791-4379-ac27-73c7defdb1e7_SetDate">
    <vt:lpwstr>2025-10-23T13:50:58Z</vt:lpwstr>
  </property>
  <property fmtid="{D5CDD505-2E9C-101B-9397-08002B2CF9AE}" pid="10" name="MSIP_Label_74959cb2-1791-4379-ac27-73c7defdb1e7_Method">
    <vt:lpwstr>Standard</vt:lpwstr>
  </property>
  <property fmtid="{D5CDD505-2E9C-101B-9397-08002B2CF9AE}" pid="11" name="MSIP_Label_74959cb2-1791-4379-ac27-73c7defdb1e7_Name">
    <vt:lpwstr>C2-Usage Interne</vt:lpwstr>
  </property>
  <property fmtid="{D5CDD505-2E9C-101B-9397-08002B2CF9AE}" pid="12" name="MSIP_Label_74959cb2-1791-4379-ac27-73c7defdb1e7_SiteId">
    <vt:lpwstr>fb3baf17-c313-474c-8d5d-577a3ec97a32</vt:lpwstr>
  </property>
  <property fmtid="{D5CDD505-2E9C-101B-9397-08002B2CF9AE}" pid="13" name="MSIP_Label_74959cb2-1791-4379-ac27-73c7defdb1e7_ActionId">
    <vt:lpwstr>c31a8511-1127-4140-b57c-52837ae169fd</vt:lpwstr>
  </property>
  <property fmtid="{D5CDD505-2E9C-101B-9397-08002B2CF9AE}" pid="14" name="MSIP_Label_74959cb2-1791-4379-ac27-73c7defdb1e7_ContentBits">
    <vt:lpwstr>2</vt:lpwstr>
  </property>
  <property fmtid="{D5CDD505-2E9C-101B-9397-08002B2CF9AE}" pid="15" name="MSIP_Label_74959cb2-1791-4379-ac27-73c7defdb1e7_Tag">
    <vt:lpwstr>10, 3, 0, 1</vt:lpwstr>
  </property>
  <property fmtid="{D5CDD505-2E9C-101B-9397-08002B2CF9AE}" pid="16" name="ClassificationContentMarkingFooterLocations">
    <vt:lpwstr>Simple Light:4\1_Simple Light:5</vt:lpwstr>
  </property>
  <property fmtid="{D5CDD505-2E9C-101B-9397-08002B2CF9AE}" pid="17" name="ClassificationContentMarkingFooterText">
    <vt:lpwstr>Usage Interne / Internal Use</vt:lpwstr>
  </property>
  <property fmtid="{D5CDD505-2E9C-101B-9397-08002B2CF9AE}" pid="18" name="MSIP_Label_feee938f-4a94-486a-a97b-b0ea29e4d686_Enabled">
    <vt:lpwstr>true</vt:lpwstr>
  </property>
  <property fmtid="{D5CDD505-2E9C-101B-9397-08002B2CF9AE}" pid="19" name="MSIP_Label_feee938f-4a94-486a-a97b-b0ea29e4d686_SetDate">
    <vt:lpwstr>2026-03-05T09:51:04Z</vt:lpwstr>
  </property>
  <property fmtid="{D5CDD505-2E9C-101B-9397-08002B2CF9AE}" pid="20" name="MSIP_Label_feee938f-4a94-486a-a97b-b0ea29e4d686_Method">
    <vt:lpwstr>Privileged</vt:lpwstr>
  </property>
  <property fmtid="{D5CDD505-2E9C-101B-9397-08002B2CF9AE}" pid="21" name="MSIP_Label_feee938f-4a94-486a-a97b-b0ea29e4d686_Name">
    <vt:lpwstr>C2</vt:lpwstr>
  </property>
  <property fmtid="{D5CDD505-2E9C-101B-9397-08002B2CF9AE}" pid="22" name="MSIP_Label_feee938f-4a94-486a-a97b-b0ea29e4d686_SiteId">
    <vt:lpwstr>a5c34232-eadc-4609-bff3-dd6fcdae3fe2</vt:lpwstr>
  </property>
  <property fmtid="{D5CDD505-2E9C-101B-9397-08002B2CF9AE}" pid="23" name="MSIP_Label_feee938f-4a94-486a-a97b-b0ea29e4d686_ActionId">
    <vt:lpwstr>8e7fe925-95bf-4f99-be97-e26593f9bfa5</vt:lpwstr>
  </property>
  <property fmtid="{D5CDD505-2E9C-101B-9397-08002B2CF9AE}" pid="24" name="MSIP_Label_feee938f-4a94-486a-a97b-b0ea29e4d686_ContentBits">
    <vt:lpwstr>0</vt:lpwstr>
  </property>
  <property fmtid="{D5CDD505-2E9C-101B-9397-08002B2CF9AE}" pid="25" name="MSIP_Label_feee938f-4a94-486a-a97b-b0ea29e4d686_Tag">
    <vt:lpwstr>10, 0, 1, 1</vt:lpwstr>
  </property>
</Properties>
</file>